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9.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17" r:id="rId5"/>
    <p:sldMasterId id="2147484244" r:id="rId6"/>
    <p:sldMasterId id="2147484260" r:id="rId7"/>
    <p:sldMasterId id="2147484270" r:id="rId8"/>
    <p:sldMasterId id="2147484281" r:id="rId9"/>
    <p:sldMasterId id="2147484304" r:id="rId10"/>
    <p:sldMasterId id="2147484331" r:id="rId11"/>
    <p:sldMasterId id="2147484343" r:id="rId12"/>
    <p:sldMasterId id="2147484376" r:id="rId13"/>
    <p:sldMasterId id="2147484394" r:id="rId14"/>
  </p:sldMasterIdLst>
  <p:notesMasterIdLst>
    <p:notesMasterId r:id="rId62"/>
  </p:notesMasterIdLst>
  <p:handoutMasterIdLst>
    <p:handoutMasterId r:id="rId63"/>
  </p:handoutMasterIdLst>
  <p:sldIdLst>
    <p:sldId id="1236" r:id="rId15"/>
    <p:sldId id="1123" r:id="rId16"/>
    <p:sldId id="1269" r:id="rId17"/>
    <p:sldId id="1361" r:id="rId18"/>
    <p:sldId id="1274" r:id="rId19"/>
    <p:sldId id="1365" r:id="rId20"/>
    <p:sldId id="1399" r:id="rId21"/>
    <p:sldId id="1400" r:id="rId22"/>
    <p:sldId id="1402" r:id="rId23"/>
    <p:sldId id="1403" r:id="rId24"/>
    <p:sldId id="1404" r:id="rId25"/>
    <p:sldId id="1456" r:id="rId26"/>
    <p:sldId id="1378" r:id="rId27"/>
    <p:sldId id="1379" r:id="rId28"/>
    <p:sldId id="1380" r:id="rId29"/>
    <p:sldId id="1382" r:id="rId30"/>
    <p:sldId id="1383" r:id="rId31"/>
    <p:sldId id="1384" r:id="rId32"/>
    <p:sldId id="1385" r:id="rId33"/>
    <p:sldId id="1389" r:id="rId34"/>
    <p:sldId id="1443" r:id="rId35"/>
    <p:sldId id="1390" r:id="rId36"/>
    <p:sldId id="1406" r:id="rId37"/>
    <p:sldId id="1408" r:id="rId38"/>
    <p:sldId id="1410" r:id="rId39"/>
    <p:sldId id="1445" r:id="rId40"/>
    <p:sldId id="1446" r:id="rId41"/>
    <p:sldId id="1418" r:id="rId42"/>
    <p:sldId id="1419" r:id="rId43"/>
    <p:sldId id="1458" r:id="rId44"/>
    <p:sldId id="1447" r:id="rId45"/>
    <p:sldId id="1461" r:id="rId46"/>
    <p:sldId id="1462" r:id="rId47"/>
    <p:sldId id="1448" r:id="rId48"/>
    <p:sldId id="1463" r:id="rId49"/>
    <p:sldId id="1449" r:id="rId50"/>
    <p:sldId id="1454" r:id="rId51"/>
    <p:sldId id="1450" r:id="rId52"/>
    <p:sldId id="1451" r:id="rId53"/>
    <p:sldId id="1452" r:id="rId54"/>
    <p:sldId id="1429" r:id="rId55"/>
    <p:sldId id="1430" r:id="rId56"/>
    <p:sldId id="1437" r:id="rId57"/>
    <p:sldId id="1460" r:id="rId58"/>
    <p:sldId id="1459" r:id="rId59"/>
    <p:sldId id="1360" r:id="rId60"/>
    <p:sldId id="1132" r:id="rId6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22 BO CT Template" id="{2266D7F5-89A7-478C-8A43-C1409DDC88B9}">
          <p14:sldIdLst>
            <p14:sldId id="1236"/>
            <p14:sldId id="1123"/>
            <p14:sldId id="1269"/>
            <p14:sldId id="1361"/>
            <p14:sldId id="1274"/>
            <p14:sldId id="1365"/>
            <p14:sldId id="1399"/>
            <p14:sldId id="1400"/>
            <p14:sldId id="1402"/>
            <p14:sldId id="1403"/>
            <p14:sldId id="1404"/>
            <p14:sldId id="1456"/>
            <p14:sldId id="1378"/>
            <p14:sldId id="1379"/>
            <p14:sldId id="1380"/>
            <p14:sldId id="1382"/>
            <p14:sldId id="1383"/>
            <p14:sldId id="1384"/>
            <p14:sldId id="1385"/>
            <p14:sldId id="1389"/>
            <p14:sldId id="1443"/>
            <p14:sldId id="1390"/>
            <p14:sldId id="1406"/>
            <p14:sldId id="1408"/>
            <p14:sldId id="1410"/>
            <p14:sldId id="1445"/>
            <p14:sldId id="1446"/>
            <p14:sldId id="1418"/>
            <p14:sldId id="1419"/>
            <p14:sldId id="1458"/>
            <p14:sldId id="1447"/>
            <p14:sldId id="1461"/>
            <p14:sldId id="1462"/>
            <p14:sldId id="1448"/>
            <p14:sldId id="1463"/>
            <p14:sldId id="1449"/>
            <p14:sldId id="1454"/>
            <p14:sldId id="1450"/>
            <p14:sldId id="1451"/>
            <p14:sldId id="1452"/>
            <p14:sldId id="1429"/>
            <p14:sldId id="1430"/>
            <p14:sldId id="1437"/>
            <p14:sldId id="1460"/>
            <p14:sldId id="1459"/>
            <p14:sldId id="1360"/>
            <p14:sldId id="1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Author" initials="A" lastIdx="34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100"/>
    <a:srgbClr val="333333"/>
    <a:srgbClr val="4DA0E2"/>
    <a:srgbClr val="672A7B"/>
    <a:srgbClr val="505050"/>
    <a:srgbClr val="FFFFFF"/>
    <a:srgbClr val="00188F"/>
    <a:srgbClr val="4D9ED7"/>
    <a:srgbClr val="0020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40" autoAdjust="0"/>
    <p:restoredTop sz="90788" autoAdjust="0"/>
  </p:normalViewPr>
  <p:slideViewPr>
    <p:cSldViewPr snapToObjects="1">
      <p:cViewPr varScale="1">
        <p:scale>
          <a:sx n="105" d="100"/>
          <a:sy n="105" d="100"/>
        </p:scale>
        <p:origin x="1146" y="102"/>
      </p:cViewPr>
      <p:guideLst/>
    </p:cSldViewPr>
  </p:slideViewPr>
  <p:outlineViewPr>
    <p:cViewPr>
      <p:scale>
        <a:sx n="33" d="100"/>
        <a:sy n="33" d="100"/>
      </p:scale>
      <p:origin x="0" y="-15570"/>
    </p:cViewPr>
  </p:outlineViewPr>
  <p:notesTextViewPr>
    <p:cViewPr>
      <p:scale>
        <a:sx n="100" d="100"/>
        <a:sy n="100" d="100"/>
      </p:scale>
      <p:origin x="0" y="0"/>
    </p:cViewPr>
  </p:notesTextViewPr>
  <p:sorterViewPr>
    <p:cViewPr>
      <p:scale>
        <a:sx n="33" d="100"/>
        <a:sy n="33" d="100"/>
      </p:scale>
      <p:origin x="0" y="0"/>
    </p:cViewPr>
  </p:sorterViewPr>
  <p:notesViewPr>
    <p:cSldViewPr snapToObjects="1" showGuides="1">
      <p:cViewPr varScale="1">
        <p:scale>
          <a:sx n="83" d="100"/>
          <a:sy n="83" d="100"/>
        </p:scale>
        <p:origin x="385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2/1/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2/1/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54988308-DA46-4504-956E-21F7DECBE5F6}" type="datetime1">
              <a:rPr lang="en-US" smtClean="0"/>
              <a:t>2/1/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4176569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127764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579692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89595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6</a:t>
            </a:fld>
            <a:endParaRPr lang="en-US" dirty="0"/>
          </a:p>
        </p:txBody>
      </p:sp>
    </p:spTree>
    <p:extLst>
      <p:ext uri="{BB962C8B-B14F-4D97-AF65-F5344CB8AC3E}">
        <p14:creationId xmlns:p14="http://schemas.microsoft.com/office/powerpoint/2010/main" val="1458866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2/1/2016</a:t>
            </a:fld>
            <a:endParaRPr kumimoji="0" lang="en-US" sz="1800" b="0" i="0" u="none" strike="noStrike" kern="0" cap="none" spc="0" normalizeH="0" baseline="0" noProof="0" dirty="0">
              <a:ln>
                <a:noFill/>
              </a:ln>
              <a:solidFill>
                <a:prstClr val="black"/>
              </a:solidFill>
              <a:effectLst/>
              <a:uLnTx/>
              <a:uFillTx/>
              <a:latin typeface="Segoe UI" pitchFamily="34" charset="0"/>
            </a:endParaRPr>
          </a:p>
        </p:txBody>
      </p:sp>
      <p:sp>
        <p:nvSpPr>
          <p:cNvPr id="6" name="Slide Number Placeholder 5"/>
          <p:cNvSpPr>
            <a:spLocks noGrp="1"/>
          </p:cNvSpPr>
          <p:nvPr>
            <p:ph type="sldNum" sz="quarter" idx="12"/>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latin typeface="Segoe UI" pitchFamily="34" charset="0"/>
            </a:endParaRPr>
          </a:p>
        </p:txBody>
      </p:sp>
    </p:spTree>
    <p:extLst>
      <p:ext uri="{BB962C8B-B14F-4D97-AF65-F5344CB8AC3E}">
        <p14:creationId xmlns:p14="http://schemas.microsoft.com/office/powerpoint/2010/main" val="3358481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8</a:t>
            </a:fld>
            <a:endParaRPr lang="en-US" dirty="0"/>
          </a:p>
        </p:txBody>
      </p:sp>
    </p:spTree>
    <p:extLst>
      <p:ext uri="{BB962C8B-B14F-4D97-AF65-F5344CB8AC3E}">
        <p14:creationId xmlns:p14="http://schemas.microsoft.com/office/powerpoint/2010/main" val="40604231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9</a:t>
            </a:fld>
            <a:endParaRPr lang="en-US" dirty="0"/>
          </a:p>
        </p:txBody>
      </p:sp>
    </p:spTree>
    <p:extLst>
      <p:ext uri="{BB962C8B-B14F-4D97-AF65-F5344CB8AC3E}">
        <p14:creationId xmlns:p14="http://schemas.microsoft.com/office/powerpoint/2010/main" val="1755798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2/1/2016</a:t>
            </a:fld>
            <a:endParaRPr kumimoji="0" lang="en-US" sz="1800" b="0" i="0" u="none" strike="noStrike" kern="0" cap="none" spc="0" normalizeH="0" baseline="0" noProof="0" dirty="0">
              <a:ln>
                <a:noFill/>
              </a:ln>
              <a:solidFill>
                <a:prstClr val="black"/>
              </a:solidFill>
              <a:effectLst/>
              <a:uLnTx/>
              <a:uFillTx/>
              <a:latin typeface="Segoe UI" pitchFamily="34" charset="0"/>
            </a:endParaRPr>
          </a:p>
        </p:txBody>
      </p:sp>
      <p:sp>
        <p:nvSpPr>
          <p:cNvPr id="6" name="Slide Number Placeholder 5"/>
          <p:cNvSpPr>
            <a:spLocks noGrp="1"/>
          </p:cNvSpPr>
          <p:nvPr>
            <p:ph type="sldNum" sz="quarter" idx="12"/>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Segoe UI" pitchFamily="34" charset="0"/>
            </a:endParaRPr>
          </a:p>
        </p:txBody>
      </p:sp>
    </p:spTree>
    <p:extLst>
      <p:ext uri="{BB962C8B-B14F-4D97-AF65-F5344CB8AC3E}">
        <p14:creationId xmlns:p14="http://schemas.microsoft.com/office/powerpoint/2010/main" val="4163295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613278D-AFA9-4E18-B2BF-981CFA22B1A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758751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580054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A14FA6D-5CC1-477D-A0DC-F2245326A311}" type="datetime1">
              <a:rPr lang="en-US" smtClean="0"/>
              <a:t>2/1/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278031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8223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613278D-AFA9-4E18-B2BF-981CFA22B1A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724333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613278D-AFA9-4E18-B2BF-981CFA22B1A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71587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1</a:t>
            </a:fld>
            <a:endParaRPr lang="en-US" dirty="0"/>
          </a:p>
        </p:txBody>
      </p:sp>
    </p:spTree>
    <p:extLst>
      <p:ext uri="{BB962C8B-B14F-4D97-AF65-F5344CB8AC3E}">
        <p14:creationId xmlns:p14="http://schemas.microsoft.com/office/powerpoint/2010/main" val="1326597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2</a:t>
            </a:fld>
            <a:endParaRPr lang="en-US" dirty="0"/>
          </a:p>
        </p:txBody>
      </p:sp>
    </p:spTree>
    <p:extLst>
      <p:ext uri="{BB962C8B-B14F-4D97-AF65-F5344CB8AC3E}">
        <p14:creationId xmlns:p14="http://schemas.microsoft.com/office/powerpoint/2010/main" val="40755673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2/1/2016</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43</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397053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09855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E52F265-F367-4F41-8133-621F21EFA5E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9076033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4774515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2/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75452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138983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2/1/2016</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5</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089705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993919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172640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274984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568637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2/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3202799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jpg"/><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jpg"/><Relationship Id="rId1" Type="http://schemas.openxmlformats.org/officeDocument/2006/relationships/slideMaster" Target="../slideMasters/slideMaster11.xml"/><Relationship Id="rId5" Type="http://schemas.openxmlformats.org/officeDocument/2006/relationships/image" Target="../media/image4.png"/><Relationship Id="rId4" Type="http://schemas.microsoft.com/office/2007/relationships/hdphoto" Target="../media/hdphoto2.wdp"/></Relationships>
</file>

<file path=ppt/slideLayouts/_rels/slideLayout1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 Id="rId5" Type="http://schemas.openxmlformats.org/officeDocument/2006/relationships/image" Target="../media/image10.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843510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45492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77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78640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rgbClr val="0072C6"/>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rgbClr val="0072C6"/>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75420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rgbClr val="0072C6"/>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rgbClr val="0072C6"/>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996189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88632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4888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113805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14477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rgbClr val="0072C6"/>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rgbClr val="0072C6"/>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rgbClr val="0072C6"/>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rgbClr val="0072C6"/>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rgbClr val="0072C6"/>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4762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298171970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5922091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FFFFFF"/>
              </a:solidFill>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49390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18798197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3818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291466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891337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9642072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1622785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4524017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2344476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45837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48614235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44268533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12647812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430303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26007737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2491016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5244828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02708040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9769362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08128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860232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3670966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49" spc="150"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4491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5954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80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14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3"/>
            <a:ext cx="11375536" cy="2220845"/>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2551" indent="-349656">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656" indent="-349656">
              <a:spcBef>
                <a:spcPts val="0"/>
              </a:spcBef>
              <a:spcAft>
                <a:spcPts val="408"/>
              </a:spcAft>
              <a:buFont typeface="Arial" pitchFamily="34" charset="0"/>
              <a:buChar char="•"/>
              <a:defRPr/>
            </a:lvl5pPr>
            <a:lvl6pPr marL="1053826" indent="-349656">
              <a:buFont typeface="Arial" pitchFamily="34" charset="0"/>
              <a:buChar char="•"/>
              <a:defRPr sz="2448">
                <a:gradFill>
                  <a:gsLst>
                    <a:gs pos="0">
                      <a:srgbClr val="595959"/>
                    </a:gs>
                    <a:gs pos="86000">
                      <a:srgbClr val="595959"/>
                    </a:gs>
                  </a:gsLst>
                  <a:lin ang="5400000" scaled="0"/>
                </a:gradFill>
              </a:defRPr>
            </a:lvl6pPr>
            <a:lvl7pPr marL="1280456" indent="-229867">
              <a:defRPr>
                <a:gradFill>
                  <a:gsLst>
                    <a:gs pos="0">
                      <a:srgbClr val="595959"/>
                    </a:gs>
                    <a:gs pos="86000">
                      <a:srgbClr val="595959"/>
                    </a:gs>
                  </a:gsLst>
                  <a:lin ang="5400000" scaled="0"/>
                </a:gradFill>
              </a:defRPr>
            </a:lvl7pPr>
            <a:lvl8pPr marL="1516797" indent="-236341">
              <a:defRPr>
                <a:gradFill>
                  <a:gsLst>
                    <a:gs pos="0">
                      <a:srgbClr val="595959"/>
                    </a:gs>
                    <a:gs pos="86000">
                      <a:srgbClr val="595959"/>
                    </a:gs>
                  </a:gsLst>
                  <a:lin ang="5400000" scaled="0"/>
                </a:gradFill>
              </a:defRPr>
            </a:lvl8pPr>
          </a:lstStyle>
          <a:p>
            <a:pPr marL="352895" lvl="0" indent="-352895" algn="l" defTabSz="932380" rtl="0" eaLnBrk="1" latinLnBrk="0" hangingPunct="1">
              <a:lnSpc>
                <a:spcPct val="90000"/>
              </a:lnSpc>
              <a:spcBef>
                <a:spcPct val="20000"/>
              </a:spcBef>
              <a:buSzPct val="90000"/>
              <a:buFont typeface="Arial" pitchFamily="34" charset="0"/>
              <a:buChar char="•"/>
            </a:pPr>
            <a:r>
              <a:rPr lang="en-US"/>
              <a:t>Click to edit Master text styles</a:t>
            </a:r>
          </a:p>
          <a:p>
            <a:pPr marL="352895" lvl="1" indent="-352895" algn="l" defTabSz="932380" rtl="0" eaLnBrk="1" latinLnBrk="0" hangingPunct="1">
              <a:lnSpc>
                <a:spcPct val="90000"/>
              </a:lnSpc>
              <a:spcBef>
                <a:spcPct val="20000"/>
              </a:spcBef>
              <a:buSzPct val="90000"/>
              <a:buFont typeface="Arial" pitchFamily="34" charset="0"/>
              <a:buChar char="•"/>
            </a:pPr>
            <a:r>
              <a:rPr lang="en-US"/>
              <a:t>Second level</a:t>
            </a:r>
          </a:p>
          <a:p>
            <a:pPr marL="352895" lvl="2" indent="-352895" algn="l" defTabSz="932380" rtl="0" eaLnBrk="1" latinLnBrk="0" hangingPunct="1">
              <a:lnSpc>
                <a:spcPct val="90000"/>
              </a:lnSpc>
              <a:spcBef>
                <a:spcPct val="20000"/>
              </a:spcBef>
              <a:buSzPct val="90000"/>
              <a:buFont typeface="Arial" pitchFamily="34" charset="0"/>
              <a:buChar char="•"/>
            </a:pPr>
            <a:r>
              <a:rPr lang="en-US"/>
              <a:t>Third level</a:t>
            </a:r>
          </a:p>
          <a:p>
            <a:pPr marL="352895" lvl="3" indent="-352895" algn="l" defTabSz="932380" rtl="0" eaLnBrk="1" latinLnBrk="0" hangingPunct="1">
              <a:lnSpc>
                <a:spcPct val="90000"/>
              </a:lnSpc>
              <a:spcBef>
                <a:spcPct val="20000"/>
              </a:spcBef>
              <a:buSzPct val="90000"/>
              <a:buFont typeface="Arial" pitchFamily="34" charset="0"/>
              <a:buChar char="•"/>
            </a:pPr>
            <a:r>
              <a:rPr lang="en-US"/>
              <a:t>Fourth level</a:t>
            </a:r>
          </a:p>
          <a:p>
            <a:pPr marL="352895" lvl="4" indent="-352895" algn="l" defTabSz="932380" rtl="0" eaLnBrk="1" latinLnBrk="0" hangingPunct="1">
              <a:lnSpc>
                <a:spcPct val="90000"/>
              </a:lnSpc>
              <a:spcBef>
                <a:spcPct val="20000"/>
              </a:spcBef>
              <a:buSzPct val="90000"/>
              <a:buFont typeface="Arial" pitchFamily="34" charset="0"/>
              <a:buChar char="•"/>
            </a:pPr>
            <a:r>
              <a:rPr lang="en-US"/>
              <a:t>Fifth level</a:t>
            </a:r>
            <a:endParaRPr lang="en-US" dirty="0"/>
          </a:p>
        </p:txBody>
      </p:sp>
      <p:sp>
        <p:nvSpPr>
          <p:cNvPr id="6" name="Title Placeholder 1"/>
          <p:cNvSpPr>
            <a:spLocks noGrp="1"/>
          </p:cNvSpPr>
          <p:nvPr>
            <p:ph type="title"/>
          </p:nvPr>
        </p:nvSpPr>
        <p:spPr>
          <a:xfrm>
            <a:off x="462164" y="1"/>
            <a:ext cx="11375536" cy="747897"/>
          </a:xfrm>
          <a:prstGeom prst="rect">
            <a:avLst/>
          </a:prstGeom>
        </p:spPr>
        <p:txBody>
          <a:bodyPr vert="horz" wrap="square" lIns="0" tIns="0" rIns="0" bIns="0" rtlCol="0" anchor="t">
            <a:spAutoFit/>
          </a:bodyPr>
          <a:lstStyle/>
          <a:p>
            <a:r>
              <a:rPr lang="en-US" dirty="0"/>
              <a:t>Click to edit Master title style</a:t>
            </a:r>
          </a:p>
        </p:txBody>
      </p:sp>
    </p:spTree>
    <p:extLst>
      <p:ext uri="{BB962C8B-B14F-4D97-AF65-F5344CB8AC3E}">
        <p14:creationId xmlns:p14="http://schemas.microsoft.com/office/powerpoint/2010/main" val="56665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856" y="445108"/>
            <a:ext cx="11629838" cy="565027"/>
          </a:xfrm>
        </p:spPr>
        <p:txBody>
          <a:bodyPr/>
          <a:lstStyle>
            <a:lvl1pPr algn="l" defTabSz="932274" rtl="0" eaLnBrk="1" latinLnBrk="0" hangingPunct="1">
              <a:lnSpc>
                <a:spcPct val="90000"/>
              </a:lnSpc>
              <a:spcBef>
                <a:spcPct val="0"/>
              </a:spcBef>
              <a:buNone/>
              <a:defRPr lang="en-US" sz="4080" b="0" kern="1200" cap="none" spc="-102" baseline="0" dirty="0">
                <a:ln w="3175">
                  <a:noFill/>
                </a:ln>
                <a:solidFill>
                  <a:schemeClr val="tx2">
                    <a:alpha val="99000"/>
                  </a:schemeClr>
                </a:solidFill>
                <a:effectLst/>
                <a:latin typeface="Segoe UI Light" pitchFamily="34" charset="0"/>
                <a:ea typeface="+mn-ea"/>
                <a:cs typeface="Arial" charset="0"/>
              </a:defRPr>
            </a:lvl1pPr>
          </a:lstStyle>
          <a:p>
            <a:r>
              <a:rPr lang="en-US" dirty="0"/>
              <a:t>Click to edit Master title style</a:t>
            </a:r>
          </a:p>
        </p:txBody>
      </p:sp>
      <p:sp>
        <p:nvSpPr>
          <p:cNvPr id="3" name="Slide Number Placeholder 2"/>
          <p:cNvSpPr>
            <a:spLocks noGrp="1"/>
          </p:cNvSpPr>
          <p:nvPr>
            <p:ph type="sldNum" sz="quarter" idx="10"/>
          </p:nvPr>
        </p:nvSpPr>
        <p:spPr>
          <a:xfrm>
            <a:off x="12005197" y="6587509"/>
            <a:ext cx="406706" cy="372394"/>
          </a:xfrm>
          <a:prstGeom prst="rect">
            <a:avLst/>
          </a:prstGeom>
        </p:spPr>
        <p:txBody>
          <a:bodyPr lIns="76179" tIns="38089" rIns="76179" bIns="38089"/>
          <a:lstStyle/>
          <a:p>
            <a:pPr defTabSz="931698"/>
            <a:fld id="{B60359E2-F1E6-40F3-81C3-5A646FA87138}" type="slidenum">
              <a:rPr lang="en-US" smtClean="0">
                <a:solidFill>
                  <a:srgbClr val="FFFFFF"/>
                </a:solidFill>
              </a:rPr>
              <a:pPr defTabSz="931698"/>
              <a:t>‹#›</a:t>
            </a:fld>
            <a:endParaRPr lang="en-US" dirty="0">
              <a:solidFill>
                <a:srgbClr val="FFFFFF"/>
              </a:solidFill>
            </a:endParaRPr>
          </a:p>
        </p:txBody>
      </p:sp>
      <p:sp>
        <p:nvSpPr>
          <p:cNvPr id="5" name="Footer Placeholder 3"/>
          <p:cNvSpPr>
            <a:spLocks noGrp="1"/>
          </p:cNvSpPr>
          <p:nvPr>
            <p:ph type="ftr" sz="quarter" idx="3"/>
          </p:nvPr>
        </p:nvSpPr>
        <p:spPr>
          <a:xfrm>
            <a:off x="4249403" y="6700054"/>
            <a:ext cx="3937678" cy="258334"/>
          </a:xfrm>
          <a:prstGeom prst="rect">
            <a:avLst/>
          </a:prstGeom>
        </p:spPr>
        <p:txBody>
          <a:bodyPr vert="horz" lIns="76179" tIns="38089" rIns="76179" bIns="38089" rtlCol="0" anchor="ctr"/>
          <a:lstStyle>
            <a:lvl1pPr algn="ctr">
              <a:defRPr sz="1122">
                <a:solidFill>
                  <a:schemeClr val="tx1">
                    <a:tint val="75000"/>
                  </a:schemeClr>
                </a:solidFill>
              </a:defRPr>
            </a:lvl1pPr>
          </a:lstStyle>
          <a:p>
            <a:pPr defTabSz="931698"/>
            <a:r>
              <a:rPr lang="en-US">
                <a:solidFill>
                  <a:srgbClr val="FFFFFF">
                    <a:tint val="75000"/>
                  </a:srgbClr>
                </a:solidFill>
              </a:rPr>
              <a:t>Microsoft Confidential - Signed NDA Required</a:t>
            </a:r>
            <a:endParaRPr lang="en-US" dirty="0">
              <a:solidFill>
                <a:srgbClr val="FFFFFF">
                  <a:tint val="75000"/>
                </a:srgbClr>
              </a:solidFill>
            </a:endParaRPr>
          </a:p>
        </p:txBody>
      </p:sp>
    </p:spTree>
    <p:extLst>
      <p:ext uri="{BB962C8B-B14F-4D97-AF65-F5344CB8AC3E}">
        <p14:creationId xmlns:p14="http://schemas.microsoft.com/office/powerpoint/2010/main" val="70546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algn="ctr" defTabSz="776609"/>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
        <p:nvSpPr>
          <p:cNvPr id="5" name="Date Placeholder 3"/>
          <p:cNvSpPr txBox="1">
            <a:spLocks/>
          </p:cNvSpPr>
          <p:nvPr userDrawn="1"/>
        </p:nvSpPr>
        <p:spPr>
          <a:xfrm>
            <a:off x="8630221" y="6651292"/>
            <a:ext cx="3311465"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5" dirty="0">
                <a:solidFill>
                  <a:prstClr val="black">
                    <a:lumMod val="65000"/>
                    <a:lumOff val="35000"/>
                  </a:prstClr>
                </a:solidFill>
              </a:rPr>
              <a:t>Copyright© 2015 Microsoft Corporation</a:t>
            </a:r>
          </a:p>
        </p:txBody>
      </p:sp>
      <p:sp>
        <p:nvSpPr>
          <p:cNvPr id="6" name="Rectangle 5"/>
          <p:cNvSpPr/>
          <p:nvPr userDrawn="1"/>
        </p:nvSpPr>
        <p:spPr>
          <a:xfrm>
            <a:off x="7975447" y="6651292"/>
            <a:ext cx="1484713" cy="173432"/>
          </a:xfrm>
          <a:prstGeom prst="rect">
            <a:avLst/>
          </a:prstGeom>
        </p:spPr>
        <p:txBody>
          <a:bodyPr wrap="none" lIns="0" tIns="0" rIns="0" bIns="0" anchor="t" anchorCtr="0">
            <a:spAutoFit/>
          </a:bodyPr>
          <a:lstStyle/>
          <a:p>
            <a:pPr defTabSz="1242988"/>
            <a:r>
              <a:rPr lang="en-US" sz="1105" b="1" dirty="0">
                <a:solidFill>
                  <a:prstClr val="black">
                    <a:lumMod val="65000"/>
                    <a:lumOff val="35000"/>
                  </a:prstClr>
                </a:solidFill>
              </a:rPr>
              <a:t>NDA Disclosure Only </a:t>
            </a:r>
            <a:r>
              <a:rPr lang="en-US" sz="1105" dirty="0">
                <a:solidFill>
                  <a:prstClr val="black">
                    <a:lumMod val="65000"/>
                    <a:lumOff val="35000"/>
                  </a:prstClr>
                </a:solidFill>
              </a:rPr>
              <a:t>|</a:t>
            </a:r>
          </a:p>
        </p:txBody>
      </p:sp>
    </p:spTree>
    <p:extLst>
      <p:ext uri="{BB962C8B-B14F-4D97-AF65-F5344CB8AC3E}">
        <p14:creationId xmlns:p14="http://schemas.microsoft.com/office/powerpoint/2010/main" val="313630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4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9" name="Title 17"/>
          <p:cNvSpPr>
            <a:spLocks noGrp="1"/>
          </p:cNvSpPr>
          <p:nvPr>
            <p:ph type="title"/>
          </p:nvPr>
        </p:nvSpPr>
        <p:spPr>
          <a:xfrm>
            <a:off x="485022" y="127105"/>
            <a:ext cx="11329629" cy="444613"/>
          </a:xfrm>
          <a:prstGeom prst="rect">
            <a:avLst/>
          </a:prstGeom>
        </p:spPr>
        <p:txBody>
          <a:bodyPr anchor="b"/>
          <a:lstStyle/>
          <a:p>
            <a:r>
              <a:rPr lang="en-US"/>
              <a:t>Click to edit Master title style</a:t>
            </a:r>
            <a:endParaRPr lang="en-US" dirty="0"/>
          </a:p>
        </p:txBody>
      </p:sp>
      <p:sp>
        <p:nvSpPr>
          <p:cNvPr id="5" name="TextBox 4"/>
          <p:cNvSpPr txBox="1"/>
          <p:nvPr userDrawn="1"/>
        </p:nvSpPr>
        <p:spPr>
          <a:xfrm>
            <a:off x="5868088" y="6718374"/>
            <a:ext cx="458822" cy="183918"/>
          </a:xfrm>
          <a:prstGeom prst="rect">
            <a:avLst/>
          </a:prstGeom>
          <a:noFill/>
        </p:spPr>
        <p:txBody>
          <a:bodyPr wrap="square" lIns="124339" tIns="62169" rIns="124339" bIns="62169" rtlCol="0" anchor="ctr">
            <a:noAutofit/>
          </a:bodyPr>
          <a:lstStyle/>
          <a:p>
            <a:pPr defTabSz="1243370"/>
            <a:fld id="{CD732B83-8E38-40BC-A652-305CA35BAE41}" type="slidenum">
              <a:rPr lang="en-US" sz="1122" i="1">
                <a:solidFill>
                  <a:prstClr val="white"/>
                </a:solidFill>
              </a:rPr>
              <a:pPr defTabSz="1243370"/>
              <a:t>‹#›</a:t>
            </a:fld>
            <a:endParaRPr lang="en-US" sz="1122" i="1" dirty="0">
              <a:solidFill>
                <a:prstClr val="white"/>
              </a:solidFill>
            </a:endParaRPr>
          </a:p>
        </p:txBody>
      </p:sp>
    </p:spTree>
    <p:extLst>
      <p:ext uri="{BB962C8B-B14F-4D97-AF65-F5344CB8AC3E}">
        <p14:creationId xmlns:p14="http://schemas.microsoft.com/office/powerpoint/2010/main" val="255311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2" name="Text Placeholder 2"/>
          <p:cNvSpPr>
            <a:spLocks noGrp="1"/>
          </p:cNvSpPr>
          <p:nvPr>
            <p:ph type="body" idx="13"/>
          </p:nvPr>
        </p:nvSpPr>
        <p:spPr>
          <a:xfrm>
            <a:off x="1012277" y="2574376"/>
            <a:ext cx="10365888" cy="433921"/>
          </a:xfrm>
        </p:spPr>
        <p:txBody>
          <a:bodyPr anchor="b">
            <a:normAutofit/>
          </a:bodyPr>
          <a:lstStyle>
            <a:lvl1pPr marL="0" indent="0">
              <a:buNone/>
              <a:defRPr sz="2448">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3" name="Text Placeholder 2"/>
          <p:cNvSpPr>
            <a:spLocks noGrp="1"/>
          </p:cNvSpPr>
          <p:nvPr>
            <p:ph type="body" idx="14"/>
          </p:nvPr>
        </p:nvSpPr>
        <p:spPr>
          <a:xfrm>
            <a:off x="1012277" y="3079545"/>
            <a:ext cx="10365888" cy="385347"/>
          </a:xfrm>
        </p:spPr>
        <p:txBody>
          <a:bodyPr anchor="b">
            <a:normAutofit/>
          </a:bodyPr>
          <a:lstStyle>
            <a:lvl1pPr marL="0" indent="0">
              <a:buNone/>
              <a:defRPr sz="1632">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15"/>
          </p:nvPr>
        </p:nvSpPr>
        <p:spPr>
          <a:xfrm>
            <a:off x="1012277" y="3555551"/>
            <a:ext cx="10365888" cy="453349"/>
          </a:xfrm>
        </p:spPr>
        <p:txBody>
          <a:bodyPr anchor="b">
            <a:normAutofit/>
          </a:bodyPr>
          <a:lstStyle>
            <a:lvl1pPr marL="0" indent="0">
              <a:buNone/>
              <a:defRPr sz="2142">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5" name="Title 14"/>
          <p:cNvSpPr>
            <a:spLocks noGrp="1"/>
          </p:cNvSpPr>
          <p:nvPr>
            <p:ph type="title"/>
          </p:nvPr>
        </p:nvSpPr>
        <p:spPr>
          <a:xfrm>
            <a:off x="1012274" y="1745923"/>
            <a:ext cx="10372020" cy="675920"/>
          </a:xfrm>
          <a:prstGeom prst="rect">
            <a:avLst/>
          </a:prstGeom>
        </p:spPr>
        <p:txBody>
          <a:bodyPr anchor="b"/>
          <a:lstStyle>
            <a:lvl1pPr>
              <a:defRPr sz="3264" b="0" i="0"/>
            </a:lvl1pPr>
          </a:lstStyle>
          <a:p>
            <a:r>
              <a:rPr lang="en-US"/>
              <a:t>Click to edit Master 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056585" y="6274047"/>
            <a:ext cx="1689865" cy="361942"/>
          </a:xfrm>
          <a:prstGeom prst="rect">
            <a:avLst/>
          </a:prstGeom>
        </p:spPr>
      </p:pic>
    </p:spTree>
    <p:extLst>
      <p:ext uri="{BB962C8B-B14F-4D97-AF65-F5344CB8AC3E}">
        <p14:creationId xmlns:p14="http://schemas.microsoft.com/office/powerpoint/2010/main" val="417430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Slide 8">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6724561"/>
            <a:ext cx="2297513" cy="269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421177"/>
            <a:ext cx="7315200" cy="1828804"/>
          </a:xfrm>
          <a:noFill/>
        </p:spPr>
        <p:txBody>
          <a:bodyPr lIns="146286" tIns="91429" rIns="146286" bIns="91429" anchor="t" anchorCtr="0"/>
          <a:lstStyle>
            <a:lvl1pPr>
              <a:defRPr sz="7343" spc="-101" baseline="0">
                <a:gradFill>
                  <a:gsLst>
                    <a:gs pos="0">
                      <a:schemeClr val="accent2"/>
                    </a:gs>
                    <a:gs pos="74000">
                      <a:schemeClr val="accent2"/>
                    </a:gs>
                  </a:gsLst>
                  <a:lin ang="5400000" scaled="1"/>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240452"/>
            <a:ext cx="7315200" cy="1830388"/>
          </a:xfrm>
          <a:noFill/>
        </p:spPr>
        <p:txBody>
          <a:bodyPr lIns="146286" tIns="109714" rIns="146286" bIns="109714">
            <a:noAutofit/>
          </a:bodyPr>
          <a:lstStyle>
            <a:lvl1pPr marL="0" indent="0">
              <a:spcBef>
                <a:spcPts val="0"/>
              </a:spcBef>
              <a:buNone/>
              <a:defRPr sz="3299" spc="0" baseline="0">
                <a:gradFill>
                  <a:gsLst>
                    <a:gs pos="0">
                      <a:schemeClr val="accent2"/>
                    </a:gs>
                    <a:gs pos="74000">
                      <a:schemeClr val="accent2"/>
                    </a:gs>
                  </a:gsLst>
                  <a:lin ang="5400000" scaled="1"/>
                </a:gradFill>
                <a:latin typeface="+mj-lt"/>
              </a:defRPr>
            </a:lvl1pPr>
          </a:lstStyle>
          <a:p>
            <a:pPr lvl="0"/>
            <a:r>
              <a:rPr lang="en-US" dirty="0"/>
              <a:t>Speaker Name</a:t>
            </a:r>
          </a:p>
        </p:txBody>
      </p:sp>
      <p:grpSp>
        <p:nvGrpSpPr>
          <p:cNvPr id="3" name="Group 2"/>
          <p:cNvGrpSpPr/>
          <p:nvPr userDrawn="1"/>
        </p:nvGrpSpPr>
        <p:grpSpPr>
          <a:xfrm>
            <a:off x="0" y="17546"/>
            <a:ext cx="12436475" cy="6976979"/>
            <a:chOff x="7804968" y="4396485"/>
            <a:chExt cx="4387032" cy="2461515"/>
          </a:xfrm>
        </p:grpSpPr>
        <p:sp>
          <p:nvSpPr>
            <p:cNvPr id="14" name="Freeform 9"/>
            <p:cNvSpPr>
              <a:spLocks/>
            </p:cNvSpPr>
            <p:nvPr userDrawn="1"/>
          </p:nvSpPr>
          <p:spPr bwMode="auto">
            <a:xfrm>
              <a:off x="7804968" y="6397340"/>
              <a:ext cx="2217194" cy="460660"/>
            </a:xfrm>
            <a:custGeom>
              <a:avLst/>
              <a:gdLst>
                <a:gd name="T0" fmla="*/ 709 w 1146"/>
                <a:gd name="T1" fmla="*/ 12 h 238"/>
                <a:gd name="T2" fmla="*/ 696 w 1146"/>
                <a:gd name="T3" fmla="*/ 10 h 238"/>
                <a:gd name="T4" fmla="*/ 673 w 1146"/>
                <a:gd name="T5" fmla="*/ 38 h 238"/>
                <a:gd name="T6" fmla="*/ 613 w 1146"/>
                <a:gd name="T7" fmla="*/ 65 h 238"/>
                <a:gd name="T8" fmla="*/ 566 w 1146"/>
                <a:gd name="T9" fmla="*/ 39 h 238"/>
                <a:gd name="T10" fmla="*/ 566 w 1146"/>
                <a:gd name="T11" fmla="*/ 0 h 238"/>
                <a:gd name="T12" fmla="*/ 0 w 1146"/>
                <a:gd name="T13" fmla="*/ 238 h 238"/>
                <a:gd name="T14" fmla="*/ 406 w 1146"/>
                <a:gd name="T15" fmla="*/ 238 h 238"/>
                <a:gd name="T16" fmla="*/ 1146 w 1146"/>
                <a:gd name="T17" fmla="*/ 238 h 238"/>
                <a:gd name="T18" fmla="*/ 709 w 1146"/>
                <a:gd name="T19"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6" h="238">
                  <a:moveTo>
                    <a:pt x="709" y="12"/>
                  </a:moveTo>
                  <a:cubicBezTo>
                    <a:pt x="705" y="11"/>
                    <a:pt x="700" y="10"/>
                    <a:pt x="696" y="10"/>
                  </a:cubicBezTo>
                  <a:cubicBezTo>
                    <a:pt x="688" y="21"/>
                    <a:pt x="680" y="30"/>
                    <a:pt x="673" y="38"/>
                  </a:cubicBezTo>
                  <a:cubicBezTo>
                    <a:pt x="655" y="57"/>
                    <a:pt x="637" y="65"/>
                    <a:pt x="613" y="65"/>
                  </a:cubicBezTo>
                  <a:cubicBezTo>
                    <a:pt x="591" y="65"/>
                    <a:pt x="574" y="57"/>
                    <a:pt x="566" y="39"/>
                  </a:cubicBezTo>
                  <a:cubicBezTo>
                    <a:pt x="562" y="29"/>
                    <a:pt x="561" y="16"/>
                    <a:pt x="566" y="0"/>
                  </a:cubicBezTo>
                  <a:cubicBezTo>
                    <a:pt x="361" y="2"/>
                    <a:pt x="157" y="81"/>
                    <a:pt x="0" y="238"/>
                  </a:cubicBezTo>
                  <a:cubicBezTo>
                    <a:pt x="406" y="238"/>
                    <a:pt x="406" y="238"/>
                    <a:pt x="406" y="238"/>
                  </a:cubicBezTo>
                  <a:cubicBezTo>
                    <a:pt x="1146" y="238"/>
                    <a:pt x="1146" y="238"/>
                    <a:pt x="1146" y="238"/>
                  </a:cubicBezTo>
                  <a:cubicBezTo>
                    <a:pt x="1023" y="114"/>
                    <a:pt x="869" y="39"/>
                    <a:pt x="709" y="1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7" name="Freeform 10"/>
            <p:cNvSpPr>
              <a:spLocks/>
            </p:cNvSpPr>
            <p:nvPr userDrawn="1"/>
          </p:nvSpPr>
          <p:spPr bwMode="auto">
            <a:xfrm>
              <a:off x="8952312" y="6399492"/>
              <a:ext cx="139920" cy="73189"/>
            </a:xfrm>
            <a:custGeom>
              <a:avLst/>
              <a:gdLst>
                <a:gd name="T0" fmla="*/ 27 w 72"/>
                <a:gd name="T1" fmla="*/ 38 h 38"/>
                <a:gd name="T2" fmla="*/ 72 w 72"/>
                <a:gd name="T3" fmla="*/ 5 h 38"/>
                <a:gd name="T4" fmla="*/ 8 w 72"/>
                <a:gd name="T5" fmla="*/ 0 h 38"/>
                <a:gd name="T6" fmla="*/ 27 w 72"/>
                <a:gd name="T7" fmla="*/ 38 h 38"/>
              </a:gdLst>
              <a:ahLst/>
              <a:cxnLst>
                <a:cxn ang="0">
                  <a:pos x="T0" y="T1"/>
                </a:cxn>
                <a:cxn ang="0">
                  <a:pos x="T2" y="T3"/>
                </a:cxn>
                <a:cxn ang="0">
                  <a:pos x="T4" y="T5"/>
                </a:cxn>
                <a:cxn ang="0">
                  <a:pos x="T6" y="T7"/>
                </a:cxn>
              </a:cxnLst>
              <a:rect l="0" t="0" r="r" b="b"/>
              <a:pathLst>
                <a:path w="72" h="38">
                  <a:moveTo>
                    <a:pt x="27" y="38"/>
                  </a:moveTo>
                  <a:cubicBezTo>
                    <a:pt x="44" y="38"/>
                    <a:pt x="55" y="27"/>
                    <a:pt x="72" y="5"/>
                  </a:cubicBezTo>
                  <a:cubicBezTo>
                    <a:pt x="51" y="2"/>
                    <a:pt x="30" y="1"/>
                    <a:pt x="8" y="0"/>
                  </a:cubicBezTo>
                  <a:cubicBezTo>
                    <a:pt x="0" y="26"/>
                    <a:pt x="11" y="38"/>
                    <a:pt x="27"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8" name="Freeform 11"/>
            <p:cNvSpPr>
              <a:spLocks/>
            </p:cNvSpPr>
            <p:nvPr userDrawn="1"/>
          </p:nvSpPr>
          <p:spPr bwMode="auto">
            <a:xfrm>
              <a:off x="8890963" y="6397340"/>
              <a:ext cx="260467" cy="125928"/>
            </a:xfrm>
            <a:custGeom>
              <a:avLst/>
              <a:gdLst>
                <a:gd name="T0" fmla="*/ 5 w 135"/>
                <a:gd name="T1" fmla="*/ 39 h 65"/>
                <a:gd name="T2" fmla="*/ 52 w 135"/>
                <a:gd name="T3" fmla="*/ 65 h 65"/>
                <a:gd name="T4" fmla="*/ 112 w 135"/>
                <a:gd name="T5" fmla="*/ 38 h 65"/>
                <a:gd name="T6" fmla="*/ 135 w 135"/>
                <a:gd name="T7" fmla="*/ 10 h 65"/>
                <a:gd name="T8" fmla="*/ 104 w 135"/>
                <a:gd name="T9" fmla="*/ 6 h 65"/>
                <a:gd name="T10" fmla="*/ 59 w 135"/>
                <a:gd name="T11" fmla="*/ 39 h 65"/>
                <a:gd name="T12" fmla="*/ 40 w 135"/>
                <a:gd name="T13" fmla="*/ 1 h 65"/>
                <a:gd name="T14" fmla="*/ 5 w 135"/>
                <a:gd name="T15" fmla="*/ 0 h 65"/>
                <a:gd name="T16" fmla="*/ 5 w 135"/>
                <a:gd name="T17"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5">
                  <a:moveTo>
                    <a:pt x="5" y="39"/>
                  </a:moveTo>
                  <a:cubicBezTo>
                    <a:pt x="13" y="57"/>
                    <a:pt x="30" y="65"/>
                    <a:pt x="52" y="65"/>
                  </a:cubicBezTo>
                  <a:cubicBezTo>
                    <a:pt x="76" y="65"/>
                    <a:pt x="94" y="57"/>
                    <a:pt x="112" y="38"/>
                  </a:cubicBezTo>
                  <a:cubicBezTo>
                    <a:pt x="119" y="30"/>
                    <a:pt x="127" y="21"/>
                    <a:pt x="135" y="10"/>
                  </a:cubicBezTo>
                  <a:cubicBezTo>
                    <a:pt x="125" y="8"/>
                    <a:pt x="115" y="7"/>
                    <a:pt x="104" y="6"/>
                  </a:cubicBezTo>
                  <a:cubicBezTo>
                    <a:pt x="87" y="28"/>
                    <a:pt x="76" y="39"/>
                    <a:pt x="59" y="39"/>
                  </a:cubicBezTo>
                  <a:cubicBezTo>
                    <a:pt x="43" y="39"/>
                    <a:pt x="32" y="27"/>
                    <a:pt x="40" y="1"/>
                  </a:cubicBezTo>
                  <a:cubicBezTo>
                    <a:pt x="29" y="0"/>
                    <a:pt x="17" y="0"/>
                    <a:pt x="5" y="0"/>
                  </a:cubicBezTo>
                  <a:cubicBezTo>
                    <a:pt x="0" y="16"/>
                    <a:pt x="1" y="29"/>
                    <a:pt x="5" y="39"/>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9" name="Freeform 12"/>
            <p:cNvSpPr>
              <a:spLocks noEditPoints="1"/>
            </p:cNvSpPr>
            <p:nvPr userDrawn="1"/>
          </p:nvSpPr>
          <p:spPr bwMode="auto">
            <a:xfrm>
              <a:off x="8847911" y="6079829"/>
              <a:ext cx="292756" cy="441286"/>
            </a:xfrm>
            <a:custGeom>
              <a:avLst/>
              <a:gdLst>
                <a:gd name="T0" fmla="*/ 73 w 151"/>
                <a:gd name="T1" fmla="*/ 228 h 228"/>
                <a:gd name="T2" fmla="*/ 19 w 151"/>
                <a:gd name="T3" fmla="*/ 200 h 228"/>
                <a:gd name="T4" fmla="*/ 0 w 151"/>
                <a:gd name="T5" fmla="*/ 118 h 228"/>
                <a:gd name="T6" fmla="*/ 20 w 151"/>
                <a:gd name="T7" fmla="*/ 30 h 228"/>
                <a:gd name="T8" fmla="*/ 78 w 151"/>
                <a:gd name="T9" fmla="*/ 0 h 228"/>
                <a:gd name="T10" fmla="*/ 151 w 151"/>
                <a:gd name="T11" fmla="*/ 113 h 228"/>
                <a:gd name="T12" fmla="*/ 130 w 151"/>
                <a:gd name="T13" fmla="*/ 198 h 228"/>
                <a:gd name="T14" fmla="*/ 73 w 151"/>
                <a:gd name="T15" fmla="*/ 228 h 228"/>
                <a:gd name="T16" fmla="*/ 76 w 151"/>
                <a:gd name="T17" fmla="*/ 28 h 228"/>
                <a:gd name="T18" fmla="*/ 36 w 151"/>
                <a:gd name="T19" fmla="*/ 117 h 228"/>
                <a:gd name="T20" fmla="*/ 76 w 151"/>
                <a:gd name="T21" fmla="*/ 199 h 228"/>
                <a:gd name="T22" fmla="*/ 114 w 151"/>
                <a:gd name="T23" fmla="*/ 115 h 228"/>
                <a:gd name="T24" fmla="*/ 76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19" y="200"/>
                  </a:cubicBezTo>
                  <a:cubicBezTo>
                    <a:pt x="6" y="181"/>
                    <a:pt x="0" y="154"/>
                    <a:pt x="0" y="118"/>
                  </a:cubicBezTo>
                  <a:cubicBezTo>
                    <a:pt x="0" y="79"/>
                    <a:pt x="6" y="50"/>
                    <a:pt x="20" y="30"/>
                  </a:cubicBezTo>
                  <a:cubicBezTo>
                    <a:pt x="33" y="10"/>
                    <a:pt x="53" y="0"/>
                    <a:pt x="78" y="0"/>
                  </a:cubicBezTo>
                  <a:cubicBezTo>
                    <a:pt x="126" y="0"/>
                    <a:pt x="151" y="38"/>
                    <a:pt x="151" y="113"/>
                  </a:cubicBezTo>
                  <a:cubicBezTo>
                    <a:pt x="151" y="150"/>
                    <a:pt x="144" y="179"/>
                    <a:pt x="130" y="198"/>
                  </a:cubicBezTo>
                  <a:cubicBezTo>
                    <a:pt x="117" y="218"/>
                    <a:pt x="97" y="228"/>
                    <a:pt x="73" y="228"/>
                  </a:cubicBezTo>
                  <a:close/>
                  <a:moveTo>
                    <a:pt x="76" y="28"/>
                  </a:moveTo>
                  <a:cubicBezTo>
                    <a:pt x="50" y="28"/>
                    <a:pt x="36" y="58"/>
                    <a:pt x="36" y="117"/>
                  </a:cubicBezTo>
                  <a:cubicBezTo>
                    <a:pt x="36" y="172"/>
                    <a:pt x="49" y="199"/>
                    <a:pt x="76" y="199"/>
                  </a:cubicBezTo>
                  <a:cubicBezTo>
                    <a:pt x="101" y="199"/>
                    <a:pt x="114" y="171"/>
                    <a:pt x="114" y="115"/>
                  </a:cubicBezTo>
                  <a:cubicBezTo>
                    <a:pt x="114" y="57"/>
                    <a:pt x="102" y="28"/>
                    <a:pt x="76"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0" name="Freeform 13"/>
            <p:cNvSpPr>
              <a:spLocks/>
            </p:cNvSpPr>
            <p:nvPr userDrawn="1"/>
          </p:nvSpPr>
          <p:spPr bwMode="auto">
            <a:xfrm>
              <a:off x="9169727" y="6086287"/>
              <a:ext cx="153912" cy="422989"/>
            </a:xfrm>
            <a:custGeom>
              <a:avLst/>
              <a:gdLst>
                <a:gd name="T0" fmla="*/ 80 w 80"/>
                <a:gd name="T1" fmla="*/ 0 h 219"/>
                <a:gd name="T2" fmla="*/ 80 w 80"/>
                <a:gd name="T3" fmla="*/ 219 h 219"/>
                <a:gd name="T4" fmla="*/ 45 w 80"/>
                <a:gd name="T5" fmla="*/ 219 h 219"/>
                <a:gd name="T6" fmla="*/ 45 w 80"/>
                <a:gd name="T7" fmla="*/ 42 h 219"/>
                <a:gd name="T8" fmla="*/ 25 w 80"/>
                <a:gd name="T9" fmla="*/ 54 h 219"/>
                <a:gd name="T10" fmla="*/ 0 w 80"/>
                <a:gd name="T11" fmla="*/ 62 h 219"/>
                <a:gd name="T12" fmla="*/ 0 w 80"/>
                <a:gd name="T13" fmla="*/ 32 h 219"/>
                <a:gd name="T14" fmla="*/ 17 w 80"/>
                <a:gd name="T15" fmla="*/ 26 h 219"/>
                <a:gd name="T16" fmla="*/ 33 w 80"/>
                <a:gd name="T17" fmla="*/ 19 h 219"/>
                <a:gd name="T18" fmla="*/ 49 w 80"/>
                <a:gd name="T19" fmla="*/ 11 h 219"/>
                <a:gd name="T20" fmla="*/ 65 w 80"/>
                <a:gd name="T21" fmla="*/ 0 h 219"/>
                <a:gd name="T22" fmla="*/ 80 w 80"/>
                <a:gd name="T2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219">
                  <a:moveTo>
                    <a:pt x="80" y="0"/>
                  </a:moveTo>
                  <a:cubicBezTo>
                    <a:pt x="80" y="219"/>
                    <a:pt x="80" y="219"/>
                    <a:pt x="80" y="219"/>
                  </a:cubicBezTo>
                  <a:cubicBezTo>
                    <a:pt x="45" y="219"/>
                    <a:pt x="45" y="219"/>
                    <a:pt x="45" y="219"/>
                  </a:cubicBezTo>
                  <a:cubicBezTo>
                    <a:pt x="45" y="42"/>
                    <a:pt x="45" y="42"/>
                    <a:pt x="45" y="42"/>
                  </a:cubicBezTo>
                  <a:cubicBezTo>
                    <a:pt x="39" y="47"/>
                    <a:pt x="32" y="50"/>
                    <a:pt x="25" y="54"/>
                  </a:cubicBezTo>
                  <a:cubicBezTo>
                    <a:pt x="18" y="57"/>
                    <a:pt x="9" y="60"/>
                    <a:pt x="0" y="62"/>
                  </a:cubicBezTo>
                  <a:cubicBezTo>
                    <a:pt x="0" y="32"/>
                    <a:pt x="0" y="32"/>
                    <a:pt x="0" y="32"/>
                  </a:cubicBezTo>
                  <a:cubicBezTo>
                    <a:pt x="6" y="30"/>
                    <a:pt x="12" y="28"/>
                    <a:pt x="17" y="26"/>
                  </a:cubicBezTo>
                  <a:cubicBezTo>
                    <a:pt x="22" y="24"/>
                    <a:pt x="28" y="22"/>
                    <a:pt x="33" y="19"/>
                  </a:cubicBezTo>
                  <a:cubicBezTo>
                    <a:pt x="38" y="17"/>
                    <a:pt x="43" y="14"/>
                    <a:pt x="49" y="11"/>
                  </a:cubicBezTo>
                  <a:cubicBezTo>
                    <a:pt x="54" y="7"/>
                    <a:pt x="60" y="4"/>
                    <a:pt x="65" y="0"/>
                  </a:cubicBezTo>
                  <a:lnTo>
                    <a:pt x="8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1" name="Freeform 14"/>
            <p:cNvSpPr>
              <a:spLocks noEditPoints="1"/>
            </p:cNvSpPr>
            <p:nvPr userDrawn="1"/>
          </p:nvSpPr>
          <p:spPr bwMode="auto">
            <a:xfrm>
              <a:off x="9391446" y="6079829"/>
              <a:ext cx="292756"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2" name="Freeform 15"/>
            <p:cNvSpPr>
              <a:spLocks noEditPoints="1"/>
            </p:cNvSpPr>
            <p:nvPr userDrawn="1"/>
          </p:nvSpPr>
          <p:spPr bwMode="auto">
            <a:xfrm>
              <a:off x="9730483" y="6079829"/>
              <a:ext cx="291680"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3" name="Freeform 16"/>
            <p:cNvSpPr>
              <a:spLocks noEditPoints="1"/>
            </p:cNvSpPr>
            <p:nvPr userDrawn="1"/>
          </p:nvSpPr>
          <p:spPr bwMode="auto">
            <a:xfrm>
              <a:off x="10088894" y="6079829"/>
              <a:ext cx="291680" cy="441286"/>
            </a:xfrm>
            <a:custGeom>
              <a:avLst/>
              <a:gdLst>
                <a:gd name="T0" fmla="*/ 73 w 151"/>
                <a:gd name="T1" fmla="*/ 228 h 228"/>
                <a:gd name="T2" fmla="*/ 20 w 151"/>
                <a:gd name="T3" fmla="*/ 200 h 228"/>
                <a:gd name="T4" fmla="*/ 0 w 151"/>
                <a:gd name="T5" fmla="*/ 118 h 228"/>
                <a:gd name="T6" fmla="*/ 21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1" y="228"/>
                    <a:pt x="33" y="218"/>
                    <a:pt x="20" y="200"/>
                  </a:cubicBezTo>
                  <a:cubicBezTo>
                    <a:pt x="7" y="181"/>
                    <a:pt x="0" y="154"/>
                    <a:pt x="0" y="118"/>
                  </a:cubicBezTo>
                  <a:cubicBezTo>
                    <a:pt x="0" y="79"/>
                    <a:pt x="7" y="50"/>
                    <a:pt x="21" y="30"/>
                  </a:cubicBezTo>
                  <a:cubicBezTo>
                    <a:pt x="34" y="10"/>
                    <a:pt x="53" y="0"/>
                    <a:pt x="79" y="0"/>
                  </a:cubicBezTo>
                  <a:cubicBezTo>
                    <a:pt x="127" y="0"/>
                    <a:pt x="151" y="38"/>
                    <a:pt x="151" y="113"/>
                  </a:cubicBezTo>
                  <a:cubicBezTo>
                    <a:pt x="151" y="150"/>
                    <a:pt x="145"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4" name="Freeform 17"/>
            <p:cNvSpPr>
              <a:spLocks/>
            </p:cNvSpPr>
            <p:nvPr userDrawn="1"/>
          </p:nvSpPr>
          <p:spPr bwMode="auto">
            <a:xfrm>
              <a:off x="10720687" y="6266030"/>
              <a:ext cx="1471313" cy="591969"/>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5" name="Freeform 18"/>
            <p:cNvSpPr>
              <a:spLocks/>
            </p:cNvSpPr>
            <p:nvPr userDrawn="1"/>
          </p:nvSpPr>
          <p:spPr bwMode="auto">
            <a:xfrm>
              <a:off x="10376268" y="5116533"/>
              <a:ext cx="467118" cy="1280807"/>
            </a:xfrm>
            <a:custGeom>
              <a:avLst/>
              <a:gdLst>
                <a:gd name="T0" fmla="*/ 241 w 241"/>
                <a:gd name="T1" fmla="*/ 0 h 662"/>
                <a:gd name="T2" fmla="*/ 241 w 241"/>
                <a:gd name="T3" fmla="*/ 662 h 662"/>
                <a:gd name="T4" fmla="*/ 136 w 241"/>
                <a:gd name="T5" fmla="*/ 662 h 662"/>
                <a:gd name="T6" fmla="*/ 136 w 241"/>
                <a:gd name="T7" fmla="*/ 128 h 662"/>
                <a:gd name="T8" fmla="*/ 75 w 241"/>
                <a:gd name="T9" fmla="*/ 163 h 662"/>
                <a:gd name="T10" fmla="*/ 0 w 241"/>
                <a:gd name="T11" fmla="*/ 188 h 662"/>
                <a:gd name="T12" fmla="*/ 0 w 241"/>
                <a:gd name="T13" fmla="*/ 98 h 662"/>
                <a:gd name="T14" fmla="*/ 51 w 241"/>
                <a:gd name="T15" fmla="*/ 80 h 662"/>
                <a:gd name="T16" fmla="*/ 99 w 241"/>
                <a:gd name="T17" fmla="*/ 59 h 662"/>
                <a:gd name="T18" fmla="*/ 147 w 241"/>
                <a:gd name="T19" fmla="*/ 33 h 662"/>
                <a:gd name="T20" fmla="*/ 197 w 241"/>
                <a:gd name="T21" fmla="*/ 0 h 662"/>
                <a:gd name="T22" fmla="*/ 241 w 241"/>
                <a:gd name="T2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662">
                  <a:moveTo>
                    <a:pt x="241" y="0"/>
                  </a:moveTo>
                  <a:cubicBezTo>
                    <a:pt x="241" y="662"/>
                    <a:pt x="241" y="662"/>
                    <a:pt x="241" y="662"/>
                  </a:cubicBezTo>
                  <a:cubicBezTo>
                    <a:pt x="136" y="662"/>
                    <a:pt x="136" y="662"/>
                    <a:pt x="136" y="662"/>
                  </a:cubicBezTo>
                  <a:cubicBezTo>
                    <a:pt x="136" y="128"/>
                    <a:pt x="136" y="128"/>
                    <a:pt x="136" y="128"/>
                  </a:cubicBezTo>
                  <a:cubicBezTo>
                    <a:pt x="118" y="142"/>
                    <a:pt x="97" y="153"/>
                    <a:pt x="75" y="163"/>
                  </a:cubicBezTo>
                  <a:cubicBezTo>
                    <a:pt x="53" y="172"/>
                    <a:pt x="28" y="181"/>
                    <a:pt x="0" y="188"/>
                  </a:cubicBezTo>
                  <a:cubicBezTo>
                    <a:pt x="0" y="98"/>
                    <a:pt x="0" y="98"/>
                    <a:pt x="0" y="98"/>
                  </a:cubicBezTo>
                  <a:cubicBezTo>
                    <a:pt x="18" y="93"/>
                    <a:pt x="35" y="87"/>
                    <a:pt x="51" y="80"/>
                  </a:cubicBezTo>
                  <a:cubicBezTo>
                    <a:pt x="67" y="74"/>
                    <a:pt x="83" y="67"/>
                    <a:pt x="99" y="59"/>
                  </a:cubicBezTo>
                  <a:cubicBezTo>
                    <a:pt x="115" y="51"/>
                    <a:pt x="131" y="43"/>
                    <a:pt x="147" y="33"/>
                  </a:cubicBezTo>
                  <a:cubicBezTo>
                    <a:pt x="163" y="23"/>
                    <a:pt x="180" y="12"/>
                    <a:pt x="197" y="0"/>
                  </a:cubicBezTo>
                  <a:lnTo>
                    <a:pt x="241"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6" name="Freeform 19"/>
            <p:cNvSpPr>
              <a:spLocks noEditPoints="1"/>
            </p:cNvSpPr>
            <p:nvPr userDrawn="1"/>
          </p:nvSpPr>
          <p:spPr bwMode="auto">
            <a:xfrm>
              <a:off x="10965008" y="5100389"/>
              <a:ext cx="913786" cy="1378751"/>
            </a:xfrm>
            <a:custGeom>
              <a:avLst/>
              <a:gdLst>
                <a:gd name="T0" fmla="*/ 228 w 472"/>
                <a:gd name="T1" fmla="*/ 712 h 712"/>
                <a:gd name="T2" fmla="*/ 60 w 472"/>
                <a:gd name="T3" fmla="*/ 624 h 712"/>
                <a:gd name="T4" fmla="*/ 0 w 472"/>
                <a:gd name="T5" fmla="*/ 370 h 712"/>
                <a:gd name="T6" fmla="*/ 63 w 472"/>
                <a:gd name="T7" fmla="*/ 93 h 712"/>
                <a:gd name="T8" fmla="*/ 245 w 472"/>
                <a:gd name="T9" fmla="*/ 0 h 712"/>
                <a:gd name="T10" fmla="*/ 472 w 472"/>
                <a:gd name="T11" fmla="*/ 353 h 712"/>
                <a:gd name="T12" fmla="*/ 408 w 472"/>
                <a:gd name="T13" fmla="*/ 620 h 712"/>
                <a:gd name="T14" fmla="*/ 228 w 472"/>
                <a:gd name="T15" fmla="*/ 712 h 712"/>
                <a:gd name="T16" fmla="*/ 239 w 472"/>
                <a:gd name="T17" fmla="*/ 89 h 712"/>
                <a:gd name="T18" fmla="*/ 114 w 472"/>
                <a:gd name="T19" fmla="*/ 365 h 712"/>
                <a:gd name="T20" fmla="*/ 237 w 472"/>
                <a:gd name="T21" fmla="*/ 623 h 712"/>
                <a:gd name="T22" fmla="*/ 358 w 472"/>
                <a:gd name="T23" fmla="*/ 360 h 712"/>
                <a:gd name="T24" fmla="*/ 239 w 472"/>
                <a:gd name="T25" fmla="*/ 8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2" h="712">
                  <a:moveTo>
                    <a:pt x="228" y="712"/>
                  </a:moveTo>
                  <a:cubicBezTo>
                    <a:pt x="157" y="712"/>
                    <a:pt x="101" y="682"/>
                    <a:pt x="60" y="624"/>
                  </a:cubicBezTo>
                  <a:cubicBezTo>
                    <a:pt x="20" y="565"/>
                    <a:pt x="0" y="480"/>
                    <a:pt x="0" y="370"/>
                  </a:cubicBezTo>
                  <a:cubicBezTo>
                    <a:pt x="0" y="248"/>
                    <a:pt x="21" y="156"/>
                    <a:pt x="63" y="93"/>
                  </a:cubicBezTo>
                  <a:cubicBezTo>
                    <a:pt x="105" y="31"/>
                    <a:pt x="166" y="0"/>
                    <a:pt x="245" y="0"/>
                  </a:cubicBezTo>
                  <a:cubicBezTo>
                    <a:pt x="396" y="0"/>
                    <a:pt x="472" y="117"/>
                    <a:pt x="472" y="353"/>
                  </a:cubicBezTo>
                  <a:cubicBezTo>
                    <a:pt x="472" y="469"/>
                    <a:pt x="450" y="558"/>
                    <a:pt x="408" y="620"/>
                  </a:cubicBezTo>
                  <a:cubicBezTo>
                    <a:pt x="365" y="681"/>
                    <a:pt x="305" y="712"/>
                    <a:pt x="228" y="712"/>
                  </a:cubicBezTo>
                  <a:close/>
                  <a:moveTo>
                    <a:pt x="239" y="89"/>
                  </a:moveTo>
                  <a:cubicBezTo>
                    <a:pt x="156" y="89"/>
                    <a:pt x="114" y="181"/>
                    <a:pt x="114" y="365"/>
                  </a:cubicBezTo>
                  <a:cubicBezTo>
                    <a:pt x="114" y="537"/>
                    <a:pt x="155" y="623"/>
                    <a:pt x="237" y="623"/>
                  </a:cubicBezTo>
                  <a:cubicBezTo>
                    <a:pt x="318" y="623"/>
                    <a:pt x="358" y="536"/>
                    <a:pt x="358" y="360"/>
                  </a:cubicBezTo>
                  <a:cubicBezTo>
                    <a:pt x="358" y="179"/>
                    <a:pt x="318" y="89"/>
                    <a:pt x="239" y="89"/>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7" name="Freeform 20"/>
            <p:cNvSpPr>
              <a:spLocks/>
            </p:cNvSpPr>
            <p:nvPr userDrawn="1"/>
          </p:nvSpPr>
          <p:spPr bwMode="auto">
            <a:xfrm>
              <a:off x="8821003" y="5871025"/>
              <a:ext cx="3370997" cy="986975"/>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8" name="Freeform 21"/>
            <p:cNvSpPr>
              <a:spLocks/>
            </p:cNvSpPr>
            <p:nvPr userDrawn="1"/>
          </p:nvSpPr>
          <p:spPr bwMode="auto">
            <a:xfrm>
              <a:off x="9802596" y="6142255"/>
              <a:ext cx="432676" cy="528468"/>
            </a:xfrm>
            <a:custGeom>
              <a:avLst/>
              <a:gdLst>
                <a:gd name="T0" fmla="*/ 74 w 224"/>
                <a:gd name="T1" fmla="*/ 273 h 273"/>
                <a:gd name="T2" fmla="*/ 224 w 224"/>
                <a:gd name="T3" fmla="*/ 0 h 273"/>
                <a:gd name="T4" fmla="*/ 133 w 224"/>
                <a:gd name="T5" fmla="*/ 17 h 273"/>
                <a:gd name="T6" fmla="*/ 0 w 224"/>
                <a:gd name="T7" fmla="*/ 273 h 273"/>
                <a:gd name="T8" fmla="*/ 74 w 224"/>
                <a:gd name="T9" fmla="*/ 273 h 273"/>
              </a:gdLst>
              <a:ahLst/>
              <a:cxnLst>
                <a:cxn ang="0">
                  <a:pos x="T0" y="T1"/>
                </a:cxn>
                <a:cxn ang="0">
                  <a:pos x="T2" y="T3"/>
                </a:cxn>
                <a:cxn ang="0">
                  <a:pos x="T4" y="T5"/>
                </a:cxn>
                <a:cxn ang="0">
                  <a:pos x="T6" y="T7"/>
                </a:cxn>
                <a:cxn ang="0">
                  <a:pos x="T8" y="T9"/>
                </a:cxn>
              </a:cxnLst>
              <a:rect l="0" t="0" r="r" b="b"/>
              <a:pathLst>
                <a:path w="224" h="273">
                  <a:moveTo>
                    <a:pt x="74" y="273"/>
                  </a:moveTo>
                  <a:cubicBezTo>
                    <a:pt x="83" y="188"/>
                    <a:pt x="133" y="87"/>
                    <a:pt x="224" y="0"/>
                  </a:cubicBezTo>
                  <a:cubicBezTo>
                    <a:pt x="194" y="5"/>
                    <a:pt x="163" y="11"/>
                    <a:pt x="133" y="17"/>
                  </a:cubicBezTo>
                  <a:cubicBezTo>
                    <a:pt x="53" y="100"/>
                    <a:pt x="9" y="193"/>
                    <a:pt x="0" y="273"/>
                  </a:cubicBezTo>
                  <a:cubicBezTo>
                    <a:pt x="25" y="273"/>
                    <a:pt x="49" y="273"/>
                    <a:pt x="74" y="273"/>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9" name="Freeform 22"/>
            <p:cNvSpPr>
              <a:spLocks/>
            </p:cNvSpPr>
            <p:nvPr userDrawn="1"/>
          </p:nvSpPr>
          <p:spPr bwMode="auto">
            <a:xfrm>
              <a:off x="11195338" y="6161628"/>
              <a:ext cx="131310" cy="49510"/>
            </a:xfrm>
            <a:custGeom>
              <a:avLst/>
              <a:gdLst>
                <a:gd name="T0" fmla="*/ 68 w 68"/>
                <a:gd name="T1" fmla="*/ 17 h 26"/>
                <a:gd name="T2" fmla="*/ 10 w 68"/>
                <a:gd name="T3" fmla="*/ 0 h 26"/>
                <a:gd name="T4" fmla="*/ 0 w 68"/>
                <a:gd name="T5" fmla="*/ 11 h 26"/>
                <a:gd name="T6" fmla="*/ 60 w 68"/>
                <a:gd name="T7" fmla="*/ 26 h 26"/>
                <a:gd name="T8" fmla="*/ 68 w 68"/>
                <a:gd name="T9" fmla="*/ 17 h 26"/>
              </a:gdLst>
              <a:ahLst/>
              <a:cxnLst>
                <a:cxn ang="0">
                  <a:pos x="T0" y="T1"/>
                </a:cxn>
                <a:cxn ang="0">
                  <a:pos x="T2" y="T3"/>
                </a:cxn>
                <a:cxn ang="0">
                  <a:pos x="T4" y="T5"/>
                </a:cxn>
                <a:cxn ang="0">
                  <a:pos x="T6" y="T7"/>
                </a:cxn>
                <a:cxn ang="0">
                  <a:pos x="T8" y="T9"/>
                </a:cxn>
              </a:cxnLst>
              <a:rect l="0" t="0" r="r" b="b"/>
              <a:pathLst>
                <a:path w="68" h="26">
                  <a:moveTo>
                    <a:pt x="68" y="17"/>
                  </a:moveTo>
                  <a:cubicBezTo>
                    <a:pt x="49" y="11"/>
                    <a:pt x="30" y="5"/>
                    <a:pt x="10" y="0"/>
                  </a:cubicBezTo>
                  <a:cubicBezTo>
                    <a:pt x="7" y="4"/>
                    <a:pt x="4" y="7"/>
                    <a:pt x="0" y="11"/>
                  </a:cubicBezTo>
                  <a:cubicBezTo>
                    <a:pt x="20" y="15"/>
                    <a:pt x="40" y="21"/>
                    <a:pt x="60" y="26"/>
                  </a:cubicBezTo>
                  <a:cubicBezTo>
                    <a:pt x="63" y="23"/>
                    <a:pt x="65" y="20"/>
                    <a:pt x="68" y="1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0" name="Freeform 23"/>
            <p:cNvSpPr>
              <a:spLocks/>
            </p:cNvSpPr>
            <p:nvPr userDrawn="1"/>
          </p:nvSpPr>
          <p:spPr bwMode="auto">
            <a:xfrm>
              <a:off x="10945635" y="6182078"/>
              <a:ext cx="365945" cy="488644"/>
            </a:xfrm>
            <a:custGeom>
              <a:avLst/>
              <a:gdLst>
                <a:gd name="T0" fmla="*/ 73 w 189"/>
                <a:gd name="T1" fmla="*/ 252 h 252"/>
                <a:gd name="T2" fmla="*/ 189 w 189"/>
                <a:gd name="T3" fmla="*/ 15 h 252"/>
                <a:gd name="T4" fmla="*/ 129 w 189"/>
                <a:gd name="T5" fmla="*/ 0 h 252"/>
                <a:gd name="T6" fmla="*/ 0 w 189"/>
                <a:gd name="T7" fmla="*/ 252 h 252"/>
                <a:gd name="T8" fmla="*/ 73 w 189"/>
                <a:gd name="T9" fmla="*/ 252 h 252"/>
              </a:gdLst>
              <a:ahLst/>
              <a:cxnLst>
                <a:cxn ang="0">
                  <a:pos x="T0" y="T1"/>
                </a:cxn>
                <a:cxn ang="0">
                  <a:pos x="T2" y="T3"/>
                </a:cxn>
                <a:cxn ang="0">
                  <a:pos x="T4" y="T5"/>
                </a:cxn>
                <a:cxn ang="0">
                  <a:pos x="T6" y="T7"/>
                </a:cxn>
                <a:cxn ang="0">
                  <a:pos x="T8" y="T9"/>
                </a:cxn>
              </a:cxnLst>
              <a:rect l="0" t="0" r="r" b="b"/>
              <a:pathLst>
                <a:path w="189" h="252">
                  <a:moveTo>
                    <a:pt x="73" y="252"/>
                  </a:moveTo>
                  <a:cubicBezTo>
                    <a:pt x="81" y="178"/>
                    <a:pt x="120" y="93"/>
                    <a:pt x="189" y="15"/>
                  </a:cubicBezTo>
                  <a:cubicBezTo>
                    <a:pt x="169" y="10"/>
                    <a:pt x="149" y="4"/>
                    <a:pt x="129" y="0"/>
                  </a:cubicBezTo>
                  <a:cubicBezTo>
                    <a:pt x="51" y="82"/>
                    <a:pt x="8" y="173"/>
                    <a:pt x="0" y="252"/>
                  </a:cubicBezTo>
                  <a:cubicBezTo>
                    <a:pt x="24" y="252"/>
                    <a:pt x="49" y="252"/>
                    <a:pt x="73" y="25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1" name="Freeform 24"/>
            <p:cNvSpPr>
              <a:spLocks/>
            </p:cNvSpPr>
            <p:nvPr userDrawn="1"/>
          </p:nvSpPr>
          <p:spPr bwMode="auto">
            <a:xfrm>
              <a:off x="10144862" y="6114271"/>
              <a:ext cx="841673" cy="576901"/>
            </a:xfrm>
            <a:custGeom>
              <a:avLst/>
              <a:gdLst>
                <a:gd name="T0" fmla="*/ 70 w 435"/>
                <a:gd name="T1" fmla="*/ 65 h 298"/>
                <a:gd name="T2" fmla="*/ 16 w 435"/>
                <a:gd name="T3" fmla="*/ 240 h 298"/>
                <a:gd name="T4" fmla="*/ 120 w 435"/>
                <a:gd name="T5" fmla="*/ 298 h 298"/>
                <a:gd name="T6" fmla="*/ 252 w 435"/>
                <a:gd name="T7" fmla="*/ 238 h 298"/>
                <a:gd name="T8" fmla="*/ 399 w 435"/>
                <a:gd name="T9" fmla="*/ 53 h 298"/>
                <a:gd name="T10" fmla="*/ 435 w 435"/>
                <a:gd name="T11" fmla="*/ 14 h 298"/>
                <a:gd name="T12" fmla="*/ 366 w 435"/>
                <a:gd name="T13" fmla="*/ 6 h 298"/>
                <a:gd name="T14" fmla="*/ 317 w 435"/>
                <a:gd name="T15" fmla="*/ 58 h 298"/>
                <a:gd name="T16" fmla="*/ 136 w 435"/>
                <a:gd name="T17" fmla="*/ 240 h 298"/>
                <a:gd name="T18" fmla="*/ 150 w 435"/>
                <a:gd name="T19" fmla="*/ 61 h 298"/>
                <a:gd name="T20" fmla="*/ 212 w 435"/>
                <a:gd name="T21" fmla="*/ 0 h 298"/>
                <a:gd name="T22" fmla="*/ 130 w 435"/>
                <a:gd name="T23" fmla="*/ 5 h 298"/>
                <a:gd name="T24" fmla="*/ 70 w 435"/>
                <a:gd name="T25" fmla="*/ 6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5" h="298">
                  <a:moveTo>
                    <a:pt x="70" y="65"/>
                  </a:moveTo>
                  <a:cubicBezTo>
                    <a:pt x="8" y="141"/>
                    <a:pt x="0" y="201"/>
                    <a:pt x="16" y="240"/>
                  </a:cubicBezTo>
                  <a:cubicBezTo>
                    <a:pt x="34" y="280"/>
                    <a:pt x="72" y="298"/>
                    <a:pt x="120" y="298"/>
                  </a:cubicBezTo>
                  <a:cubicBezTo>
                    <a:pt x="173" y="298"/>
                    <a:pt x="212" y="279"/>
                    <a:pt x="252" y="238"/>
                  </a:cubicBezTo>
                  <a:cubicBezTo>
                    <a:pt x="292" y="197"/>
                    <a:pt x="330" y="133"/>
                    <a:pt x="399" y="53"/>
                  </a:cubicBezTo>
                  <a:cubicBezTo>
                    <a:pt x="411" y="39"/>
                    <a:pt x="423" y="26"/>
                    <a:pt x="435" y="14"/>
                  </a:cubicBezTo>
                  <a:cubicBezTo>
                    <a:pt x="412" y="11"/>
                    <a:pt x="389" y="8"/>
                    <a:pt x="366" y="6"/>
                  </a:cubicBezTo>
                  <a:cubicBezTo>
                    <a:pt x="350" y="21"/>
                    <a:pt x="334" y="39"/>
                    <a:pt x="317" y="58"/>
                  </a:cubicBezTo>
                  <a:cubicBezTo>
                    <a:pt x="220" y="180"/>
                    <a:pt x="194" y="241"/>
                    <a:pt x="136" y="240"/>
                  </a:cubicBezTo>
                  <a:cubicBezTo>
                    <a:pt x="84" y="241"/>
                    <a:pt x="55" y="181"/>
                    <a:pt x="150" y="61"/>
                  </a:cubicBezTo>
                  <a:cubicBezTo>
                    <a:pt x="169" y="38"/>
                    <a:pt x="190" y="18"/>
                    <a:pt x="212" y="0"/>
                  </a:cubicBezTo>
                  <a:cubicBezTo>
                    <a:pt x="185" y="1"/>
                    <a:pt x="158" y="2"/>
                    <a:pt x="130" y="5"/>
                  </a:cubicBezTo>
                  <a:cubicBezTo>
                    <a:pt x="109" y="23"/>
                    <a:pt x="88" y="43"/>
                    <a:pt x="70" y="6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2" name="Freeform 25"/>
            <p:cNvSpPr>
              <a:spLocks/>
            </p:cNvSpPr>
            <p:nvPr userDrawn="1"/>
          </p:nvSpPr>
          <p:spPr bwMode="auto">
            <a:xfrm>
              <a:off x="11295435" y="6246656"/>
              <a:ext cx="586588" cy="444516"/>
            </a:xfrm>
            <a:custGeom>
              <a:avLst/>
              <a:gdLst>
                <a:gd name="T0" fmla="*/ 16 w 303"/>
                <a:gd name="T1" fmla="*/ 172 h 230"/>
                <a:gd name="T2" fmla="*/ 120 w 303"/>
                <a:gd name="T3" fmla="*/ 230 h 230"/>
                <a:gd name="T4" fmla="*/ 251 w 303"/>
                <a:gd name="T5" fmla="*/ 170 h 230"/>
                <a:gd name="T6" fmla="*/ 303 w 303"/>
                <a:gd name="T7" fmla="*/ 107 h 230"/>
                <a:gd name="T8" fmla="*/ 249 w 303"/>
                <a:gd name="T9" fmla="*/ 78 h 230"/>
                <a:gd name="T10" fmla="*/ 135 w 303"/>
                <a:gd name="T11" fmla="*/ 172 h 230"/>
                <a:gd name="T12" fmla="*/ 127 w 303"/>
                <a:gd name="T13" fmla="*/ 23 h 230"/>
                <a:gd name="T14" fmla="*/ 67 w 303"/>
                <a:gd name="T15" fmla="*/ 0 h 230"/>
                <a:gd name="T16" fmla="*/ 16 w 303"/>
                <a:gd name="T17" fmla="*/ 17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30">
                  <a:moveTo>
                    <a:pt x="16" y="172"/>
                  </a:moveTo>
                  <a:cubicBezTo>
                    <a:pt x="33" y="212"/>
                    <a:pt x="72" y="230"/>
                    <a:pt x="120" y="230"/>
                  </a:cubicBezTo>
                  <a:cubicBezTo>
                    <a:pt x="172" y="230"/>
                    <a:pt x="212" y="211"/>
                    <a:pt x="251" y="170"/>
                  </a:cubicBezTo>
                  <a:cubicBezTo>
                    <a:pt x="268" y="152"/>
                    <a:pt x="284" y="132"/>
                    <a:pt x="303" y="107"/>
                  </a:cubicBezTo>
                  <a:cubicBezTo>
                    <a:pt x="285" y="97"/>
                    <a:pt x="267" y="87"/>
                    <a:pt x="249" y="78"/>
                  </a:cubicBezTo>
                  <a:cubicBezTo>
                    <a:pt x="204" y="142"/>
                    <a:pt x="176" y="172"/>
                    <a:pt x="135" y="172"/>
                  </a:cubicBezTo>
                  <a:cubicBezTo>
                    <a:pt x="88" y="172"/>
                    <a:pt x="61" y="123"/>
                    <a:pt x="127" y="23"/>
                  </a:cubicBezTo>
                  <a:cubicBezTo>
                    <a:pt x="107" y="15"/>
                    <a:pt x="87" y="7"/>
                    <a:pt x="67" y="0"/>
                  </a:cubicBezTo>
                  <a:cubicBezTo>
                    <a:pt x="7" y="75"/>
                    <a:pt x="0" y="134"/>
                    <a:pt x="16" y="17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3" name="Freeform 26"/>
            <p:cNvSpPr>
              <a:spLocks/>
            </p:cNvSpPr>
            <p:nvPr userDrawn="1"/>
          </p:nvSpPr>
          <p:spPr bwMode="auto">
            <a:xfrm>
              <a:off x="12054232" y="6564168"/>
              <a:ext cx="137767" cy="124852"/>
            </a:xfrm>
            <a:custGeom>
              <a:avLst/>
              <a:gdLst>
                <a:gd name="T0" fmla="*/ 0 w 71"/>
                <a:gd name="T1" fmla="*/ 0 h 65"/>
                <a:gd name="T2" fmla="*/ 0 w 71"/>
                <a:gd name="T3" fmla="*/ 8 h 65"/>
                <a:gd name="T4" fmla="*/ 65 w 71"/>
                <a:gd name="T5" fmla="*/ 65 h 65"/>
                <a:gd name="T6" fmla="*/ 71 w 71"/>
                <a:gd name="T7" fmla="*/ 55 h 65"/>
                <a:gd name="T8" fmla="*/ 71 w 71"/>
                <a:gd name="T9" fmla="*/ 52 h 65"/>
                <a:gd name="T10" fmla="*/ 0 w 71"/>
                <a:gd name="T11" fmla="*/ 0 h 65"/>
              </a:gdLst>
              <a:ahLst/>
              <a:cxnLst>
                <a:cxn ang="0">
                  <a:pos x="T0" y="T1"/>
                </a:cxn>
                <a:cxn ang="0">
                  <a:pos x="T2" y="T3"/>
                </a:cxn>
                <a:cxn ang="0">
                  <a:pos x="T4" y="T5"/>
                </a:cxn>
                <a:cxn ang="0">
                  <a:pos x="T6" y="T7"/>
                </a:cxn>
                <a:cxn ang="0">
                  <a:pos x="T8" y="T9"/>
                </a:cxn>
                <a:cxn ang="0">
                  <a:pos x="T10" y="T11"/>
                </a:cxn>
              </a:cxnLst>
              <a:rect l="0" t="0" r="r" b="b"/>
              <a:pathLst>
                <a:path w="71" h="65">
                  <a:moveTo>
                    <a:pt x="0" y="0"/>
                  </a:moveTo>
                  <a:cubicBezTo>
                    <a:pt x="0" y="3"/>
                    <a:pt x="0" y="6"/>
                    <a:pt x="0" y="8"/>
                  </a:cubicBezTo>
                  <a:cubicBezTo>
                    <a:pt x="4" y="43"/>
                    <a:pt x="26" y="62"/>
                    <a:pt x="65" y="65"/>
                  </a:cubicBezTo>
                  <a:cubicBezTo>
                    <a:pt x="71" y="55"/>
                    <a:pt x="71" y="55"/>
                    <a:pt x="71" y="55"/>
                  </a:cubicBezTo>
                  <a:cubicBezTo>
                    <a:pt x="71" y="52"/>
                    <a:pt x="71" y="52"/>
                    <a:pt x="71" y="52"/>
                  </a:cubicBezTo>
                  <a:cubicBezTo>
                    <a:pt x="48" y="34"/>
                    <a:pt x="24" y="17"/>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4" name="Freeform 27"/>
            <p:cNvSpPr>
              <a:spLocks/>
            </p:cNvSpPr>
            <p:nvPr userDrawn="1"/>
          </p:nvSpPr>
          <p:spPr bwMode="auto">
            <a:xfrm>
              <a:off x="9626081"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5" name="Freeform 28"/>
            <p:cNvSpPr>
              <a:spLocks/>
            </p:cNvSpPr>
            <p:nvPr userDrawn="1"/>
          </p:nvSpPr>
          <p:spPr bwMode="auto">
            <a:xfrm>
              <a:off x="10732526"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6" name="Freeform 29"/>
            <p:cNvSpPr>
              <a:spLocks noEditPoints="1"/>
            </p:cNvSpPr>
            <p:nvPr userDrawn="1"/>
          </p:nvSpPr>
          <p:spPr bwMode="auto">
            <a:xfrm>
              <a:off x="10074902" y="5789226"/>
              <a:ext cx="598427"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7" name="Freeform 30"/>
            <p:cNvSpPr>
              <a:spLocks noEditPoints="1"/>
            </p:cNvSpPr>
            <p:nvPr userDrawn="1"/>
          </p:nvSpPr>
          <p:spPr bwMode="auto">
            <a:xfrm>
              <a:off x="11189957" y="5789226"/>
              <a:ext cx="597351"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8" name="Freeform 31"/>
            <p:cNvSpPr>
              <a:spLocks/>
            </p:cNvSpPr>
            <p:nvPr userDrawn="1"/>
          </p:nvSpPr>
          <p:spPr bwMode="auto">
            <a:xfrm>
              <a:off x="10103962" y="6424248"/>
              <a:ext cx="1848021" cy="433752"/>
            </a:xfrm>
            <a:custGeom>
              <a:avLst/>
              <a:gdLst>
                <a:gd name="T0" fmla="*/ 591 w 955"/>
                <a:gd name="T1" fmla="*/ 35 h 224"/>
                <a:gd name="T2" fmla="*/ 0 w 955"/>
                <a:gd name="T3" fmla="*/ 224 h 224"/>
                <a:gd name="T4" fmla="*/ 338 w 955"/>
                <a:gd name="T5" fmla="*/ 224 h 224"/>
                <a:gd name="T6" fmla="*/ 955 w 955"/>
                <a:gd name="T7" fmla="*/ 224 h 224"/>
                <a:gd name="T8" fmla="*/ 591 w 955"/>
                <a:gd name="T9" fmla="*/ 35 h 224"/>
              </a:gdLst>
              <a:ahLst/>
              <a:cxnLst>
                <a:cxn ang="0">
                  <a:pos x="T0" y="T1"/>
                </a:cxn>
                <a:cxn ang="0">
                  <a:pos x="T2" y="T3"/>
                </a:cxn>
                <a:cxn ang="0">
                  <a:pos x="T4" y="T5"/>
                </a:cxn>
                <a:cxn ang="0">
                  <a:pos x="T6" y="T7"/>
                </a:cxn>
                <a:cxn ang="0">
                  <a:pos x="T8" y="T9"/>
                </a:cxn>
              </a:cxnLst>
              <a:rect l="0" t="0" r="r" b="b"/>
              <a:pathLst>
                <a:path w="955" h="224">
                  <a:moveTo>
                    <a:pt x="591" y="35"/>
                  </a:moveTo>
                  <a:cubicBezTo>
                    <a:pt x="383" y="0"/>
                    <a:pt x="161" y="63"/>
                    <a:pt x="0" y="224"/>
                  </a:cubicBezTo>
                  <a:cubicBezTo>
                    <a:pt x="338" y="224"/>
                    <a:pt x="338" y="224"/>
                    <a:pt x="338" y="224"/>
                  </a:cubicBezTo>
                  <a:cubicBezTo>
                    <a:pt x="955" y="224"/>
                    <a:pt x="955" y="224"/>
                    <a:pt x="955" y="224"/>
                  </a:cubicBezTo>
                  <a:cubicBezTo>
                    <a:pt x="852" y="121"/>
                    <a:pt x="724" y="58"/>
                    <a:pt x="591" y="3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9" name="Freeform 32"/>
            <p:cNvSpPr>
              <a:spLocks/>
            </p:cNvSpPr>
            <p:nvPr userDrawn="1"/>
          </p:nvSpPr>
          <p:spPr bwMode="auto">
            <a:xfrm>
              <a:off x="12000417" y="5201562"/>
              <a:ext cx="191583" cy="1190397"/>
            </a:xfrm>
            <a:custGeom>
              <a:avLst/>
              <a:gdLst>
                <a:gd name="T0" fmla="*/ 63 w 99"/>
                <a:gd name="T1" fmla="*/ 41 h 615"/>
                <a:gd name="T2" fmla="*/ 0 w 99"/>
                <a:gd name="T3" fmla="*/ 318 h 615"/>
                <a:gd name="T4" fmla="*/ 60 w 99"/>
                <a:gd name="T5" fmla="*/ 572 h 615"/>
                <a:gd name="T6" fmla="*/ 99 w 99"/>
                <a:gd name="T7" fmla="*/ 615 h 615"/>
                <a:gd name="T8" fmla="*/ 99 w 99"/>
                <a:gd name="T9" fmla="*/ 0 h 615"/>
                <a:gd name="T10" fmla="*/ 63 w 99"/>
                <a:gd name="T11" fmla="*/ 41 h 615"/>
              </a:gdLst>
              <a:ahLst/>
              <a:cxnLst>
                <a:cxn ang="0">
                  <a:pos x="T0" y="T1"/>
                </a:cxn>
                <a:cxn ang="0">
                  <a:pos x="T2" y="T3"/>
                </a:cxn>
                <a:cxn ang="0">
                  <a:pos x="T4" y="T5"/>
                </a:cxn>
                <a:cxn ang="0">
                  <a:pos x="T6" y="T7"/>
                </a:cxn>
                <a:cxn ang="0">
                  <a:pos x="T8" y="T9"/>
                </a:cxn>
                <a:cxn ang="0">
                  <a:pos x="T10" y="T11"/>
                </a:cxn>
              </a:cxnLst>
              <a:rect l="0" t="0" r="r" b="b"/>
              <a:pathLst>
                <a:path w="99" h="615">
                  <a:moveTo>
                    <a:pt x="63" y="41"/>
                  </a:moveTo>
                  <a:cubicBezTo>
                    <a:pt x="21" y="104"/>
                    <a:pt x="0" y="196"/>
                    <a:pt x="0" y="318"/>
                  </a:cubicBezTo>
                  <a:cubicBezTo>
                    <a:pt x="0" y="428"/>
                    <a:pt x="20" y="513"/>
                    <a:pt x="60" y="572"/>
                  </a:cubicBezTo>
                  <a:cubicBezTo>
                    <a:pt x="72" y="588"/>
                    <a:pt x="85" y="603"/>
                    <a:pt x="99" y="615"/>
                  </a:cubicBezTo>
                  <a:cubicBezTo>
                    <a:pt x="99" y="0"/>
                    <a:pt x="99" y="0"/>
                    <a:pt x="99" y="0"/>
                  </a:cubicBezTo>
                  <a:cubicBezTo>
                    <a:pt x="86" y="12"/>
                    <a:pt x="74" y="25"/>
                    <a:pt x="63" y="4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40" name="Freeform 33"/>
            <p:cNvSpPr>
              <a:spLocks/>
            </p:cNvSpPr>
            <p:nvPr userDrawn="1"/>
          </p:nvSpPr>
          <p:spPr bwMode="auto">
            <a:xfrm>
              <a:off x="11927228" y="5791378"/>
              <a:ext cx="264772" cy="897641"/>
            </a:xfrm>
            <a:custGeom>
              <a:avLst/>
              <a:gdLst>
                <a:gd name="T0" fmla="*/ 75 w 137"/>
                <a:gd name="T1" fmla="*/ 238 h 464"/>
                <a:gd name="T2" fmla="*/ 137 w 137"/>
                <a:gd name="T3" fmla="*/ 60 h 464"/>
                <a:gd name="T4" fmla="*/ 137 w 137"/>
                <a:gd name="T5" fmla="*/ 0 h 464"/>
                <a:gd name="T6" fmla="*/ 41 w 137"/>
                <a:gd name="T7" fmla="*/ 60 h 464"/>
                <a:gd name="T8" fmla="*/ 0 w 137"/>
                <a:gd name="T9" fmla="*/ 241 h 464"/>
                <a:gd name="T10" fmla="*/ 40 w 137"/>
                <a:gd name="T11" fmla="*/ 407 h 464"/>
                <a:gd name="T12" fmla="*/ 137 w 137"/>
                <a:gd name="T13" fmla="*/ 464 h 464"/>
                <a:gd name="T14" fmla="*/ 137 w 137"/>
                <a:gd name="T15" fmla="*/ 404 h 464"/>
                <a:gd name="T16" fmla="*/ 75 w 137"/>
                <a:gd name="T17" fmla="*/ 23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464">
                  <a:moveTo>
                    <a:pt x="75" y="238"/>
                  </a:moveTo>
                  <a:cubicBezTo>
                    <a:pt x="75" y="133"/>
                    <a:pt x="95" y="74"/>
                    <a:pt x="137" y="60"/>
                  </a:cubicBezTo>
                  <a:cubicBezTo>
                    <a:pt x="137" y="0"/>
                    <a:pt x="137" y="0"/>
                    <a:pt x="137" y="0"/>
                  </a:cubicBezTo>
                  <a:cubicBezTo>
                    <a:pt x="96" y="6"/>
                    <a:pt x="65" y="26"/>
                    <a:pt x="41" y="60"/>
                  </a:cubicBezTo>
                  <a:cubicBezTo>
                    <a:pt x="14" y="101"/>
                    <a:pt x="0" y="161"/>
                    <a:pt x="0" y="241"/>
                  </a:cubicBezTo>
                  <a:cubicBezTo>
                    <a:pt x="0" y="313"/>
                    <a:pt x="13" y="369"/>
                    <a:pt x="40" y="407"/>
                  </a:cubicBezTo>
                  <a:cubicBezTo>
                    <a:pt x="63" y="442"/>
                    <a:pt x="96" y="461"/>
                    <a:pt x="137" y="464"/>
                  </a:cubicBezTo>
                  <a:cubicBezTo>
                    <a:pt x="137" y="404"/>
                    <a:pt x="137" y="404"/>
                    <a:pt x="137" y="404"/>
                  </a:cubicBezTo>
                  <a:cubicBezTo>
                    <a:pt x="95" y="392"/>
                    <a:pt x="75" y="337"/>
                    <a:pt x="75" y="23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nvGrpSpPr>
            <p:cNvPr id="71" name="Group 70"/>
            <p:cNvGrpSpPr/>
            <p:nvPr userDrawn="1"/>
          </p:nvGrpSpPr>
          <p:grpSpPr>
            <a:xfrm>
              <a:off x="11096318" y="4396485"/>
              <a:ext cx="720050" cy="491872"/>
              <a:chOff x="10236200" y="3170238"/>
              <a:chExt cx="1062038" cy="725487"/>
            </a:xfrm>
            <a:solidFill>
              <a:schemeClr val="bg1">
                <a:lumMod val="75000"/>
              </a:schemeClr>
            </a:solidFill>
          </p:grpSpPr>
          <p:sp>
            <p:nvSpPr>
              <p:cNvPr id="72" name="Freeform 7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3" name="Freeform 7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4" name="Freeform 7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5" name="Freeform 7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6" name="Freeform 7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7" name="Freeform 7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8" name="Freeform 7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9" name="Freeform 7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0" name="Freeform 7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1" name="Freeform 8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2" name="Freeform 8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3" name="Freeform 8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4" name="Freeform 8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5" name="Freeform 8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6" name="Freeform 8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7" name="Freeform 8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8" name="Freeform 8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9" name="Freeform 8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0" name="Freeform 8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1" name="Freeform 9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2" name="Freeform 9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3" name="Freeform 9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4" name="Freeform 9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5" name="Freeform 9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6" name="Freeform 9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7" name="Freeform 9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8" name="Freeform 9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9" name="Freeform 9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00" name="Freeform 9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gr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6392" y="201591"/>
            <a:ext cx="2535995" cy="932718"/>
          </a:xfrm>
          <a:prstGeom prst="rect">
            <a:avLst/>
          </a:prstGeom>
        </p:spPr>
      </p:pic>
    </p:spTree>
    <p:extLst>
      <p:ext uri="{BB962C8B-B14F-4D97-AF65-F5344CB8AC3E}">
        <p14:creationId xmlns:p14="http://schemas.microsoft.com/office/powerpoint/2010/main" val="18897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0999" y="99948"/>
            <a:ext cx="10726460" cy="1351952"/>
          </a:xfrm>
        </p:spPr>
        <p:txBody>
          <a:bodyPr>
            <a:normAutofit/>
          </a:bodyPr>
          <a:lstStyle>
            <a:lvl1pPr>
              <a:defRPr sz="5303">
                <a:solidFill>
                  <a:schemeClr val="bg2">
                    <a:lumMod val="25000"/>
                  </a:schemeClr>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81D9E3D-092D-4520-BA4B-4854E875A2BA}" type="datetimeFigureOut">
              <a:rPr lang="en-US" smtClean="0">
                <a:solidFill>
                  <a:prstClr val="black">
                    <a:tint val="75000"/>
                  </a:prstClr>
                </a:solidFill>
              </a:rPr>
              <a:pPr/>
              <a:t>2/1/2016</a:t>
            </a:fld>
            <a:endParaRPr lang="en-US" dirty="0">
              <a:solidFill>
                <a:prstClr val="black">
                  <a:tint val="75000"/>
                </a:prstClr>
              </a:solidFill>
            </a:endParaRPr>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780EA0DF-B2D2-4052-BADD-FCC03C52398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2530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Walkin">
    <p:bg bwMode="lt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319" y="-318"/>
            <a:ext cx="12435840" cy="6995160"/>
          </a:xfrm>
          <a:prstGeom prst="rect">
            <a:avLst/>
          </a:prstGeom>
        </p:spPr>
      </p:pic>
      <p:sp>
        <p:nvSpPr>
          <p:cNvPr id="4" name="Rectangle 3"/>
          <p:cNvSpPr/>
          <p:nvPr/>
        </p:nvSpPr>
        <p:spPr bwMode="gray">
          <a:xfrm>
            <a:off x="0" y="-317"/>
            <a:ext cx="5761038" cy="699484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289152" y="5837446"/>
            <a:ext cx="4557486" cy="860319"/>
          </a:xfrm>
          <a:prstGeom prst="rect">
            <a:avLst/>
          </a:prstGeom>
          <a:noFill/>
        </p:spPr>
        <p:txBody>
          <a:bodyPr wrap="square" lIns="182828" tIns="146262" rIns="182828" bIns="146262" rtlCol="0" anchor="b">
            <a:spAutoFit/>
          </a:bodyPr>
          <a:lstStyle/>
          <a:p>
            <a:pPr defTabSz="932384">
              <a:lnSpc>
                <a:spcPct val="90000"/>
              </a:lnSpc>
              <a:spcAft>
                <a:spcPts val="600"/>
              </a:spcAft>
            </a:pPr>
            <a:r>
              <a:rPr lang="en-US" sz="3998" dirty="0">
                <a:gradFill>
                  <a:gsLst>
                    <a:gs pos="0">
                      <a:srgbClr val="FFFFFF"/>
                    </a:gs>
                    <a:gs pos="100000">
                      <a:srgbClr val="FFFFFF"/>
                    </a:gs>
                  </a:gsLst>
                  <a:lin ang="5400000" scaled="0"/>
                </a:gradFill>
                <a:latin typeface="Segoe UI Light"/>
              </a:rPr>
              <a:t>28–30 July 2014</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036" y="492122"/>
            <a:ext cx="3282863" cy="4831517"/>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426344" y="482600"/>
            <a:ext cx="1552931" cy="332660"/>
          </a:xfrm>
          <a:prstGeom prst="rect">
            <a:avLst/>
          </a:prstGeom>
        </p:spPr>
      </p:pic>
    </p:spTree>
    <p:extLst>
      <p:ext uri="{BB962C8B-B14F-4D97-AF65-F5344CB8AC3E}">
        <p14:creationId xmlns:p14="http://schemas.microsoft.com/office/powerpoint/2010/main" val="21632707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Photo">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319" y="-318"/>
            <a:ext cx="12435840" cy="6995160"/>
          </a:xfrm>
          <a:prstGeom prst="rect">
            <a:avLst/>
          </a:prstGeom>
        </p:spPr>
      </p:pic>
      <p:sp>
        <p:nvSpPr>
          <p:cNvPr id="18" name="Rectangle 17"/>
          <p:cNvSpPr/>
          <p:nvPr/>
        </p:nvSpPr>
        <p:spPr bwMode="gray">
          <a:xfrm>
            <a:off x="0" y="-317"/>
            <a:ext cx="5761038" cy="699484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3"/>
            <a:ext cx="5487988" cy="2743200"/>
          </a:xfrm>
          <a:noFill/>
        </p:spPr>
        <p:txBody>
          <a:bodyPr vert="horz" wrap="square" lIns="146304" tIns="91440" rIns="146304" bIns="91440" rtlCol="0" anchor="t" anchorCtr="0">
            <a:noAutofit/>
          </a:bodyPr>
          <a:lstStyle>
            <a:lvl1pPr>
              <a:defRPr lang="en-US" sz="5398"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868863"/>
            <a:ext cx="5486400" cy="1818058"/>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273052" y="296863"/>
            <a:ext cx="3657600" cy="640080"/>
          </a:xfrm>
        </p:spPr>
        <p:txBody>
          <a:bodyPr lIns="182880" tIns="146304" rIns="182880" bIns="146304"/>
          <a:lstStyle>
            <a:lvl1pPr marL="0" indent="0">
              <a:buNone/>
              <a:defRPr sz="2400" baseline="0">
                <a:latin typeface="+mn-lt"/>
              </a:defRPr>
            </a:lvl1pPr>
            <a:lvl2pPr marL="342768" indent="0">
              <a:buNone/>
              <a:defRPr sz="2000">
                <a:latin typeface="+mn-lt"/>
              </a:defRPr>
            </a:lvl2pPr>
            <a:lvl3pPr marL="571281" indent="0">
              <a:buNone/>
              <a:defRPr sz="2000">
                <a:latin typeface="+mn-lt"/>
              </a:defRPr>
            </a:lvl3pPr>
            <a:lvl4pPr marL="799792" indent="0">
              <a:buNone/>
              <a:defRPr sz="2000">
                <a:latin typeface="+mn-lt"/>
              </a:defRPr>
            </a:lvl4pPr>
            <a:lvl5pPr marL="1028305" indent="0">
              <a:buNone/>
              <a:defRPr sz="2000">
                <a:latin typeface="+mn-lt"/>
              </a:defRPr>
            </a:lvl5pPr>
          </a:lstStyle>
          <a:p>
            <a:pPr lvl="0"/>
            <a:r>
              <a:rPr lang="en-US" dirty="0"/>
              <a:t>Session code her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0426344" y="482600"/>
            <a:ext cx="1552931" cy="332660"/>
          </a:xfrm>
          <a:prstGeom prst="rect">
            <a:avLst/>
          </a:prstGeom>
        </p:spPr>
      </p:pic>
    </p:spTree>
    <p:extLst>
      <p:ext uri="{BB962C8B-B14F-4D97-AF65-F5344CB8AC3E}">
        <p14:creationId xmlns:p14="http://schemas.microsoft.com/office/powerpoint/2010/main" val="889472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19" y="-318"/>
            <a:ext cx="12435840" cy="6995160"/>
          </a:xfrm>
          <a:prstGeom prst="rect">
            <a:avLst/>
          </a:prstGeom>
        </p:spPr>
      </p:pic>
      <p:sp>
        <p:nvSpPr>
          <p:cNvPr id="7" name="Rectangle 6"/>
          <p:cNvSpPr/>
          <p:nvPr/>
        </p:nvSpPr>
        <p:spPr bwMode="gray">
          <a:xfrm>
            <a:off x="6675437" y="-317"/>
            <a:ext cx="5761038" cy="699484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675438" y="1209975"/>
            <a:ext cx="5486399" cy="3658890"/>
          </a:xfrm>
          <a:noFill/>
        </p:spPr>
        <p:txBody>
          <a:bodyPr tIns="91440" bIns="91440" anchor="t" anchorCtr="0"/>
          <a:lstStyle>
            <a:lvl1pPr>
              <a:defRPr sz="6598" spc="-100" baseline="0">
                <a:gradFill>
                  <a:gsLst>
                    <a:gs pos="100000">
                      <a:srgbClr val="FFFFFF"/>
                    </a:gs>
                    <a:gs pos="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6675118" y="4868865"/>
            <a:ext cx="5486719" cy="1829593"/>
          </a:xfrm>
          <a:noFill/>
        </p:spPr>
        <p:txBody>
          <a:bodyPr lIns="182880" tIns="146304" rIns="182880" bIns="146304">
            <a:noAutofit/>
          </a:bodyPr>
          <a:lstStyle>
            <a:lvl1pPr marL="0" indent="0">
              <a:spcBef>
                <a:spcPts val="0"/>
              </a:spcBef>
              <a:buNone/>
              <a:defRPr sz="3198" spc="0" baseline="0">
                <a:gradFill>
                  <a:gsLst>
                    <a:gs pos="100000">
                      <a:srgbClr val="FFFFFF"/>
                    </a:gs>
                    <a:gs pos="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24299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r="-5722"/>
          <a:stretch/>
        </p:blipFill>
        <p:spPr>
          <a:xfrm>
            <a:off x="319" y="-318"/>
            <a:ext cx="12435840" cy="6995160"/>
          </a:xfrm>
          <a:prstGeom prst="rect">
            <a:avLst/>
          </a:prstGeom>
        </p:spPr>
      </p:pic>
      <p:sp>
        <p:nvSpPr>
          <p:cNvPr id="6" name="Rectangle 5"/>
          <p:cNvSpPr/>
          <p:nvPr/>
        </p:nvSpPr>
        <p:spPr bwMode="gray">
          <a:xfrm>
            <a:off x="6675437" y="-317"/>
            <a:ext cx="5761038" cy="6994843"/>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675438" y="1209973"/>
            <a:ext cx="5486399" cy="2751698"/>
          </a:xfrm>
          <a:noFill/>
        </p:spPr>
        <p:txBody>
          <a:bodyPr tIns="91440" bIns="91440" anchor="t" anchorCtr="0"/>
          <a:lstStyle>
            <a:lvl1pPr>
              <a:defRPr sz="6598" spc="-100" baseline="0">
                <a:gradFill>
                  <a:gsLst>
                    <a:gs pos="100000">
                      <a:srgbClr val="FFFFFF"/>
                    </a:gs>
                    <a:gs pos="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42995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8721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92341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6890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99895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162366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26139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060628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314132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5231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65112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422461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480704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86227281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08189959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848778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93246770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429326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150631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773813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33198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201058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925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525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50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0980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49" tIns="38829" rIns="77649" bIns="38829" numCol="1" rtlCol="0" anchor="ctr" anchorCtr="0" compatLnSpc="1">
            <a:prstTxWarp prst="textNoShape">
              <a:avLst/>
            </a:prstTxWarp>
          </a:bodyPr>
          <a:lstStyle/>
          <a:p>
            <a:pPr algn="ctr" defTabSz="776162"/>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469406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142638"/>
            <a:ext cx="11228387" cy="1720381"/>
          </a:xfrm>
        </p:spPr>
        <p:txBody>
          <a:bodyPr/>
          <a:lstStyle>
            <a:lvl1pPr>
              <a:defRPr sz="5998" baseline="0"/>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8705850" cy="794064"/>
          </a:xfrm>
        </p:spPr>
        <p:txBody>
          <a:bodyPr/>
          <a:lstStyle>
            <a:lvl1pPr marL="0" indent="0" algn="l">
              <a:buNone/>
              <a:defRPr sz="2200">
                <a:solidFill>
                  <a:schemeClr val="tx2"/>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99115671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pSp>
        <p:nvGrpSpPr>
          <p:cNvPr id="3" name="Group 2"/>
          <p:cNvGrpSpPr/>
          <p:nvPr userDrawn="1"/>
        </p:nvGrpSpPr>
        <p:grpSpPr>
          <a:xfrm>
            <a:off x="29937" y="3604123"/>
            <a:ext cx="12306895" cy="2655329"/>
            <a:chOff x="0" y="3533775"/>
            <a:chExt cx="12061825" cy="2603500"/>
          </a:xfrm>
        </p:grpSpPr>
        <p:grpSp>
          <p:nvGrpSpPr>
            <p:cNvPr id="4" name="Group 3"/>
            <p:cNvGrpSpPr/>
            <p:nvPr/>
          </p:nvGrpSpPr>
          <p:grpSpPr>
            <a:xfrm>
              <a:off x="0" y="3533775"/>
              <a:ext cx="12061825" cy="250825"/>
              <a:chOff x="0" y="3533775"/>
              <a:chExt cx="12061825" cy="250825"/>
            </a:xfrm>
          </p:grpSpPr>
          <p:sp>
            <p:nvSpPr>
              <p:cNvPr id="720"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1"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2"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3"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4"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5"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6"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7"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8"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9"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0"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1"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2"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3"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4"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5"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6"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7"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8"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9"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0"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1"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2"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3"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4"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5"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6"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7"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8"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9"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0"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1"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2"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3"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4"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5"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6"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7"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8"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9"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0"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1"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2"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3"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4"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5"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6"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7"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8"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9"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0"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1"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2"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3"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4"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5"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6"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7"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8"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9"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0"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1"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2"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3"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4"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5"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6"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7"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8"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9"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0"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1"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2"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3"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4"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5"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796"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7"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8"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9"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0"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1"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2"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3"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4"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5"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6"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7"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8"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9"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0"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1"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2"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3"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4" name="Freeform 2086"/>
              <p:cNvSpPr>
                <a:spLocks noEditPoints="1"/>
              </p:cNvSpPr>
              <p:nvPr/>
            </p:nvSpPr>
            <p:spPr bwMode="auto">
              <a:xfrm>
                <a:off x="10873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5"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6"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7"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8"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9"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0"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1"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2"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3"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4"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5"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6"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7"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8"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9"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0"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1"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2"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3"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4"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5"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6"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7"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8"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9"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0"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1"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2"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3"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4"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5"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6"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7"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8"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9"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0"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1"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2"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3"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4"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5"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6"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7"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8"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9"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60"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5" name="Group 4"/>
            <p:cNvGrpSpPr/>
            <p:nvPr/>
          </p:nvGrpSpPr>
          <p:grpSpPr>
            <a:xfrm>
              <a:off x="0" y="3863975"/>
              <a:ext cx="12061825" cy="250825"/>
              <a:chOff x="0" y="3533775"/>
              <a:chExt cx="12061825" cy="250825"/>
            </a:xfrm>
          </p:grpSpPr>
          <p:sp>
            <p:nvSpPr>
              <p:cNvPr id="579"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0"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1"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2"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3"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4"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5"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6"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7"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8"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9"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0"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1"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2"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3"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4"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5"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6"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7"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8"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9"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0"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1"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2"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3"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4"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5"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6"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7"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8"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9"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0"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1"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2"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3"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4"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5"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6"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7"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8"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9"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0"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1"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2"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3"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4"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5"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6"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7"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8"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9"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0"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1"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2"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3"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4"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5"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6"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7"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8"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9"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0"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1"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2"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3"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4"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5"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6"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7"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8"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9"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0"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1"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2"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3"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4"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655"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6"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7"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8"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9"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0"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1"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2"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3"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4"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5"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6"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7"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8"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9"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0"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1"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2"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3" name="Freeform 2086"/>
              <p:cNvSpPr>
                <a:spLocks noEditPoints="1"/>
              </p:cNvSpPr>
              <p:nvPr/>
            </p:nvSpPr>
            <p:spPr bwMode="auto">
              <a:xfrm>
                <a:off x="10873170" y="35369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4"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5"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6"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7"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8"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9"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0"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1"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2"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3"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4"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5"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6"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7"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8"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9"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0"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1"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2"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3"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4"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5"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6"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7"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8"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9"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0"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1"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2"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3"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4"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5"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6"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7"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8"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9"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0"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1"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2"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3"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4"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5"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6"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7"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8"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9"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6" name="Group 5"/>
            <p:cNvGrpSpPr/>
            <p:nvPr/>
          </p:nvGrpSpPr>
          <p:grpSpPr>
            <a:xfrm>
              <a:off x="0" y="4206875"/>
              <a:ext cx="12061825" cy="250825"/>
              <a:chOff x="0" y="3533775"/>
              <a:chExt cx="12061825" cy="250825"/>
            </a:xfrm>
          </p:grpSpPr>
          <p:sp>
            <p:nvSpPr>
              <p:cNvPr id="438"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9"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0"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1"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2"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3"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4"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5"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6"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7"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8"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9"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0"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1"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2"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3"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4"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5"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6"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7"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8"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9"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0"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1"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2"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3"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4"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5"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6"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7"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8"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9"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0"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1"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2"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3"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4"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5"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6"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7"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8"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9"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0"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1"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2"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3"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4"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5"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6"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7"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8"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9"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0"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1"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2"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3"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4"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5"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6"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7"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8"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9"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0"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1"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2"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3"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4"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5"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6"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7"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8"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9"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0"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1"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2"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3"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514"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5"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6"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7"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8"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9"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0"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1"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2"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3"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4"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5"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6"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7"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8"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9"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0"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1"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2" name="Freeform 2086"/>
              <p:cNvSpPr>
                <a:spLocks noEditPoints="1"/>
              </p:cNvSpPr>
              <p:nvPr/>
            </p:nvSpPr>
            <p:spPr bwMode="auto">
              <a:xfrm>
                <a:off x="10873170" y="35369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3"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4"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5"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6"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7"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8"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9"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0"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1"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2"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3"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4"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5"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6"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7"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8"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9"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0"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1"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2"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3"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4"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5"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6"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7"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8"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9"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0"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1"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2"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3"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4"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5"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6"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7"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8"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9"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0"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1"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2"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3"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4"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5"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6"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7"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8"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7" name="Freeform 2062"/>
            <p:cNvSpPr>
              <a:spLocks/>
            </p:cNvSpPr>
            <p:nvPr/>
          </p:nvSpPr>
          <p:spPr bwMode="auto">
            <a:xfrm>
              <a:off x="12128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 name="Freeform 2063"/>
            <p:cNvSpPr>
              <a:spLocks/>
            </p:cNvSpPr>
            <p:nvPr/>
          </p:nvSpPr>
          <p:spPr bwMode="auto">
            <a:xfrm>
              <a:off x="135890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 name="Freeform 2064"/>
            <p:cNvSpPr>
              <a:spLocks/>
            </p:cNvSpPr>
            <p:nvPr/>
          </p:nvSpPr>
          <p:spPr bwMode="auto">
            <a:xfrm>
              <a:off x="150812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 name="Freeform 2068"/>
            <p:cNvSpPr>
              <a:spLocks/>
            </p:cNvSpPr>
            <p:nvPr/>
          </p:nvSpPr>
          <p:spPr bwMode="auto">
            <a:xfrm>
              <a:off x="107315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 name="Freeform 2069"/>
            <p:cNvSpPr>
              <a:spLocks/>
            </p:cNvSpPr>
            <p:nvPr/>
          </p:nvSpPr>
          <p:spPr bwMode="auto">
            <a:xfrm>
              <a:off x="2165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 name="Freeform 2070"/>
            <p:cNvSpPr>
              <a:spLocks/>
            </p:cNvSpPr>
            <p:nvPr/>
          </p:nvSpPr>
          <p:spPr bwMode="auto">
            <a:xfrm>
              <a:off x="2165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 name="Freeform 2071"/>
            <p:cNvSpPr>
              <a:spLocks/>
            </p:cNvSpPr>
            <p:nvPr/>
          </p:nvSpPr>
          <p:spPr bwMode="auto">
            <a:xfrm>
              <a:off x="2260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 name="Freeform 2072"/>
            <p:cNvSpPr>
              <a:spLocks/>
            </p:cNvSpPr>
            <p:nvPr/>
          </p:nvSpPr>
          <p:spPr bwMode="auto">
            <a:xfrm>
              <a:off x="2260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 name="Freeform 2073"/>
            <p:cNvSpPr>
              <a:spLocks/>
            </p:cNvSpPr>
            <p:nvPr/>
          </p:nvSpPr>
          <p:spPr bwMode="auto">
            <a:xfrm>
              <a:off x="24003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 name="Freeform 2076"/>
            <p:cNvSpPr>
              <a:spLocks/>
            </p:cNvSpPr>
            <p:nvPr/>
          </p:nvSpPr>
          <p:spPr bwMode="auto">
            <a:xfrm>
              <a:off x="30734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 name="Freeform 2077"/>
            <p:cNvSpPr>
              <a:spLocks/>
            </p:cNvSpPr>
            <p:nvPr/>
          </p:nvSpPr>
          <p:spPr bwMode="auto">
            <a:xfrm>
              <a:off x="321945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 name="Freeform 2078"/>
            <p:cNvSpPr>
              <a:spLocks/>
            </p:cNvSpPr>
            <p:nvPr/>
          </p:nvSpPr>
          <p:spPr bwMode="auto">
            <a:xfrm>
              <a:off x="336867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 name="Freeform 2079"/>
            <p:cNvSpPr>
              <a:spLocks noEditPoints="1"/>
            </p:cNvSpPr>
            <p:nvPr/>
          </p:nvSpPr>
          <p:spPr bwMode="auto">
            <a:xfrm>
              <a:off x="3514725"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 name="Freeform 2080"/>
            <p:cNvSpPr>
              <a:spLocks noEditPoints="1"/>
            </p:cNvSpPr>
            <p:nvPr/>
          </p:nvSpPr>
          <p:spPr bwMode="auto">
            <a:xfrm>
              <a:off x="3733800"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 name="Freeform 2084"/>
            <p:cNvSpPr>
              <a:spLocks/>
            </p:cNvSpPr>
            <p:nvPr/>
          </p:nvSpPr>
          <p:spPr bwMode="auto">
            <a:xfrm>
              <a:off x="2933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 name="Freeform 2085"/>
            <p:cNvSpPr>
              <a:spLocks noEditPoints="1"/>
            </p:cNvSpPr>
            <p:nvPr/>
          </p:nvSpPr>
          <p:spPr bwMode="auto">
            <a:xfrm>
              <a:off x="4412045" y="45370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 name="Freeform 2086"/>
            <p:cNvSpPr>
              <a:spLocks noEditPoints="1"/>
            </p:cNvSpPr>
            <p:nvPr/>
          </p:nvSpPr>
          <p:spPr bwMode="auto">
            <a:xfrm>
              <a:off x="4777170" y="45370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 name="Freeform 2087"/>
            <p:cNvSpPr>
              <a:spLocks/>
            </p:cNvSpPr>
            <p:nvPr/>
          </p:nvSpPr>
          <p:spPr bwMode="auto">
            <a:xfrm>
              <a:off x="46164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 name="Freeform 2088"/>
            <p:cNvSpPr>
              <a:spLocks noEditPoints="1"/>
            </p:cNvSpPr>
            <p:nvPr/>
          </p:nvSpPr>
          <p:spPr bwMode="auto">
            <a:xfrm>
              <a:off x="4981575"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 name="Freeform 2089"/>
            <p:cNvSpPr>
              <a:spLocks/>
            </p:cNvSpPr>
            <p:nvPr/>
          </p:nvSpPr>
          <p:spPr bwMode="auto">
            <a:xfrm>
              <a:off x="5203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 name="Freeform 2091"/>
            <p:cNvSpPr>
              <a:spLocks/>
            </p:cNvSpPr>
            <p:nvPr/>
          </p:nvSpPr>
          <p:spPr bwMode="auto">
            <a:xfrm>
              <a:off x="5299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 name="Freeform 2092"/>
            <p:cNvSpPr>
              <a:spLocks/>
            </p:cNvSpPr>
            <p:nvPr/>
          </p:nvSpPr>
          <p:spPr bwMode="auto">
            <a:xfrm>
              <a:off x="5299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 name="Freeform 2093"/>
            <p:cNvSpPr>
              <a:spLocks noEditPoints="1"/>
            </p:cNvSpPr>
            <p:nvPr/>
          </p:nvSpPr>
          <p:spPr bwMode="auto">
            <a:xfrm>
              <a:off x="5673725" y="45402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 name="Freeform 2094"/>
            <p:cNvSpPr>
              <a:spLocks/>
            </p:cNvSpPr>
            <p:nvPr/>
          </p:nvSpPr>
          <p:spPr bwMode="auto">
            <a:xfrm>
              <a:off x="588327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 name="Freeform 2096"/>
            <p:cNvSpPr>
              <a:spLocks/>
            </p:cNvSpPr>
            <p:nvPr/>
          </p:nvSpPr>
          <p:spPr bwMode="auto">
            <a:xfrm>
              <a:off x="5508625" y="46450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 name="Freeform 2097"/>
            <p:cNvSpPr>
              <a:spLocks/>
            </p:cNvSpPr>
            <p:nvPr/>
          </p:nvSpPr>
          <p:spPr bwMode="auto">
            <a:xfrm>
              <a:off x="5438775" y="45529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 name="Freeform 2098"/>
            <p:cNvSpPr>
              <a:spLocks noEditPoints="1"/>
            </p:cNvSpPr>
            <p:nvPr/>
          </p:nvSpPr>
          <p:spPr bwMode="auto">
            <a:xfrm>
              <a:off x="1814895" y="45402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 name="Freeform 2099"/>
            <p:cNvSpPr>
              <a:spLocks/>
            </p:cNvSpPr>
            <p:nvPr/>
          </p:nvSpPr>
          <p:spPr bwMode="auto">
            <a:xfrm>
              <a:off x="1965325" y="47053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 name="Freeform 2100"/>
            <p:cNvSpPr>
              <a:spLocks/>
            </p:cNvSpPr>
            <p:nvPr/>
          </p:nvSpPr>
          <p:spPr bwMode="auto">
            <a:xfrm>
              <a:off x="1809750" y="47021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 name="Freeform 2101"/>
            <p:cNvSpPr>
              <a:spLocks/>
            </p:cNvSpPr>
            <p:nvPr/>
          </p:nvSpPr>
          <p:spPr bwMode="auto">
            <a:xfrm>
              <a:off x="1803400" y="46228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 name="Freeform 2102"/>
            <p:cNvSpPr>
              <a:spLocks/>
            </p:cNvSpPr>
            <p:nvPr/>
          </p:nvSpPr>
          <p:spPr bwMode="auto">
            <a:xfrm>
              <a:off x="1825625" y="45497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 name="Freeform 2103"/>
            <p:cNvSpPr>
              <a:spLocks/>
            </p:cNvSpPr>
            <p:nvPr/>
          </p:nvSpPr>
          <p:spPr bwMode="auto">
            <a:xfrm>
              <a:off x="1800225" y="45434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 name="Freeform 2104"/>
            <p:cNvSpPr>
              <a:spLocks/>
            </p:cNvSpPr>
            <p:nvPr/>
          </p:nvSpPr>
          <p:spPr bwMode="auto">
            <a:xfrm>
              <a:off x="1809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 name="Freeform 2105"/>
            <p:cNvSpPr>
              <a:spLocks/>
            </p:cNvSpPr>
            <p:nvPr/>
          </p:nvSpPr>
          <p:spPr bwMode="auto">
            <a:xfrm>
              <a:off x="1809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 name="Freeform 2106"/>
            <p:cNvSpPr>
              <a:spLocks/>
            </p:cNvSpPr>
            <p:nvPr/>
          </p:nvSpPr>
          <p:spPr bwMode="auto">
            <a:xfrm>
              <a:off x="1809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 name="Freeform 2107"/>
            <p:cNvSpPr>
              <a:spLocks/>
            </p:cNvSpPr>
            <p:nvPr/>
          </p:nvSpPr>
          <p:spPr bwMode="auto">
            <a:xfrm>
              <a:off x="1809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 name="Freeform 2108"/>
            <p:cNvSpPr>
              <a:spLocks/>
            </p:cNvSpPr>
            <p:nvPr/>
          </p:nvSpPr>
          <p:spPr bwMode="auto">
            <a:xfrm>
              <a:off x="1965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 name="Freeform 2109"/>
            <p:cNvSpPr>
              <a:spLocks/>
            </p:cNvSpPr>
            <p:nvPr/>
          </p:nvSpPr>
          <p:spPr bwMode="auto">
            <a:xfrm>
              <a:off x="1965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 name="Freeform 2110"/>
            <p:cNvSpPr>
              <a:spLocks/>
            </p:cNvSpPr>
            <p:nvPr/>
          </p:nvSpPr>
          <p:spPr bwMode="auto">
            <a:xfrm>
              <a:off x="1965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 name="Freeform 2111"/>
            <p:cNvSpPr>
              <a:spLocks/>
            </p:cNvSpPr>
            <p:nvPr/>
          </p:nvSpPr>
          <p:spPr bwMode="auto">
            <a:xfrm>
              <a:off x="1965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 name="Freeform 2112"/>
            <p:cNvSpPr>
              <a:spLocks/>
            </p:cNvSpPr>
            <p:nvPr/>
          </p:nvSpPr>
          <p:spPr bwMode="auto">
            <a:xfrm>
              <a:off x="1803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 name="Freeform 2113"/>
            <p:cNvSpPr>
              <a:spLocks/>
            </p:cNvSpPr>
            <p:nvPr/>
          </p:nvSpPr>
          <p:spPr bwMode="auto">
            <a:xfrm>
              <a:off x="1803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 name="Freeform 2114"/>
            <p:cNvSpPr>
              <a:spLocks noEditPoints="1"/>
            </p:cNvSpPr>
            <p:nvPr/>
          </p:nvSpPr>
          <p:spPr bwMode="auto">
            <a:xfrm>
              <a:off x="1803400" y="46228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 name="Freeform 2115"/>
            <p:cNvSpPr>
              <a:spLocks/>
            </p:cNvSpPr>
            <p:nvPr/>
          </p:nvSpPr>
          <p:spPr bwMode="auto">
            <a:xfrm>
              <a:off x="1819275" y="46450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 name="Freeform 2116"/>
            <p:cNvSpPr>
              <a:spLocks/>
            </p:cNvSpPr>
            <p:nvPr/>
          </p:nvSpPr>
          <p:spPr bwMode="auto">
            <a:xfrm>
              <a:off x="1803400" y="46228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 name="Freeform 2117"/>
            <p:cNvSpPr>
              <a:spLocks noEditPoints="1"/>
            </p:cNvSpPr>
            <p:nvPr/>
          </p:nvSpPr>
          <p:spPr bwMode="auto">
            <a:xfrm>
              <a:off x="1987550" y="46037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 name="Freeform 2118"/>
            <p:cNvSpPr>
              <a:spLocks/>
            </p:cNvSpPr>
            <p:nvPr/>
          </p:nvSpPr>
          <p:spPr bwMode="auto">
            <a:xfrm>
              <a:off x="1993900" y="46132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 name="Freeform 2119"/>
            <p:cNvSpPr>
              <a:spLocks/>
            </p:cNvSpPr>
            <p:nvPr/>
          </p:nvSpPr>
          <p:spPr bwMode="auto">
            <a:xfrm>
              <a:off x="1987550" y="46037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 name="Freeform 2120"/>
            <p:cNvSpPr>
              <a:spLocks/>
            </p:cNvSpPr>
            <p:nvPr/>
          </p:nvSpPr>
          <p:spPr bwMode="auto">
            <a:xfrm>
              <a:off x="1914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 name="Freeform 2121"/>
            <p:cNvSpPr>
              <a:spLocks/>
            </p:cNvSpPr>
            <p:nvPr/>
          </p:nvSpPr>
          <p:spPr bwMode="auto">
            <a:xfrm>
              <a:off x="1914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 name="Freeform 2122"/>
            <p:cNvSpPr>
              <a:spLocks/>
            </p:cNvSpPr>
            <p:nvPr/>
          </p:nvSpPr>
          <p:spPr bwMode="auto">
            <a:xfrm>
              <a:off x="2063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 name="Freeform 2123"/>
            <p:cNvSpPr>
              <a:spLocks/>
            </p:cNvSpPr>
            <p:nvPr/>
          </p:nvSpPr>
          <p:spPr bwMode="auto">
            <a:xfrm>
              <a:off x="2063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 name="Freeform 2124"/>
            <p:cNvSpPr>
              <a:spLocks/>
            </p:cNvSpPr>
            <p:nvPr/>
          </p:nvSpPr>
          <p:spPr bwMode="auto">
            <a:xfrm>
              <a:off x="1978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 name="Freeform 2125"/>
            <p:cNvSpPr>
              <a:spLocks/>
            </p:cNvSpPr>
            <p:nvPr/>
          </p:nvSpPr>
          <p:spPr bwMode="auto">
            <a:xfrm>
              <a:off x="1978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 name="Freeform 2126"/>
            <p:cNvSpPr>
              <a:spLocks/>
            </p:cNvSpPr>
            <p:nvPr/>
          </p:nvSpPr>
          <p:spPr bwMode="auto">
            <a:xfrm>
              <a:off x="2000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 name="Freeform 2127"/>
            <p:cNvSpPr>
              <a:spLocks/>
            </p:cNvSpPr>
            <p:nvPr/>
          </p:nvSpPr>
          <p:spPr bwMode="auto">
            <a:xfrm>
              <a:off x="2000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 name="Freeform 2128"/>
            <p:cNvSpPr>
              <a:spLocks/>
            </p:cNvSpPr>
            <p:nvPr/>
          </p:nvSpPr>
          <p:spPr bwMode="auto">
            <a:xfrm>
              <a:off x="1993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 name="Freeform 2129"/>
            <p:cNvSpPr>
              <a:spLocks/>
            </p:cNvSpPr>
            <p:nvPr/>
          </p:nvSpPr>
          <p:spPr bwMode="auto">
            <a:xfrm>
              <a:off x="1993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 name="Freeform 2130"/>
            <p:cNvSpPr>
              <a:spLocks/>
            </p:cNvSpPr>
            <p:nvPr/>
          </p:nvSpPr>
          <p:spPr bwMode="auto">
            <a:xfrm>
              <a:off x="1993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 name="Freeform 2131"/>
            <p:cNvSpPr>
              <a:spLocks/>
            </p:cNvSpPr>
            <p:nvPr/>
          </p:nvSpPr>
          <p:spPr bwMode="auto">
            <a:xfrm>
              <a:off x="1993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 name="Freeform 2134"/>
            <p:cNvSpPr>
              <a:spLocks/>
            </p:cNvSpPr>
            <p:nvPr/>
          </p:nvSpPr>
          <p:spPr bwMode="auto">
            <a:xfrm>
              <a:off x="425132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 name="Freeform 2057"/>
            <p:cNvSpPr>
              <a:spLocks noEditPoints="1"/>
            </p:cNvSpPr>
            <p:nvPr/>
          </p:nvSpPr>
          <p:spPr bwMode="auto">
            <a:xfrm>
              <a:off x="6267450"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 name="Freeform 2058"/>
            <p:cNvSpPr>
              <a:spLocks/>
            </p:cNvSpPr>
            <p:nvPr/>
          </p:nvSpPr>
          <p:spPr bwMode="auto">
            <a:xfrm>
              <a:off x="6486525"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 name="Freeform 2059"/>
            <p:cNvSpPr>
              <a:spLocks/>
            </p:cNvSpPr>
            <p:nvPr/>
          </p:nvSpPr>
          <p:spPr bwMode="auto">
            <a:xfrm>
              <a:off x="6635750" y="45497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 name="Freeform 2061"/>
            <p:cNvSpPr>
              <a:spLocks/>
            </p:cNvSpPr>
            <p:nvPr/>
          </p:nvSpPr>
          <p:spPr bwMode="auto">
            <a:xfrm>
              <a:off x="6924675"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 name="Freeform 2062"/>
            <p:cNvSpPr>
              <a:spLocks/>
            </p:cNvSpPr>
            <p:nvPr/>
          </p:nvSpPr>
          <p:spPr bwMode="auto">
            <a:xfrm>
              <a:off x="73088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 name="Freeform 2063"/>
            <p:cNvSpPr>
              <a:spLocks/>
            </p:cNvSpPr>
            <p:nvPr/>
          </p:nvSpPr>
          <p:spPr bwMode="auto">
            <a:xfrm>
              <a:off x="745490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 name="Freeform 2065"/>
            <p:cNvSpPr>
              <a:spLocks/>
            </p:cNvSpPr>
            <p:nvPr/>
          </p:nvSpPr>
          <p:spPr bwMode="auto">
            <a:xfrm>
              <a:off x="7753350"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 name="Freeform 2069"/>
            <p:cNvSpPr>
              <a:spLocks/>
            </p:cNvSpPr>
            <p:nvPr/>
          </p:nvSpPr>
          <p:spPr bwMode="auto">
            <a:xfrm>
              <a:off x="8261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 name="Freeform 2070"/>
            <p:cNvSpPr>
              <a:spLocks/>
            </p:cNvSpPr>
            <p:nvPr/>
          </p:nvSpPr>
          <p:spPr bwMode="auto">
            <a:xfrm>
              <a:off x="8261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 name="Freeform 2071"/>
            <p:cNvSpPr>
              <a:spLocks/>
            </p:cNvSpPr>
            <p:nvPr/>
          </p:nvSpPr>
          <p:spPr bwMode="auto">
            <a:xfrm>
              <a:off x="8356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 name="Freeform 2072"/>
            <p:cNvSpPr>
              <a:spLocks/>
            </p:cNvSpPr>
            <p:nvPr/>
          </p:nvSpPr>
          <p:spPr bwMode="auto">
            <a:xfrm>
              <a:off x="8356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 name="Freeform 2076"/>
            <p:cNvSpPr>
              <a:spLocks/>
            </p:cNvSpPr>
            <p:nvPr/>
          </p:nvSpPr>
          <p:spPr bwMode="auto">
            <a:xfrm>
              <a:off x="91694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 name="Freeform 2077"/>
            <p:cNvSpPr>
              <a:spLocks/>
            </p:cNvSpPr>
            <p:nvPr/>
          </p:nvSpPr>
          <p:spPr bwMode="auto">
            <a:xfrm>
              <a:off x="931545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 name="Freeform 2078"/>
            <p:cNvSpPr>
              <a:spLocks/>
            </p:cNvSpPr>
            <p:nvPr/>
          </p:nvSpPr>
          <p:spPr bwMode="auto">
            <a:xfrm>
              <a:off x="946467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 name="Freeform 2079"/>
            <p:cNvSpPr>
              <a:spLocks noEditPoints="1"/>
            </p:cNvSpPr>
            <p:nvPr/>
          </p:nvSpPr>
          <p:spPr bwMode="auto">
            <a:xfrm>
              <a:off x="9610725"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 name="Freeform 2080"/>
            <p:cNvSpPr>
              <a:spLocks noEditPoints="1"/>
            </p:cNvSpPr>
            <p:nvPr/>
          </p:nvSpPr>
          <p:spPr bwMode="auto">
            <a:xfrm>
              <a:off x="9829800"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 name="Freeform 2081"/>
            <p:cNvSpPr>
              <a:spLocks/>
            </p:cNvSpPr>
            <p:nvPr/>
          </p:nvSpPr>
          <p:spPr bwMode="auto">
            <a:xfrm>
              <a:off x="8934450" y="45466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 name="Freeform 2082"/>
            <p:cNvSpPr>
              <a:spLocks/>
            </p:cNvSpPr>
            <p:nvPr/>
          </p:nvSpPr>
          <p:spPr bwMode="auto">
            <a:xfrm>
              <a:off x="8934450" y="45466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6" name="Freeform 2083"/>
            <p:cNvSpPr>
              <a:spLocks/>
            </p:cNvSpPr>
            <p:nvPr/>
          </p:nvSpPr>
          <p:spPr bwMode="auto">
            <a:xfrm>
              <a:off x="9029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 name="Freeform 2084"/>
            <p:cNvSpPr>
              <a:spLocks/>
            </p:cNvSpPr>
            <p:nvPr/>
          </p:nvSpPr>
          <p:spPr bwMode="auto">
            <a:xfrm>
              <a:off x="9029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 name="Freeform 2085"/>
            <p:cNvSpPr>
              <a:spLocks noEditPoints="1"/>
            </p:cNvSpPr>
            <p:nvPr/>
          </p:nvSpPr>
          <p:spPr bwMode="auto">
            <a:xfrm>
              <a:off x="10508045" y="45370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 name="Freeform 2086"/>
            <p:cNvSpPr>
              <a:spLocks noEditPoints="1"/>
            </p:cNvSpPr>
            <p:nvPr/>
          </p:nvSpPr>
          <p:spPr bwMode="auto">
            <a:xfrm>
              <a:off x="10873170" y="45402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 name="Freeform 2088"/>
            <p:cNvSpPr>
              <a:spLocks noEditPoints="1"/>
            </p:cNvSpPr>
            <p:nvPr/>
          </p:nvSpPr>
          <p:spPr bwMode="auto">
            <a:xfrm>
              <a:off x="11077575"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 name="Freeform 2089"/>
            <p:cNvSpPr>
              <a:spLocks/>
            </p:cNvSpPr>
            <p:nvPr/>
          </p:nvSpPr>
          <p:spPr bwMode="auto">
            <a:xfrm>
              <a:off x="11299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 name="Freeform 2090"/>
            <p:cNvSpPr>
              <a:spLocks/>
            </p:cNvSpPr>
            <p:nvPr/>
          </p:nvSpPr>
          <p:spPr bwMode="auto">
            <a:xfrm>
              <a:off x="11299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 name="Freeform 2091"/>
            <p:cNvSpPr>
              <a:spLocks/>
            </p:cNvSpPr>
            <p:nvPr/>
          </p:nvSpPr>
          <p:spPr bwMode="auto">
            <a:xfrm>
              <a:off x="11395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 name="Freeform 2092"/>
            <p:cNvSpPr>
              <a:spLocks/>
            </p:cNvSpPr>
            <p:nvPr/>
          </p:nvSpPr>
          <p:spPr bwMode="auto">
            <a:xfrm>
              <a:off x="11395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 name="Freeform 2093"/>
            <p:cNvSpPr>
              <a:spLocks noEditPoints="1"/>
            </p:cNvSpPr>
            <p:nvPr/>
          </p:nvSpPr>
          <p:spPr bwMode="auto">
            <a:xfrm>
              <a:off x="11769725" y="45402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 name="Freeform 2094"/>
            <p:cNvSpPr>
              <a:spLocks/>
            </p:cNvSpPr>
            <p:nvPr/>
          </p:nvSpPr>
          <p:spPr bwMode="auto">
            <a:xfrm>
              <a:off x="1197927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 name="Freeform 2096"/>
            <p:cNvSpPr>
              <a:spLocks/>
            </p:cNvSpPr>
            <p:nvPr/>
          </p:nvSpPr>
          <p:spPr bwMode="auto">
            <a:xfrm>
              <a:off x="11604625" y="46450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 name="Freeform 2097"/>
            <p:cNvSpPr>
              <a:spLocks/>
            </p:cNvSpPr>
            <p:nvPr/>
          </p:nvSpPr>
          <p:spPr bwMode="auto">
            <a:xfrm>
              <a:off x="11534775" y="45529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 name="Freeform 2098"/>
            <p:cNvSpPr>
              <a:spLocks noEditPoints="1"/>
            </p:cNvSpPr>
            <p:nvPr/>
          </p:nvSpPr>
          <p:spPr bwMode="auto">
            <a:xfrm>
              <a:off x="7910895" y="45402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 name="Freeform 2099"/>
            <p:cNvSpPr>
              <a:spLocks/>
            </p:cNvSpPr>
            <p:nvPr/>
          </p:nvSpPr>
          <p:spPr bwMode="auto">
            <a:xfrm>
              <a:off x="8061325" y="47053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 name="Freeform 2100"/>
            <p:cNvSpPr>
              <a:spLocks/>
            </p:cNvSpPr>
            <p:nvPr/>
          </p:nvSpPr>
          <p:spPr bwMode="auto">
            <a:xfrm>
              <a:off x="7905750" y="47021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 name="Freeform 2101"/>
            <p:cNvSpPr>
              <a:spLocks/>
            </p:cNvSpPr>
            <p:nvPr/>
          </p:nvSpPr>
          <p:spPr bwMode="auto">
            <a:xfrm>
              <a:off x="7899400" y="46228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 name="Freeform 2102"/>
            <p:cNvSpPr>
              <a:spLocks/>
            </p:cNvSpPr>
            <p:nvPr/>
          </p:nvSpPr>
          <p:spPr bwMode="auto">
            <a:xfrm>
              <a:off x="7921625" y="45497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 name="Freeform 2103"/>
            <p:cNvSpPr>
              <a:spLocks/>
            </p:cNvSpPr>
            <p:nvPr/>
          </p:nvSpPr>
          <p:spPr bwMode="auto">
            <a:xfrm>
              <a:off x="7896225" y="45434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 name="Freeform 2104"/>
            <p:cNvSpPr>
              <a:spLocks/>
            </p:cNvSpPr>
            <p:nvPr/>
          </p:nvSpPr>
          <p:spPr bwMode="auto">
            <a:xfrm>
              <a:off x="7905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 name="Freeform 2105"/>
            <p:cNvSpPr>
              <a:spLocks/>
            </p:cNvSpPr>
            <p:nvPr/>
          </p:nvSpPr>
          <p:spPr bwMode="auto">
            <a:xfrm>
              <a:off x="7905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 name="Freeform 2106"/>
            <p:cNvSpPr>
              <a:spLocks/>
            </p:cNvSpPr>
            <p:nvPr/>
          </p:nvSpPr>
          <p:spPr bwMode="auto">
            <a:xfrm>
              <a:off x="7905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 name="Freeform 2107"/>
            <p:cNvSpPr>
              <a:spLocks/>
            </p:cNvSpPr>
            <p:nvPr/>
          </p:nvSpPr>
          <p:spPr bwMode="auto">
            <a:xfrm>
              <a:off x="7905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 name="Freeform 2108"/>
            <p:cNvSpPr>
              <a:spLocks/>
            </p:cNvSpPr>
            <p:nvPr/>
          </p:nvSpPr>
          <p:spPr bwMode="auto">
            <a:xfrm>
              <a:off x="8061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 name="Freeform 2109"/>
            <p:cNvSpPr>
              <a:spLocks/>
            </p:cNvSpPr>
            <p:nvPr/>
          </p:nvSpPr>
          <p:spPr bwMode="auto">
            <a:xfrm>
              <a:off x="8061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 name="Freeform 2110"/>
            <p:cNvSpPr>
              <a:spLocks/>
            </p:cNvSpPr>
            <p:nvPr/>
          </p:nvSpPr>
          <p:spPr bwMode="auto">
            <a:xfrm>
              <a:off x="8061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 name="Freeform 2111"/>
            <p:cNvSpPr>
              <a:spLocks/>
            </p:cNvSpPr>
            <p:nvPr/>
          </p:nvSpPr>
          <p:spPr bwMode="auto">
            <a:xfrm>
              <a:off x="8061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 name="Freeform 2112"/>
            <p:cNvSpPr>
              <a:spLocks/>
            </p:cNvSpPr>
            <p:nvPr/>
          </p:nvSpPr>
          <p:spPr bwMode="auto">
            <a:xfrm>
              <a:off x="7899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 name="Freeform 2113"/>
            <p:cNvSpPr>
              <a:spLocks/>
            </p:cNvSpPr>
            <p:nvPr/>
          </p:nvSpPr>
          <p:spPr bwMode="auto">
            <a:xfrm>
              <a:off x="7899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 name="Freeform 2114"/>
            <p:cNvSpPr>
              <a:spLocks noEditPoints="1"/>
            </p:cNvSpPr>
            <p:nvPr/>
          </p:nvSpPr>
          <p:spPr bwMode="auto">
            <a:xfrm>
              <a:off x="7899400" y="46228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 name="Freeform 2115"/>
            <p:cNvSpPr>
              <a:spLocks/>
            </p:cNvSpPr>
            <p:nvPr/>
          </p:nvSpPr>
          <p:spPr bwMode="auto">
            <a:xfrm>
              <a:off x="7915275" y="46450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 name="Freeform 2116"/>
            <p:cNvSpPr>
              <a:spLocks/>
            </p:cNvSpPr>
            <p:nvPr/>
          </p:nvSpPr>
          <p:spPr bwMode="auto">
            <a:xfrm>
              <a:off x="7899400" y="46228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 name="Freeform 2117"/>
            <p:cNvSpPr>
              <a:spLocks noEditPoints="1"/>
            </p:cNvSpPr>
            <p:nvPr/>
          </p:nvSpPr>
          <p:spPr bwMode="auto">
            <a:xfrm>
              <a:off x="8083550" y="46037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 name="Freeform 2118"/>
            <p:cNvSpPr>
              <a:spLocks/>
            </p:cNvSpPr>
            <p:nvPr/>
          </p:nvSpPr>
          <p:spPr bwMode="auto">
            <a:xfrm>
              <a:off x="8089900" y="46132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 name="Freeform 2119"/>
            <p:cNvSpPr>
              <a:spLocks/>
            </p:cNvSpPr>
            <p:nvPr/>
          </p:nvSpPr>
          <p:spPr bwMode="auto">
            <a:xfrm>
              <a:off x="8083550" y="46037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 name="Freeform 2120"/>
            <p:cNvSpPr>
              <a:spLocks/>
            </p:cNvSpPr>
            <p:nvPr/>
          </p:nvSpPr>
          <p:spPr bwMode="auto">
            <a:xfrm>
              <a:off x="8010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 name="Freeform 2121"/>
            <p:cNvSpPr>
              <a:spLocks/>
            </p:cNvSpPr>
            <p:nvPr/>
          </p:nvSpPr>
          <p:spPr bwMode="auto">
            <a:xfrm>
              <a:off x="8010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 name="Freeform 2122"/>
            <p:cNvSpPr>
              <a:spLocks/>
            </p:cNvSpPr>
            <p:nvPr/>
          </p:nvSpPr>
          <p:spPr bwMode="auto">
            <a:xfrm>
              <a:off x="8159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 name="Freeform 2123"/>
            <p:cNvSpPr>
              <a:spLocks/>
            </p:cNvSpPr>
            <p:nvPr/>
          </p:nvSpPr>
          <p:spPr bwMode="auto">
            <a:xfrm>
              <a:off x="8159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 name="Freeform 2124"/>
            <p:cNvSpPr>
              <a:spLocks/>
            </p:cNvSpPr>
            <p:nvPr/>
          </p:nvSpPr>
          <p:spPr bwMode="auto">
            <a:xfrm>
              <a:off x="8074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 name="Freeform 2125"/>
            <p:cNvSpPr>
              <a:spLocks/>
            </p:cNvSpPr>
            <p:nvPr/>
          </p:nvSpPr>
          <p:spPr bwMode="auto">
            <a:xfrm>
              <a:off x="8074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 name="Freeform 2126"/>
            <p:cNvSpPr>
              <a:spLocks/>
            </p:cNvSpPr>
            <p:nvPr/>
          </p:nvSpPr>
          <p:spPr bwMode="auto">
            <a:xfrm>
              <a:off x="8096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 name="Freeform 2127"/>
            <p:cNvSpPr>
              <a:spLocks/>
            </p:cNvSpPr>
            <p:nvPr/>
          </p:nvSpPr>
          <p:spPr bwMode="auto">
            <a:xfrm>
              <a:off x="8096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 name="Freeform 2128"/>
            <p:cNvSpPr>
              <a:spLocks/>
            </p:cNvSpPr>
            <p:nvPr/>
          </p:nvSpPr>
          <p:spPr bwMode="auto">
            <a:xfrm>
              <a:off x="8089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 name="Freeform 2129"/>
            <p:cNvSpPr>
              <a:spLocks/>
            </p:cNvSpPr>
            <p:nvPr/>
          </p:nvSpPr>
          <p:spPr bwMode="auto">
            <a:xfrm>
              <a:off x="8089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 name="Freeform 2130"/>
            <p:cNvSpPr>
              <a:spLocks/>
            </p:cNvSpPr>
            <p:nvPr/>
          </p:nvSpPr>
          <p:spPr bwMode="auto">
            <a:xfrm>
              <a:off x="8089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 name="Freeform 2131"/>
            <p:cNvSpPr>
              <a:spLocks/>
            </p:cNvSpPr>
            <p:nvPr/>
          </p:nvSpPr>
          <p:spPr bwMode="auto">
            <a:xfrm>
              <a:off x="8089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 name="Freeform 2132"/>
            <p:cNvSpPr>
              <a:spLocks/>
            </p:cNvSpPr>
            <p:nvPr/>
          </p:nvSpPr>
          <p:spPr bwMode="auto">
            <a:xfrm>
              <a:off x="100520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 name="Freeform 2058"/>
            <p:cNvSpPr>
              <a:spLocks/>
            </p:cNvSpPr>
            <p:nvPr/>
          </p:nvSpPr>
          <p:spPr bwMode="auto">
            <a:xfrm>
              <a:off x="39052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 name="Freeform 2059"/>
            <p:cNvSpPr>
              <a:spLocks/>
            </p:cNvSpPr>
            <p:nvPr/>
          </p:nvSpPr>
          <p:spPr bwMode="auto">
            <a:xfrm>
              <a:off x="539750" y="49053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 name="Freeform 2060"/>
            <p:cNvSpPr>
              <a:spLocks/>
            </p:cNvSpPr>
            <p:nvPr/>
          </p:nvSpPr>
          <p:spPr bwMode="auto">
            <a:xfrm>
              <a:off x="685800"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 name="Freeform 2061"/>
            <p:cNvSpPr>
              <a:spLocks/>
            </p:cNvSpPr>
            <p:nvPr/>
          </p:nvSpPr>
          <p:spPr bwMode="auto">
            <a:xfrm>
              <a:off x="82867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 name="Freeform 2062"/>
            <p:cNvSpPr>
              <a:spLocks/>
            </p:cNvSpPr>
            <p:nvPr/>
          </p:nvSpPr>
          <p:spPr bwMode="auto">
            <a:xfrm>
              <a:off x="12128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 name="Freeform 2063"/>
            <p:cNvSpPr>
              <a:spLocks/>
            </p:cNvSpPr>
            <p:nvPr/>
          </p:nvSpPr>
          <p:spPr bwMode="auto">
            <a:xfrm>
              <a:off x="135890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 name="Freeform 2064"/>
            <p:cNvSpPr>
              <a:spLocks/>
            </p:cNvSpPr>
            <p:nvPr/>
          </p:nvSpPr>
          <p:spPr bwMode="auto">
            <a:xfrm>
              <a:off x="150812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 name="Freeform 2068"/>
            <p:cNvSpPr>
              <a:spLocks/>
            </p:cNvSpPr>
            <p:nvPr/>
          </p:nvSpPr>
          <p:spPr bwMode="auto">
            <a:xfrm>
              <a:off x="107315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 name="Freeform 2069"/>
            <p:cNvSpPr>
              <a:spLocks/>
            </p:cNvSpPr>
            <p:nvPr/>
          </p:nvSpPr>
          <p:spPr bwMode="auto">
            <a:xfrm>
              <a:off x="2165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 name="Freeform 2070"/>
            <p:cNvSpPr>
              <a:spLocks/>
            </p:cNvSpPr>
            <p:nvPr/>
          </p:nvSpPr>
          <p:spPr bwMode="auto">
            <a:xfrm>
              <a:off x="2165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 name="Freeform 2071"/>
            <p:cNvSpPr>
              <a:spLocks/>
            </p:cNvSpPr>
            <p:nvPr/>
          </p:nvSpPr>
          <p:spPr bwMode="auto">
            <a:xfrm>
              <a:off x="2260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 name="Freeform 2072"/>
            <p:cNvSpPr>
              <a:spLocks/>
            </p:cNvSpPr>
            <p:nvPr/>
          </p:nvSpPr>
          <p:spPr bwMode="auto">
            <a:xfrm>
              <a:off x="2260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 name="Freeform 2073"/>
            <p:cNvSpPr>
              <a:spLocks/>
            </p:cNvSpPr>
            <p:nvPr/>
          </p:nvSpPr>
          <p:spPr bwMode="auto">
            <a:xfrm>
              <a:off x="24003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 name="Freeform 2076"/>
            <p:cNvSpPr>
              <a:spLocks/>
            </p:cNvSpPr>
            <p:nvPr/>
          </p:nvSpPr>
          <p:spPr bwMode="auto">
            <a:xfrm>
              <a:off x="30734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 name="Freeform 2077"/>
            <p:cNvSpPr>
              <a:spLocks/>
            </p:cNvSpPr>
            <p:nvPr/>
          </p:nvSpPr>
          <p:spPr bwMode="auto">
            <a:xfrm>
              <a:off x="321945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 name="Freeform 2078"/>
            <p:cNvSpPr>
              <a:spLocks/>
            </p:cNvSpPr>
            <p:nvPr/>
          </p:nvSpPr>
          <p:spPr bwMode="auto">
            <a:xfrm>
              <a:off x="336867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 name="Freeform 2079"/>
            <p:cNvSpPr>
              <a:spLocks noEditPoints="1"/>
            </p:cNvSpPr>
            <p:nvPr/>
          </p:nvSpPr>
          <p:spPr bwMode="auto">
            <a:xfrm>
              <a:off x="3514725" y="48958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 name="Freeform 2084"/>
            <p:cNvSpPr>
              <a:spLocks/>
            </p:cNvSpPr>
            <p:nvPr/>
          </p:nvSpPr>
          <p:spPr bwMode="auto">
            <a:xfrm>
              <a:off x="2933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 name="Freeform 2085"/>
            <p:cNvSpPr>
              <a:spLocks noEditPoints="1"/>
            </p:cNvSpPr>
            <p:nvPr/>
          </p:nvSpPr>
          <p:spPr bwMode="auto">
            <a:xfrm>
              <a:off x="4412045" y="48926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 name="Freeform 2087"/>
            <p:cNvSpPr>
              <a:spLocks/>
            </p:cNvSpPr>
            <p:nvPr/>
          </p:nvSpPr>
          <p:spPr bwMode="auto">
            <a:xfrm>
              <a:off x="46164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 name="Freeform 2088"/>
            <p:cNvSpPr>
              <a:spLocks noEditPoints="1"/>
            </p:cNvSpPr>
            <p:nvPr/>
          </p:nvSpPr>
          <p:spPr bwMode="auto">
            <a:xfrm>
              <a:off x="4981575"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 name="Freeform 2089"/>
            <p:cNvSpPr>
              <a:spLocks/>
            </p:cNvSpPr>
            <p:nvPr/>
          </p:nvSpPr>
          <p:spPr bwMode="auto">
            <a:xfrm>
              <a:off x="5203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 name="Freeform 2091"/>
            <p:cNvSpPr>
              <a:spLocks/>
            </p:cNvSpPr>
            <p:nvPr/>
          </p:nvSpPr>
          <p:spPr bwMode="auto">
            <a:xfrm>
              <a:off x="5299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 name="Freeform 2092"/>
            <p:cNvSpPr>
              <a:spLocks/>
            </p:cNvSpPr>
            <p:nvPr/>
          </p:nvSpPr>
          <p:spPr bwMode="auto">
            <a:xfrm>
              <a:off x="5299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 name="Freeform 2094"/>
            <p:cNvSpPr>
              <a:spLocks/>
            </p:cNvSpPr>
            <p:nvPr/>
          </p:nvSpPr>
          <p:spPr bwMode="auto">
            <a:xfrm>
              <a:off x="588327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 name="Freeform 2096"/>
            <p:cNvSpPr>
              <a:spLocks/>
            </p:cNvSpPr>
            <p:nvPr/>
          </p:nvSpPr>
          <p:spPr bwMode="auto">
            <a:xfrm>
              <a:off x="5508625" y="50006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 name="Freeform 2097"/>
            <p:cNvSpPr>
              <a:spLocks/>
            </p:cNvSpPr>
            <p:nvPr/>
          </p:nvSpPr>
          <p:spPr bwMode="auto">
            <a:xfrm>
              <a:off x="5438775" y="49085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 name="Freeform 2134"/>
            <p:cNvSpPr>
              <a:spLocks/>
            </p:cNvSpPr>
            <p:nvPr/>
          </p:nvSpPr>
          <p:spPr bwMode="auto">
            <a:xfrm>
              <a:off x="425132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 name="Freeform 2057"/>
            <p:cNvSpPr>
              <a:spLocks noEditPoints="1"/>
            </p:cNvSpPr>
            <p:nvPr/>
          </p:nvSpPr>
          <p:spPr bwMode="auto">
            <a:xfrm>
              <a:off x="6267450" y="48958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 name="Freeform 2058"/>
            <p:cNvSpPr>
              <a:spLocks/>
            </p:cNvSpPr>
            <p:nvPr/>
          </p:nvSpPr>
          <p:spPr bwMode="auto">
            <a:xfrm>
              <a:off x="648652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 name="Freeform 2061"/>
            <p:cNvSpPr>
              <a:spLocks/>
            </p:cNvSpPr>
            <p:nvPr/>
          </p:nvSpPr>
          <p:spPr bwMode="auto">
            <a:xfrm>
              <a:off x="692467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 name="Freeform 2063"/>
            <p:cNvSpPr>
              <a:spLocks/>
            </p:cNvSpPr>
            <p:nvPr/>
          </p:nvSpPr>
          <p:spPr bwMode="auto">
            <a:xfrm>
              <a:off x="745490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 name="Freeform 2065"/>
            <p:cNvSpPr>
              <a:spLocks/>
            </p:cNvSpPr>
            <p:nvPr/>
          </p:nvSpPr>
          <p:spPr bwMode="auto">
            <a:xfrm>
              <a:off x="7753350"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 name="Freeform 2069"/>
            <p:cNvSpPr>
              <a:spLocks/>
            </p:cNvSpPr>
            <p:nvPr/>
          </p:nvSpPr>
          <p:spPr bwMode="auto">
            <a:xfrm>
              <a:off x="8261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 name="Freeform 2070"/>
            <p:cNvSpPr>
              <a:spLocks/>
            </p:cNvSpPr>
            <p:nvPr/>
          </p:nvSpPr>
          <p:spPr bwMode="auto">
            <a:xfrm>
              <a:off x="8261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 name="Freeform 2071"/>
            <p:cNvSpPr>
              <a:spLocks/>
            </p:cNvSpPr>
            <p:nvPr/>
          </p:nvSpPr>
          <p:spPr bwMode="auto">
            <a:xfrm>
              <a:off x="8356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 name="Freeform 2072"/>
            <p:cNvSpPr>
              <a:spLocks/>
            </p:cNvSpPr>
            <p:nvPr/>
          </p:nvSpPr>
          <p:spPr bwMode="auto">
            <a:xfrm>
              <a:off x="8356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 name="Freeform 2076"/>
            <p:cNvSpPr>
              <a:spLocks/>
            </p:cNvSpPr>
            <p:nvPr/>
          </p:nvSpPr>
          <p:spPr bwMode="auto">
            <a:xfrm>
              <a:off x="91694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 name="Freeform 2077"/>
            <p:cNvSpPr>
              <a:spLocks/>
            </p:cNvSpPr>
            <p:nvPr/>
          </p:nvSpPr>
          <p:spPr bwMode="auto">
            <a:xfrm>
              <a:off x="931545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 name="Freeform 2078"/>
            <p:cNvSpPr>
              <a:spLocks/>
            </p:cNvSpPr>
            <p:nvPr/>
          </p:nvSpPr>
          <p:spPr bwMode="auto">
            <a:xfrm>
              <a:off x="946467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 name="Freeform 2080"/>
            <p:cNvSpPr>
              <a:spLocks noEditPoints="1"/>
            </p:cNvSpPr>
            <p:nvPr/>
          </p:nvSpPr>
          <p:spPr bwMode="auto">
            <a:xfrm>
              <a:off x="9829800"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 name="Freeform 2081"/>
            <p:cNvSpPr>
              <a:spLocks/>
            </p:cNvSpPr>
            <p:nvPr/>
          </p:nvSpPr>
          <p:spPr bwMode="auto">
            <a:xfrm>
              <a:off x="8934450" y="49022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 name="Freeform 2082"/>
            <p:cNvSpPr>
              <a:spLocks/>
            </p:cNvSpPr>
            <p:nvPr/>
          </p:nvSpPr>
          <p:spPr bwMode="auto">
            <a:xfrm>
              <a:off x="8934450" y="49022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 name="Freeform 2083"/>
            <p:cNvSpPr>
              <a:spLocks/>
            </p:cNvSpPr>
            <p:nvPr/>
          </p:nvSpPr>
          <p:spPr bwMode="auto">
            <a:xfrm>
              <a:off x="9029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 name="Freeform 2084"/>
            <p:cNvSpPr>
              <a:spLocks/>
            </p:cNvSpPr>
            <p:nvPr/>
          </p:nvSpPr>
          <p:spPr bwMode="auto">
            <a:xfrm>
              <a:off x="9029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 name="Freeform 2085"/>
            <p:cNvSpPr>
              <a:spLocks noEditPoints="1"/>
            </p:cNvSpPr>
            <p:nvPr/>
          </p:nvSpPr>
          <p:spPr bwMode="auto">
            <a:xfrm>
              <a:off x="10508045" y="48926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 name="Freeform 2088"/>
            <p:cNvSpPr>
              <a:spLocks noEditPoints="1"/>
            </p:cNvSpPr>
            <p:nvPr/>
          </p:nvSpPr>
          <p:spPr bwMode="auto">
            <a:xfrm>
              <a:off x="11077575"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 name="Freeform 2089"/>
            <p:cNvSpPr>
              <a:spLocks/>
            </p:cNvSpPr>
            <p:nvPr/>
          </p:nvSpPr>
          <p:spPr bwMode="auto">
            <a:xfrm>
              <a:off x="11299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 name="Freeform 2090"/>
            <p:cNvSpPr>
              <a:spLocks/>
            </p:cNvSpPr>
            <p:nvPr/>
          </p:nvSpPr>
          <p:spPr bwMode="auto">
            <a:xfrm>
              <a:off x="11299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 name="Freeform 2091"/>
            <p:cNvSpPr>
              <a:spLocks/>
            </p:cNvSpPr>
            <p:nvPr/>
          </p:nvSpPr>
          <p:spPr bwMode="auto">
            <a:xfrm>
              <a:off x="11395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 name="Freeform 2092"/>
            <p:cNvSpPr>
              <a:spLocks/>
            </p:cNvSpPr>
            <p:nvPr/>
          </p:nvSpPr>
          <p:spPr bwMode="auto">
            <a:xfrm>
              <a:off x="11395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 name="Freeform 2093"/>
            <p:cNvSpPr>
              <a:spLocks noEditPoints="1"/>
            </p:cNvSpPr>
            <p:nvPr/>
          </p:nvSpPr>
          <p:spPr bwMode="auto">
            <a:xfrm>
              <a:off x="11769725" y="48958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 name="Freeform 2094"/>
            <p:cNvSpPr>
              <a:spLocks/>
            </p:cNvSpPr>
            <p:nvPr/>
          </p:nvSpPr>
          <p:spPr bwMode="auto">
            <a:xfrm>
              <a:off x="1197927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 name="Freeform 2096"/>
            <p:cNvSpPr>
              <a:spLocks/>
            </p:cNvSpPr>
            <p:nvPr/>
          </p:nvSpPr>
          <p:spPr bwMode="auto">
            <a:xfrm>
              <a:off x="11604625" y="50006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 name="Freeform 2097"/>
            <p:cNvSpPr>
              <a:spLocks/>
            </p:cNvSpPr>
            <p:nvPr/>
          </p:nvSpPr>
          <p:spPr bwMode="auto">
            <a:xfrm>
              <a:off x="11534775" y="49085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 name="Freeform 2098"/>
            <p:cNvSpPr>
              <a:spLocks noEditPoints="1"/>
            </p:cNvSpPr>
            <p:nvPr/>
          </p:nvSpPr>
          <p:spPr bwMode="auto">
            <a:xfrm>
              <a:off x="7910895" y="48958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 name="Freeform 2099"/>
            <p:cNvSpPr>
              <a:spLocks/>
            </p:cNvSpPr>
            <p:nvPr/>
          </p:nvSpPr>
          <p:spPr bwMode="auto">
            <a:xfrm>
              <a:off x="8061325" y="50609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 name="Freeform 2100"/>
            <p:cNvSpPr>
              <a:spLocks/>
            </p:cNvSpPr>
            <p:nvPr/>
          </p:nvSpPr>
          <p:spPr bwMode="auto">
            <a:xfrm>
              <a:off x="7905750" y="50577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 name="Freeform 2101"/>
            <p:cNvSpPr>
              <a:spLocks/>
            </p:cNvSpPr>
            <p:nvPr/>
          </p:nvSpPr>
          <p:spPr bwMode="auto">
            <a:xfrm>
              <a:off x="7899400" y="49784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 name="Freeform 2102"/>
            <p:cNvSpPr>
              <a:spLocks/>
            </p:cNvSpPr>
            <p:nvPr/>
          </p:nvSpPr>
          <p:spPr bwMode="auto">
            <a:xfrm>
              <a:off x="7921625" y="49053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 name="Freeform 2103"/>
            <p:cNvSpPr>
              <a:spLocks/>
            </p:cNvSpPr>
            <p:nvPr/>
          </p:nvSpPr>
          <p:spPr bwMode="auto">
            <a:xfrm>
              <a:off x="7896225" y="48990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 name="Freeform 2104"/>
            <p:cNvSpPr>
              <a:spLocks/>
            </p:cNvSpPr>
            <p:nvPr/>
          </p:nvSpPr>
          <p:spPr bwMode="auto">
            <a:xfrm>
              <a:off x="7905750" y="50577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 name="Freeform 2105"/>
            <p:cNvSpPr>
              <a:spLocks/>
            </p:cNvSpPr>
            <p:nvPr/>
          </p:nvSpPr>
          <p:spPr bwMode="auto">
            <a:xfrm>
              <a:off x="7905750" y="50577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 name="Freeform 2106"/>
            <p:cNvSpPr>
              <a:spLocks/>
            </p:cNvSpPr>
            <p:nvPr/>
          </p:nvSpPr>
          <p:spPr bwMode="auto">
            <a:xfrm>
              <a:off x="7905750" y="50577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 name="Freeform 2107"/>
            <p:cNvSpPr>
              <a:spLocks/>
            </p:cNvSpPr>
            <p:nvPr/>
          </p:nvSpPr>
          <p:spPr bwMode="auto">
            <a:xfrm>
              <a:off x="7905750" y="50577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 name="Freeform 2108"/>
            <p:cNvSpPr>
              <a:spLocks/>
            </p:cNvSpPr>
            <p:nvPr/>
          </p:nvSpPr>
          <p:spPr bwMode="auto">
            <a:xfrm>
              <a:off x="8061325" y="50641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 name="Freeform 2109"/>
            <p:cNvSpPr>
              <a:spLocks/>
            </p:cNvSpPr>
            <p:nvPr/>
          </p:nvSpPr>
          <p:spPr bwMode="auto">
            <a:xfrm>
              <a:off x="8061325" y="50641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 name="Freeform 2110"/>
            <p:cNvSpPr>
              <a:spLocks/>
            </p:cNvSpPr>
            <p:nvPr/>
          </p:nvSpPr>
          <p:spPr bwMode="auto">
            <a:xfrm>
              <a:off x="8061325" y="50609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 name="Freeform 2111"/>
            <p:cNvSpPr>
              <a:spLocks/>
            </p:cNvSpPr>
            <p:nvPr/>
          </p:nvSpPr>
          <p:spPr bwMode="auto">
            <a:xfrm>
              <a:off x="8061325" y="50609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 name="Freeform 2112"/>
            <p:cNvSpPr>
              <a:spLocks/>
            </p:cNvSpPr>
            <p:nvPr/>
          </p:nvSpPr>
          <p:spPr bwMode="auto">
            <a:xfrm>
              <a:off x="7899400" y="49784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 name="Freeform 2113"/>
            <p:cNvSpPr>
              <a:spLocks/>
            </p:cNvSpPr>
            <p:nvPr/>
          </p:nvSpPr>
          <p:spPr bwMode="auto">
            <a:xfrm>
              <a:off x="7899400" y="49784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 name="Freeform 2114"/>
            <p:cNvSpPr>
              <a:spLocks noEditPoints="1"/>
            </p:cNvSpPr>
            <p:nvPr/>
          </p:nvSpPr>
          <p:spPr bwMode="auto">
            <a:xfrm>
              <a:off x="7899400" y="49784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 name="Freeform 2115"/>
            <p:cNvSpPr>
              <a:spLocks/>
            </p:cNvSpPr>
            <p:nvPr/>
          </p:nvSpPr>
          <p:spPr bwMode="auto">
            <a:xfrm>
              <a:off x="7915275" y="50006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 name="Freeform 2116"/>
            <p:cNvSpPr>
              <a:spLocks/>
            </p:cNvSpPr>
            <p:nvPr/>
          </p:nvSpPr>
          <p:spPr bwMode="auto">
            <a:xfrm>
              <a:off x="7899400" y="49784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 name="Freeform 2117"/>
            <p:cNvSpPr>
              <a:spLocks noEditPoints="1"/>
            </p:cNvSpPr>
            <p:nvPr/>
          </p:nvSpPr>
          <p:spPr bwMode="auto">
            <a:xfrm>
              <a:off x="8083550" y="49593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 name="Freeform 2118"/>
            <p:cNvSpPr>
              <a:spLocks/>
            </p:cNvSpPr>
            <p:nvPr/>
          </p:nvSpPr>
          <p:spPr bwMode="auto">
            <a:xfrm>
              <a:off x="8089900" y="49688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 name="Freeform 2119"/>
            <p:cNvSpPr>
              <a:spLocks/>
            </p:cNvSpPr>
            <p:nvPr/>
          </p:nvSpPr>
          <p:spPr bwMode="auto">
            <a:xfrm>
              <a:off x="8083550" y="49593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 name="Freeform 2120"/>
            <p:cNvSpPr>
              <a:spLocks/>
            </p:cNvSpPr>
            <p:nvPr/>
          </p:nvSpPr>
          <p:spPr bwMode="auto">
            <a:xfrm>
              <a:off x="8010525" y="49434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 name="Freeform 2121"/>
            <p:cNvSpPr>
              <a:spLocks/>
            </p:cNvSpPr>
            <p:nvPr/>
          </p:nvSpPr>
          <p:spPr bwMode="auto">
            <a:xfrm>
              <a:off x="8010525" y="49434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 name="Freeform 2122"/>
            <p:cNvSpPr>
              <a:spLocks/>
            </p:cNvSpPr>
            <p:nvPr/>
          </p:nvSpPr>
          <p:spPr bwMode="auto">
            <a:xfrm>
              <a:off x="8159750" y="49466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 name="Freeform 2123"/>
            <p:cNvSpPr>
              <a:spLocks/>
            </p:cNvSpPr>
            <p:nvPr/>
          </p:nvSpPr>
          <p:spPr bwMode="auto">
            <a:xfrm>
              <a:off x="8159750" y="49466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 name="Freeform 2124"/>
            <p:cNvSpPr>
              <a:spLocks/>
            </p:cNvSpPr>
            <p:nvPr/>
          </p:nvSpPr>
          <p:spPr bwMode="auto">
            <a:xfrm>
              <a:off x="8074025" y="49434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 name="Freeform 2125"/>
            <p:cNvSpPr>
              <a:spLocks/>
            </p:cNvSpPr>
            <p:nvPr/>
          </p:nvSpPr>
          <p:spPr bwMode="auto">
            <a:xfrm>
              <a:off x="8074025" y="49434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 name="Freeform 2126"/>
            <p:cNvSpPr>
              <a:spLocks/>
            </p:cNvSpPr>
            <p:nvPr/>
          </p:nvSpPr>
          <p:spPr bwMode="auto">
            <a:xfrm>
              <a:off x="8096250" y="50228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 name="Freeform 2127"/>
            <p:cNvSpPr>
              <a:spLocks/>
            </p:cNvSpPr>
            <p:nvPr/>
          </p:nvSpPr>
          <p:spPr bwMode="auto">
            <a:xfrm>
              <a:off x="8096250" y="50228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 name="Freeform 2128"/>
            <p:cNvSpPr>
              <a:spLocks/>
            </p:cNvSpPr>
            <p:nvPr/>
          </p:nvSpPr>
          <p:spPr bwMode="auto">
            <a:xfrm>
              <a:off x="8089900" y="49720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 name="Freeform 2129"/>
            <p:cNvSpPr>
              <a:spLocks/>
            </p:cNvSpPr>
            <p:nvPr/>
          </p:nvSpPr>
          <p:spPr bwMode="auto">
            <a:xfrm>
              <a:off x="8089900" y="49720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 name="Freeform 2130"/>
            <p:cNvSpPr>
              <a:spLocks/>
            </p:cNvSpPr>
            <p:nvPr/>
          </p:nvSpPr>
          <p:spPr bwMode="auto">
            <a:xfrm>
              <a:off x="8089900" y="49720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 name="Freeform 2131"/>
            <p:cNvSpPr>
              <a:spLocks/>
            </p:cNvSpPr>
            <p:nvPr/>
          </p:nvSpPr>
          <p:spPr bwMode="auto">
            <a:xfrm>
              <a:off x="8089900" y="49720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 name="Freeform 2132"/>
            <p:cNvSpPr>
              <a:spLocks/>
            </p:cNvSpPr>
            <p:nvPr/>
          </p:nvSpPr>
          <p:spPr bwMode="auto">
            <a:xfrm>
              <a:off x="100520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 name="Freeform 2063"/>
            <p:cNvSpPr>
              <a:spLocks/>
            </p:cNvSpPr>
            <p:nvPr/>
          </p:nvSpPr>
          <p:spPr bwMode="auto">
            <a:xfrm>
              <a:off x="135890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 name="Freeform 2064"/>
            <p:cNvSpPr>
              <a:spLocks/>
            </p:cNvSpPr>
            <p:nvPr/>
          </p:nvSpPr>
          <p:spPr bwMode="auto">
            <a:xfrm>
              <a:off x="150812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 name="Freeform 2068"/>
            <p:cNvSpPr>
              <a:spLocks/>
            </p:cNvSpPr>
            <p:nvPr/>
          </p:nvSpPr>
          <p:spPr bwMode="auto">
            <a:xfrm>
              <a:off x="107315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 name="Freeform 2073"/>
            <p:cNvSpPr>
              <a:spLocks/>
            </p:cNvSpPr>
            <p:nvPr/>
          </p:nvSpPr>
          <p:spPr bwMode="auto">
            <a:xfrm>
              <a:off x="24003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 name="Freeform 2076"/>
            <p:cNvSpPr>
              <a:spLocks/>
            </p:cNvSpPr>
            <p:nvPr/>
          </p:nvSpPr>
          <p:spPr bwMode="auto">
            <a:xfrm>
              <a:off x="30734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 name="Freeform 2077"/>
            <p:cNvSpPr>
              <a:spLocks/>
            </p:cNvSpPr>
            <p:nvPr/>
          </p:nvSpPr>
          <p:spPr bwMode="auto">
            <a:xfrm>
              <a:off x="321945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 name="Freeform 2084"/>
            <p:cNvSpPr>
              <a:spLocks/>
            </p:cNvSpPr>
            <p:nvPr/>
          </p:nvSpPr>
          <p:spPr bwMode="auto">
            <a:xfrm>
              <a:off x="2933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 name="Freeform 2085"/>
            <p:cNvSpPr>
              <a:spLocks noEditPoints="1"/>
            </p:cNvSpPr>
            <p:nvPr/>
          </p:nvSpPr>
          <p:spPr bwMode="auto">
            <a:xfrm>
              <a:off x="4412045" y="51974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 name="Freeform 2087"/>
            <p:cNvSpPr>
              <a:spLocks/>
            </p:cNvSpPr>
            <p:nvPr/>
          </p:nvSpPr>
          <p:spPr bwMode="auto">
            <a:xfrm>
              <a:off x="461645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 name="Freeform 2088"/>
            <p:cNvSpPr>
              <a:spLocks noEditPoints="1"/>
            </p:cNvSpPr>
            <p:nvPr/>
          </p:nvSpPr>
          <p:spPr bwMode="auto">
            <a:xfrm>
              <a:off x="4981575" y="52006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 name="Freeform 2089"/>
            <p:cNvSpPr>
              <a:spLocks/>
            </p:cNvSpPr>
            <p:nvPr/>
          </p:nvSpPr>
          <p:spPr bwMode="auto">
            <a:xfrm>
              <a:off x="5203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 name="Freeform 2091"/>
            <p:cNvSpPr>
              <a:spLocks/>
            </p:cNvSpPr>
            <p:nvPr/>
          </p:nvSpPr>
          <p:spPr bwMode="auto">
            <a:xfrm>
              <a:off x="5299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 name="Freeform 2092"/>
            <p:cNvSpPr>
              <a:spLocks/>
            </p:cNvSpPr>
            <p:nvPr/>
          </p:nvSpPr>
          <p:spPr bwMode="auto">
            <a:xfrm>
              <a:off x="5299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 name="Freeform 2094"/>
            <p:cNvSpPr>
              <a:spLocks/>
            </p:cNvSpPr>
            <p:nvPr/>
          </p:nvSpPr>
          <p:spPr bwMode="auto">
            <a:xfrm>
              <a:off x="588327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 name="Freeform 2096"/>
            <p:cNvSpPr>
              <a:spLocks/>
            </p:cNvSpPr>
            <p:nvPr/>
          </p:nvSpPr>
          <p:spPr bwMode="auto">
            <a:xfrm>
              <a:off x="5508625" y="53054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 name="Freeform 2097"/>
            <p:cNvSpPr>
              <a:spLocks/>
            </p:cNvSpPr>
            <p:nvPr/>
          </p:nvSpPr>
          <p:spPr bwMode="auto">
            <a:xfrm>
              <a:off x="5438775" y="52133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 name="Freeform 2057"/>
            <p:cNvSpPr>
              <a:spLocks noEditPoints="1"/>
            </p:cNvSpPr>
            <p:nvPr/>
          </p:nvSpPr>
          <p:spPr bwMode="auto">
            <a:xfrm>
              <a:off x="6267450" y="52006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 name="Freeform 2058"/>
            <p:cNvSpPr>
              <a:spLocks/>
            </p:cNvSpPr>
            <p:nvPr/>
          </p:nvSpPr>
          <p:spPr bwMode="auto">
            <a:xfrm>
              <a:off x="6486525"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 name="Freeform 2061"/>
            <p:cNvSpPr>
              <a:spLocks/>
            </p:cNvSpPr>
            <p:nvPr/>
          </p:nvSpPr>
          <p:spPr bwMode="auto">
            <a:xfrm>
              <a:off x="6924675"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 name="Freeform 2063"/>
            <p:cNvSpPr>
              <a:spLocks/>
            </p:cNvSpPr>
            <p:nvPr/>
          </p:nvSpPr>
          <p:spPr bwMode="auto">
            <a:xfrm>
              <a:off x="745490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 name="Freeform 2065"/>
            <p:cNvSpPr>
              <a:spLocks/>
            </p:cNvSpPr>
            <p:nvPr/>
          </p:nvSpPr>
          <p:spPr bwMode="auto">
            <a:xfrm>
              <a:off x="7753350" y="52101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 name="Freeform 2069"/>
            <p:cNvSpPr>
              <a:spLocks/>
            </p:cNvSpPr>
            <p:nvPr/>
          </p:nvSpPr>
          <p:spPr bwMode="auto">
            <a:xfrm>
              <a:off x="8261350" y="52070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 name="Freeform 2070"/>
            <p:cNvSpPr>
              <a:spLocks/>
            </p:cNvSpPr>
            <p:nvPr/>
          </p:nvSpPr>
          <p:spPr bwMode="auto">
            <a:xfrm>
              <a:off x="8261350" y="52070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 name="Freeform 2071"/>
            <p:cNvSpPr>
              <a:spLocks/>
            </p:cNvSpPr>
            <p:nvPr/>
          </p:nvSpPr>
          <p:spPr bwMode="auto">
            <a:xfrm>
              <a:off x="835660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 name="Freeform 2072"/>
            <p:cNvSpPr>
              <a:spLocks/>
            </p:cNvSpPr>
            <p:nvPr/>
          </p:nvSpPr>
          <p:spPr bwMode="auto">
            <a:xfrm>
              <a:off x="835660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 name="Freeform 2076"/>
            <p:cNvSpPr>
              <a:spLocks/>
            </p:cNvSpPr>
            <p:nvPr/>
          </p:nvSpPr>
          <p:spPr bwMode="auto">
            <a:xfrm>
              <a:off x="91694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 name="Freeform 2077"/>
            <p:cNvSpPr>
              <a:spLocks/>
            </p:cNvSpPr>
            <p:nvPr/>
          </p:nvSpPr>
          <p:spPr bwMode="auto">
            <a:xfrm>
              <a:off x="931545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 name="Freeform 2080"/>
            <p:cNvSpPr>
              <a:spLocks noEditPoints="1"/>
            </p:cNvSpPr>
            <p:nvPr/>
          </p:nvSpPr>
          <p:spPr bwMode="auto">
            <a:xfrm>
              <a:off x="9829800" y="52006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 name="Freeform 2081"/>
            <p:cNvSpPr>
              <a:spLocks/>
            </p:cNvSpPr>
            <p:nvPr/>
          </p:nvSpPr>
          <p:spPr bwMode="auto">
            <a:xfrm>
              <a:off x="8934450" y="52070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 name="Freeform 2082"/>
            <p:cNvSpPr>
              <a:spLocks/>
            </p:cNvSpPr>
            <p:nvPr/>
          </p:nvSpPr>
          <p:spPr bwMode="auto">
            <a:xfrm>
              <a:off x="8934450" y="52070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 name="Freeform 2083"/>
            <p:cNvSpPr>
              <a:spLocks/>
            </p:cNvSpPr>
            <p:nvPr/>
          </p:nvSpPr>
          <p:spPr bwMode="auto">
            <a:xfrm>
              <a:off x="9029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 name="Freeform 2084"/>
            <p:cNvSpPr>
              <a:spLocks/>
            </p:cNvSpPr>
            <p:nvPr/>
          </p:nvSpPr>
          <p:spPr bwMode="auto">
            <a:xfrm>
              <a:off x="9029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 name="Freeform 2085"/>
            <p:cNvSpPr>
              <a:spLocks noEditPoints="1"/>
            </p:cNvSpPr>
            <p:nvPr/>
          </p:nvSpPr>
          <p:spPr bwMode="auto">
            <a:xfrm>
              <a:off x="10508045" y="51974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 name="Freeform 2089"/>
            <p:cNvSpPr>
              <a:spLocks/>
            </p:cNvSpPr>
            <p:nvPr/>
          </p:nvSpPr>
          <p:spPr bwMode="auto">
            <a:xfrm>
              <a:off x="11299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 name="Freeform 2090"/>
            <p:cNvSpPr>
              <a:spLocks/>
            </p:cNvSpPr>
            <p:nvPr/>
          </p:nvSpPr>
          <p:spPr bwMode="auto">
            <a:xfrm>
              <a:off x="11299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 name="Freeform 2091"/>
            <p:cNvSpPr>
              <a:spLocks/>
            </p:cNvSpPr>
            <p:nvPr/>
          </p:nvSpPr>
          <p:spPr bwMode="auto">
            <a:xfrm>
              <a:off x="11395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 name="Freeform 2092"/>
            <p:cNvSpPr>
              <a:spLocks/>
            </p:cNvSpPr>
            <p:nvPr/>
          </p:nvSpPr>
          <p:spPr bwMode="auto">
            <a:xfrm>
              <a:off x="11395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 name="Freeform 2093"/>
            <p:cNvSpPr>
              <a:spLocks noEditPoints="1"/>
            </p:cNvSpPr>
            <p:nvPr/>
          </p:nvSpPr>
          <p:spPr bwMode="auto">
            <a:xfrm>
              <a:off x="11769725" y="52006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 name="Freeform 2094"/>
            <p:cNvSpPr>
              <a:spLocks/>
            </p:cNvSpPr>
            <p:nvPr/>
          </p:nvSpPr>
          <p:spPr bwMode="auto">
            <a:xfrm>
              <a:off x="1197927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 name="Freeform 2096"/>
            <p:cNvSpPr>
              <a:spLocks/>
            </p:cNvSpPr>
            <p:nvPr/>
          </p:nvSpPr>
          <p:spPr bwMode="auto">
            <a:xfrm>
              <a:off x="11604625" y="53054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 name="Freeform 2097"/>
            <p:cNvSpPr>
              <a:spLocks/>
            </p:cNvSpPr>
            <p:nvPr/>
          </p:nvSpPr>
          <p:spPr bwMode="auto">
            <a:xfrm>
              <a:off x="11534775" y="52133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 name="Freeform 2098"/>
            <p:cNvSpPr>
              <a:spLocks noEditPoints="1"/>
            </p:cNvSpPr>
            <p:nvPr/>
          </p:nvSpPr>
          <p:spPr bwMode="auto">
            <a:xfrm>
              <a:off x="7910895" y="52006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 name="Freeform 2099"/>
            <p:cNvSpPr>
              <a:spLocks/>
            </p:cNvSpPr>
            <p:nvPr/>
          </p:nvSpPr>
          <p:spPr bwMode="auto">
            <a:xfrm>
              <a:off x="8061325" y="53657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 name="Freeform 2100"/>
            <p:cNvSpPr>
              <a:spLocks/>
            </p:cNvSpPr>
            <p:nvPr/>
          </p:nvSpPr>
          <p:spPr bwMode="auto">
            <a:xfrm>
              <a:off x="7905750" y="53625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 name="Freeform 2101"/>
            <p:cNvSpPr>
              <a:spLocks/>
            </p:cNvSpPr>
            <p:nvPr/>
          </p:nvSpPr>
          <p:spPr bwMode="auto">
            <a:xfrm>
              <a:off x="7899400" y="52832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 name="Freeform 2102"/>
            <p:cNvSpPr>
              <a:spLocks/>
            </p:cNvSpPr>
            <p:nvPr/>
          </p:nvSpPr>
          <p:spPr bwMode="auto">
            <a:xfrm>
              <a:off x="7921625" y="52101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 name="Freeform 2103"/>
            <p:cNvSpPr>
              <a:spLocks/>
            </p:cNvSpPr>
            <p:nvPr/>
          </p:nvSpPr>
          <p:spPr bwMode="auto">
            <a:xfrm>
              <a:off x="7896225" y="52038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 name="Freeform 2104"/>
            <p:cNvSpPr>
              <a:spLocks/>
            </p:cNvSpPr>
            <p:nvPr/>
          </p:nvSpPr>
          <p:spPr bwMode="auto">
            <a:xfrm>
              <a:off x="7905750" y="53625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 name="Freeform 2105"/>
            <p:cNvSpPr>
              <a:spLocks/>
            </p:cNvSpPr>
            <p:nvPr/>
          </p:nvSpPr>
          <p:spPr bwMode="auto">
            <a:xfrm>
              <a:off x="7905750" y="53625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 name="Freeform 2106"/>
            <p:cNvSpPr>
              <a:spLocks/>
            </p:cNvSpPr>
            <p:nvPr/>
          </p:nvSpPr>
          <p:spPr bwMode="auto">
            <a:xfrm>
              <a:off x="7905750" y="53625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 name="Freeform 2107"/>
            <p:cNvSpPr>
              <a:spLocks/>
            </p:cNvSpPr>
            <p:nvPr/>
          </p:nvSpPr>
          <p:spPr bwMode="auto">
            <a:xfrm>
              <a:off x="7905750" y="53625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 name="Freeform 2108"/>
            <p:cNvSpPr>
              <a:spLocks/>
            </p:cNvSpPr>
            <p:nvPr/>
          </p:nvSpPr>
          <p:spPr bwMode="auto">
            <a:xfrm>
              <a:off x="8061325" y="53689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 name="Freeform 2109"/>
            <p:cNvSpPr>
              <a:spLocks/>
            </p:cNvSpPr>
            <p:nvPr/>
          </p:nvSpPr>
          <p:spPr bwMode="auto">
            <a:xfrm>
              <a:off x="8061325" y="53689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 name="Freeform 2110"/>
            <p:cNvSpPr>
              <a:spLocks/>
            </p:cNvSpPr>
            <p:nvPr/>
          </p:nvSpPr>
          <p:spPr bwMode="auto">
            <a:xfrm>
              <a:off x="8061325" y="53657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 name="Freeform 2111"/>
            <p:cNvSpPr>
              <a:spLocks/>
            </p:cNvSpPr>
            <p:nvPr/>
          </p:nvSpPr>
          <p:spPr bwMode="auto">
            <a:xfrm>
              <a:off x="8061325" y="53657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 name="Freeform 2112"/>
            <p:cNvSpPr>
              <a:spLocks/>
            </p:cNvSpPr>
            <p:nvPr/>
          </p:nvSpPr>
          <p:spPr bwMode="auto">
            <a:xfrm>
              <a:off x="7899400" y="52832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 name="Freeform 2113"/>
            <p:cNvSpPr>
              <a:spLocks/>
            </p:cNvSpPr>
            <p:nvPr/>
          </p:nvSpPr>
          <p:spPr bwMode="auto">
            <a:xfrm>
              <a:off x="7899400" y="52832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 name="Freeform 2114"/>
            <p:cNvSpPr>
              <a:spLocks noEditPoints="1"/>
            </p:cNvSpPr>
            <p:nvPr/>
          </p:nvSpPr>
          <p:spPr bwMode="auto">
            <a:xfrm>
              <a:off x="7899400" y="52832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 name="Freeform 2115"/>
            <p:cNvSpPr>
              <a:spLocks/>
            </p:cNvSpPr>
            <p:nvPr/>
          </p:nvSpPr>
          <p:spPr bwMode="auto">
            <a:xfrm>
              <a:off x="7915275" y="53054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 name="Freeform 2116"/>
            <p:cNvSpPr>
              <a:spLocks/>
            </p:cNvSpPr>
            <p:nvPr/>
          </p:nvSpPr>
          <p:spPr bwMode="auto">
            <a:xfrm>
              <a:off x="7899400" y="52832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 name="Freeform 2117"/>
            <p:cNvSpPr>
              <a:spLocks noEditPoints="1"/>
            </p:cNvSpPr>
            <p:nvPr/>
          </p:nvSpPr>
          <p:spPr bwMode="auto">
            <a:xfrm>
              <a:off x="8083550" y="52641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 name="Freeform 2118"/>
            <p:cNvSpPr>
              <a:spLocks/>
            </p:cNvSpPr>
            <p:nvPr/>
          </p:nvSpPr>
          <p:spPr bwMode="auto">
            <a:xfrm>
              <a:off x="8089900" y="52736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 name="Freeform 2119"/>
            <p:cNvSpPr>
              <a:spLocks/>
            </p:cNvSpPr>
            <p:nvPr/>
          </p:nvSpPr>
          <p:spPr bwMode="auto">
            <a:xfrm>
              <a:off x="8083550" y="52641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 name="Freeform 2120"/>
            <p:cNvSpPr>
              <a:spLocks/>
            </p:cNvSpPr>
            <p:nvPr/>
          </p:nvSpPr>
          <p:spPr bwMode="auto">
            <a:xfrm>
              <a:off x="8010525" y="52482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 name="Freeform 2121"/>
            <p:cNvSpPr>
              <a:spLocks/>
            </p:cNvSpPr>
            <p:nvPr/>
          </p:nvSpPr>
          <p:spPr bwMode="auto">
            <a:xfrm>
              <a:off x="8010525" y="52482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 name="Freeform 2122"/>
            <p:cNvSpPr>
              <a:spLocks/>
            </p:cNvSpPr>
            <p:nvPr/>
          </p:nvSpPr>
          <p:spPr bwMode="auto">
            <a:xfrm>
              <a:off x="8159750" y="52514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 name="Freeform 2123"/>
            <p:cNvSpPr>
              <a:spLocks/>
            </p:cNvSpPr>
            <p:nvPr/>
          </p:nvSpPr>
          <p:spPr bwMode="auto">
            <a:xfrm>
              <a:off x="8159750" y="52514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 name="Freeform 2124"/>
            <p:cNvSpPr>
              <a:spLocks/>
            </p:cNvSpPr>
            <p:nvPr/>
          </p:nvSpPr>
          <p:spPr bwMode="auto">
            <a:xfrm>
              <a:off x="8074025" y="52482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 name="Freeform 2125"/>
            <p:cNvSpPr>
              <a:spLocks/>
            </p:cNvSpPr>
            <p:nvPr/>
          </p:nvSpPr>
          <p:spPr bwMode="auto">
            <a:xfrm>
              <a:off x="8074025" y="52482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 name="Freeform 2126"/>
            <p:cNvSpPr>
              <a:spLocks/>
            </p:cNvSpPr>
            <p:nvPr/>
          </p:nvSpPr>
          <p:spPr bwMode="auto">
            <a:xfrm>
              <a:off x="8096250" y="53276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 name="Freeform 2127"/>
            <p:cNvSpPr>
              <a:spLocks/>
            </p:cNvSpPr>
            <p:nvPr/>
          </p:nvSpPr>
          <p:spPr bwMode="auto">
            <a:xfrm>
              <a:off x="8096250" y="53276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 name="Freeform 2128"/>
            <p:cNvSpPr>
              <a:spLocks/>
            </p:cNvSpPr>
            <p:nvPr/>
          </p:nvSpPr>
          <p:spPr bwMode="auto">
            <a:xfrm>
              <a:off x="8089900" y="52768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 name="Freeform 2129"/>
            <p:cNvSpPr>
              <a:spLocks/>
            </p:cNvSpPr>
            <p:nvPr/>
          </p:nvSpPr>
          <p:spPr bwMode="auto">
            <a:xfrm>
              <a:off x="8089900" y="52768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 name="Freeform 2130"/>
            <p:cNvSpPr>
              <a:spLocks/>
            </p:cNvSpPr>
            <p:nvPr/>
          </p:nvSpPr>
          <p:spPr bwMode="auto">
            <a:xfrm>
              <a:off x="8089900" y="52768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 name="Freeform 2131"/>
            <p:cNvSpPr>
              <a:spLocks/>
            </p:cNvSpPr>
            <p:nvPr/>
          </p:nvSpPr>
          <p:spPr bwMode="auto">
            <a:xfrm>
              <a:off x="8089900" y="52768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 name="Freeform 2132"/>
            <p:cNvSpPr>
              <a:spLocks/>
            </p:cNvSpPr>
            <p:nvPr/>
          </p:nvSpPr>
          <p:spPr bwMode="auto">
            <a:xfrm>
              <a:off x="1005205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0" name="Freeform 2058"/>
            <p:cNvSpPr>
              <a:spLocks/>
            </p:cNvSpPr>
            <p:nvPr/>
          </p:nvSpPr>
          <p:spPr bwMode="auto">
            <a:xfrm>
              <a:off x="390525"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1" name="Freeform 2063"/>
            <p:cNvSpPr>
              <a:spLocks/>
            </p:cNvSpPr>
            <p:nvPr/>
          </p:nvSpPr>
          <p:spPr bwMode="auto">
            <a:xfrm>
              <a:off x="1358900"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2" name="Freeform 2064"/>
            <p:cNvSpPr>
              <a:spLocks/>
            </p:cNvSpPr>
            <p:nvPr/>
          </p:nvSpPr>
          <p:spPr bwMode="auto">
            <a:xfrm>
              <a:off x="1508125"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3" name="Freeform 2068"/>
            <p:cNvSpPr>
              <a:spLocks/>
            </p:cNvSpPr>
            <p:nvPr/>
          </p:nvSpPr>
          <p:spPr bwMode="auto">
            <a:xfrm>
              <a:off x="107315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4" name="Freeform 2073"/>
            <p:cNvSpPr>
              <a:spLocks/>
            </p:cNvSpPr>
            <p:nvPr/>
          </p:nvSpPr>
          <p:spPr bwMode="auto">
            <a:xfrm>
              <a:off x="24003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5" name="Freeform 2076"/>
            <p:cNvSpPr>
              <a:spLocks/>
            </p:cNvSpPr>
            <p:nvPr/>
          </p:nvSpPr>
          <p:spPr bwMode="auto">
            <a:xfrm>
              <a:off x="30734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6" name="Freeform 2077"/>
            <p:cNvSpPr>
              <a:spLocks/>
            </p:cNvSpPr>
            <p:nvPr/>
          </p:nvSpPr>
          <p:spPr bwMode="auto">
            <a:xfrm>
              <a:off x="3219450"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7" name="Freeform 2084"/>
            <p:cNvSpPr>
              <a:spLocks/>
            </p:cNvSpPr>
            <p:nvPr/>
          </p:nvSpPr>
          <p:spPr bwMode="auto">
            <a:xfrm>
              <a:off x="2933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8" name="Freeform 2085"/>
            <p:cNvSpPr>
              <a:spLocks noEditPoints="1"/>
            </p:cNvSpPr>
            <p:nvPr/>
          </p:nvSpPr>
          <p:spPr bwMode="auto">
            <a:xfrm>
              <a:off x="4412045" y="55403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9" name="Freeform 2087"/>
            <p:cNvSpPr>
              <a:spLocks/>
            </p:cNvSpPr>
            <p:nvPr/>
          </p:nvSpPr>
          <p:spPr bwMode="auto">
            <a:xfrm>
              <a:off x="461645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0" name="Freeform 2088"/>
            <p:cNvSpPr>
              <a:spLocks noEditPoints="1"/>
            </p:cNvSpPr>
            <p:nvPr/>
          </p:nvSpPr>
          <p:spPr bwMode="auto">
            <a:xfrm>
              <a:off x="4981575" y="55435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1" name="Freeform 2096"/>
            <p:cNvSpPr>
              <a:spLocks/>
            </p:cNvSpPr>
            <p:nvPr/>
          </p:nvSpPr>
          <p:spPr bwMode="auto">
            <a:xfrm>
              <a:off x="5508625" y="56483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2" name="Freeform 2097"/>
            <p:cNvSpPr>
              <a:spLocks/>
            </p:cNvSpPr>
            <p:nvPr/>
          </p:nvSpPr>
          <p:spPr bwMode="auto">
            <a:xfrm>
              <a:off x="5438775" y="55562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3" name="Freeform 2057"/>
            <p:cNvSpPr>
              <a:spLocks noEditPoints="1"/>
            </p:cNvSpPr>
            <p:nvPr/>
          </p:nvSpPr>
          <p:spPr bwMode="auto">
            <a:xfrm>
              <a:off x="6267450" y="55435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4" name="Freeform 2061"/>
            <p:cNvSpPr>
              <a:spLocks/>
            </p:cNvSpPr>
            <p:nvPr/>
          </p:nvSpPr>
          <p:spPr bwMode="auto">
            <a:xfrm>
              <a:off x="6924675"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5" name="Freeform 2065"/>
            <p:cNvSpPr>
              <a:spLocks/>
            </p:cNvSpPr>
            <p:nvPr/>
          </p:nvSpPr>
          <p:spPr bwMode="auto">
            <a:xfrm>
              <a:off x="7753350" y="55530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6" name="Freeform 2069"/>
            <p:cNvSpPr>
              <a:spLocks/>
            </p:cNvSpPr>
            <p:nvPr/>
          </p:nvSpPr>
          <p:spPr bwMode="auto">
            <a:xfrm>
              <a:off x="8261350" y="55499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7" name="Freeform 2070"/>
            <p:cNvSpPr>
              <a:spLocks/>
            </p:cNvSpPr>
            <p:nvPr/>
          </p:nvSpPr>
          <p:spPr bwMode="auto">
            <a:xfrm>
              <a:off x="8261350" y="55499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8" name="Freeform 2071"/>
            <p:cNvSpPr>
              <a:spLocks/>
            </p:cNvSpPr>
            <p:nvPr/>
          </p:nvSpPr>
          <p:spPr bwMode="auto">
            <a:xfrm>
              <a:off x="835660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9" name="Freeform 2072"/>
            <p:cNvSpPr>
              <a:spLocks/>
            </p:cNvSpPr>
            <p:nvPr/>
          </p:nvSpPr>
          <p:spPr bwMode="auto">
            <a:xfrm>
              <a:off x="835660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0" name="Freeform 2076"/>
            <p:cNvSpPr>
              <a:spLocks/>
            </p:cNvSpPr>
            <p:nvPr/>
          </p:nvSpPr>
          <p:spPr bwMode="auto">
            <a:xfrm>
              <a:off x="91694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1" name="Freeform 2080"/>
            <p:cNvSpPr>
              <a:spLocks noEditPoints="1"/>
            </p:cNvSpPr>
            <p:nvPr/>
          </p:nvSpPr>
          <p:spPr bwMode="auto">
            <a:xfrm>
              <a:off x="9829800" y="55435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2" name="Freeform 2081"/>
            <p:cNvSpPr>
              <a:spLocks/>
            </p:cNvSpPr>
            <p:nvPr/>
          </p:nvSpPr>
          <p:spPr bwMode="auto">
            <a:xfrm>
              <a:off x="8934450" y="55499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3" name="Freeform 2082"/>
            <p:cNvSpPr>
              <a:spLocks/>
            </p:cNvSpPr>
            <p:nvPr/>
          </p:nvSpPr>
          <p:spPr bwMode="auto">
            <a:xfrm>
              <a:off x="8934450" y="55499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4" name="Freeform 2083"/>
            <p:cNvSpPr>
              <a:spLocks/>
            </p:cNvSpPr>
            <p:nvPr/>
          </p:nvSpPr>
          <p:spPr bwMode="auto">
            <a:xfrm>
              <a:off x="9029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5" name="Freeform 2084"/>
            <p:cNvSpPr>
              <a:spLocks/>
            </p:cNvSpPr>
            <p:nvPr/>
          </p:nvSpPr>
          <p:spPr bwMode="auto">
            <a:xfrm>
              <a:off x="9029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6" name="Freeform 2085"/>
            <p:cNvSpPr>
              <a:spLocks noEditPoints="1"/>
            </p:cNvSpPr>
            <p:nvPr/>
          </p:nvSpPr>
          <p:spPr bwMode="auto">
            <a:xfrm>
              <a:off x="10508045" y="55403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7" name="Freeform 2089"/>
            <p:cNvSpPr>
              <a:spLocks/>
            </p:cNvSpPr>
            <p:nvPr/>
          </p:nvSpPr>
          <p:spPr bwMode="auto">
            <a:xfrm>
              <a:off x="11299825" y="55499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8" name="Freeform 2090"/>
            <p:cNvSpPr>
              <a:spLocks/>
            </p:cNvSpPr>
            <p:nvPr/>
          </p:nvSpPr>
          <p:spPr bwMode="auto">
            <a:xfrm>
              <a:off x="11299825" y="55499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9" name="Freeform 2091"/>
            <p:cNvSpPr>
              <a:spLocks/>
            </p:cNvSpPr>
            <p:nvPr/>
          </p:nvSpPr>
          <p:spPr bwMode="auto">
            <a:xfrm>
              <a:off x="11395075"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0" name="Freeform 2092"/>
            <p:cNvSpPr>
              <a:spLocks/>
            </p:cNvSpPr>
            <p:nvPr/>
          </p:nvSpPr>
          <p:spPr bwMode="auto">
            <a:xfrm>
              <a:off x="11395075"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1" name="Freeform 2093"/>
            <p:cNvSpPr>
              <a:spLocks noEditPoints="1"/>
            </p:cNvSpPr>
            <p:nvPr/>
          </p:nvSpPr>
          <p:spPr bwMode="auto">
            <a:xfrm>
              <a:off x="11769725" y="55435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2" name="Freeform 2094"/>
            <p:cNvSpPr>
              <a:spLocks/>
            </p:cNvSpPr>
            <p:nvPr/>
          </p:nvSpPr>
          <p:spPr bwMode="auto">
            <a:xfrm>
              <a:off x="11979275"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3" name="Freeform 2096"/>
            <p:cNvSpPr>
              <a:spLocks/>
            </p:cNvSpPr>
            <p:nvPr/>
          </p:nvSpPr>
          <p:spPr bwMode="auto">
            <a:xfrm>
              <a:off x="11604625" y="56483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4" name="Freeform 2097"/>
            <p:cNvSpPr>
              <a:spLocks/>
            </p:cNvSpPr>
            <p:nvPr/>
          </p:nvSpPr>
          <p:spPr bwMode="auto">
            <a:xfrm>
              <a:off x="11534775" y="55562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5" name="Freeform 2098"/>
            <p:cNvSpPr>
              <a:spLocks noEditPoints="1"/>
            </p:cNvSpPr>
            <p:nvPr/>
          </p:nvSpPr>
          <p:spPr bwMode="auto">
            <a:xfrm>
              <a:off x="7910895" y="55435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6" name="Freeform 2099"/>
            <p:cNvSpPr>
              <a:spLocks/>
            </p:cNvSpPr>
            <p:nvPr/>
          </p:nvSpPr>
          <p:spPr bwMode="auto">
            <a:xfrm>
              <a:off x="8061325" y="57086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7" name="Freeform 2100"/>
            <p:cNvSpPr>
              <a:spLocks/>
            </p:cNvSpPr>
            <p:nvPr/>
          </p:nvSpPr>
          <p:spPr bwMode="auto">
            <a:xfrm>
              <a:off x="7905750" y="57054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8" name="Freeform 2101"/>
            <p:cNvSpPr>
              <a:spLocks/>
            </p:cNvSpPr>
            <p:nvPr/>
          </p:nvSpPr>
          <p:spPr bwMode="auto">
            <a:xfrm>
              <a:off x="7899400" y="56261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9" name="Freeform 2102"/>
            <p:cNvSpPr>
              <a:spLocks/>
            </p:cNvSpPr>
            <p:nvPr/>
          </p:nvSpPr>
          <p:spPr bwMode="auto">
            <a:xfrm>
              <a:off x="7921625" y="55530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0" name="Freeform 2103"/>
            <p:cNvSpPr>
              <a:spLocks/>
            </p:cNvSpPr>
            <p:nvPr/>
          </p:nvSpPr>
          <p:spPr bwMode="auto">
            <a:xfrm>
              <a:off x="7896225" y="55467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1" name="Freeform 2104"/>
            <p:cNvSpPr>
              <a:spLocks/>
            </p:cNvSpPr>
            <p:nvPr/>
          </p:nvSpPr>
          <p:spPr bwMode="auto">
            <a:xfrm>
              <a:off x="7905750" y="57054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2" name="Freeform 2105"/>
            <p:cNvSpPr>
              <a:spLocks/>
            </p:cNvSpPr>
            <p:nvPr/>
          </p:nvSpPr>
          <p:spPr bwMode="auto">
            <a:xfrm>
              <a:off x="7905750" y="57054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3" name="Freeform 2106"/>
            <p:cNvSpPr>
              <a:spLocks/>
            </p:cNvSpPr>
            <p:nvPr/>
          </p:nvSpPr>
          <p:spPr bwMode="auto">
            <a:xfrm>
              <a:off x="7905750" y="57054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4" name="Freeform 2107"/>
            <p:cNvSpPr>
              <a:spLocks/>
            </p:cNvSpPr>
            <p:nvPr/>
          </p:nvSpPr>
          <p:spPr bwMode="auto">
            <a:xfrm>
              <a:off x="7905750" y="57054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5" name="Freeform 2108"/>
            <p:cNvSpPr>
              <a:spLocks/>
            </p:cNvSpPr>
            <p:nvPr/>
          </p:nvSpPr>
          <p:spPr bwMode="auto">
            <a:xfrm>
              <a:off x="8061325" y="57118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6" name="Freeform 2109"/>
            <p:cNvSpPr>
              <a:spLocks/>
            </p:cNvSpPr>
            <p:nvPr/>
          </p:nvSpPr>
          <p:spPr bwMode="auto">
            <a:xfrm>
              <a:off x="8061325" y="57118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7" name="Freeform 2110"/>
            <p:cNvSpPr>
              <a:spLocks/>
            </p:cNvSpPr>
            <p:nvPr/>
          </p:nvSpPr>
          <p:spPr bwMode="auto">
            <a:xfrm>
              <a:off x="8061325" y="57086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8" name="Freeform 2111"/>
            <p:cNvSpPr>
              <a:spLocks/>
            </p:cNvSpPr>
            <p:nvPr/>
          </p:nvSpPr>
          <p:spPr bwMode="auto">
            <a:xfrm>
              <a:off x="8061325" y="57086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9" name="Freeform 2112"/>
            <p:cNvSpPr>
              <a:spLocks/>
            </p:cNvSpPr>
            <p:nvPr/>
          </p:nvSpPr>
          <p:spPr bwMode="auto">
            <a:xfrm>
              <a:off x="7899400" y="56261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0" name="Freeform 2113"/>
            <p:cNvSpPr>
              <a:spLocks/>
            </p:cNvSpPr>
            <p:nvPr/>
          </p:nvSpPr>
          <p:spPr bwMode="auto">
            <a:xfrm>
              <a:off x="7899400" y="56261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1" name="Freeform 2114"/>
            <p:cNvSpPr>
              <a:spLocks noEditPoints="1"/>
            </p:cNvSpPr>
            <p:nvPr/>
          </p:nvSpPr>
          <p:spPr bwMode="auto">
            <a:xfrm>
              <a:off x="7899400" y="56261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2" name="Freeform 2115"/>
            <p:cNvSpPr>
              <a:spLocks/>
            </p:cNvSpPr>
            <p:nvPr/>
          </p:nvSpPr>
          <p:spPr bwMode="auto">
            <a:xfrm>
              <a:off x="7915275" y="56483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3" name="Freeform 2116"/>
            <p:cNvSpPr>
              <a:spLocks/>
            </p:cNvSpPr>
            <p:nvPr/>
          </p:nvSpPr>
          <p:spPr bwMode="auto">
            <a:xfrm>
              <a:off x="7899400" y="56261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4" name="Freeform 2117"/>
            <p:cNvSpPr>
              <a:spLocks noEditPoints="1"/>
            </p:cNvSpPr>
            <p:nvPr/>
          </p:nvSpPr>
          <p:spPr bwMode="auto">
            <a:xfrm>
              <a:off x="8083550" y="56070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5" name="Freeform 2118"/>
            <p:cNvSpPr>
              <a:spLocks/>
            </p:cNvSpPr>
            <p:nvPr/>
          </p:nvSpPr>
          <p:spPr bwMode="auto">
            <a:xfrm>
              <a:off x="8089900" y="56165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6" name="Freeform 2119"/>
            <p:cNvSpPr>
              <a:spLocks/>
            </p:cNvSpPr>
            <p:nvPr/>
          </p:nvSpPr>
          <p:spPr bwMode="auto">
            <a:xfrm>
              <a:off x="8083550" y="56070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7" name="Freeform 2120"/>
            <p:cNvSpPr>
              <a:spLocks/>
            </p:cNvSpPr>
            <p:nvPr/>
          </p:nvSpPr>
          <p:spPr bwMode="auto">
            <a:xfrm>
              <a:off x="8010525" y="55911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8" name="Freeform 2121"/>
            <p:cNvSpPr>
              <a:spLocks/>
            </p:cNvSpPr>
            <p:nvPr/>
          </p:nvSpPr>
          <p:spPr bwMode="auto">
            <a:xfrm>
              <a:off x="8010525" y="55911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9" name="Freeform 2122"/>
            <p:cNvSpPr>
              <a:spLocks/>
            </p:cNvSpPr>
            <p:nvPr/>
          </p:nvSpPr>
          <p:spPr bwMode="auto">
            <a:xfrm>
              <a:off x="8159750" y="55943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0" name="Freeform 2123"/>
            <p:cNvSpPr>
              <a:spLocks/>
            </p:cNvSpPr>
            <p:nvPr/>
          </p:nvSpPr>
          <p:spPr bwMode="auto">
            <a:xfrm>
              <a:off x="8159750" y="55943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1" name="Freeform 2124"/>
            <p:cNvSpPr>
              <a:spLocks/>
            </p:cNvSpPr>
            <p:nvPr/>
          </p:nvSpPr>
          <p:spPr bwMode="auto">
            <a:xfrm>
              <a:off x="8074025" y="55911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2" name="Freeform 2125"/>
            <p:cNvSpPr>
              <a:spLocks/>
            </p:cNvSpPr>
            <p:nvPr/>
          </p:nvSpPr>
          <p:spPr bwMode="auto">
            <a:xfrm>
              <a:off x="8074025" y="55911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3" name="Freeform 2126"/>
            <p:cNvSpPr>
              <a:spLocks/>
            </p:cNvSpPr>
            <p:nvPr/>
          </p:nvSpPr>
          <p:spPr bwMode="auto">
            <a:xfrm>
              <a:off x="8096250" y="56705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4" name="Freeform 2127"/>
            <p:cNvSpPr>
              <a:spLocks/>
            </p:cNvSpPr>
            <p:nvPr/>
          </p:nvSpPr>
          <p:spPr bwMode="auto">
            <a:xfrm>
              <a:off x="8096250" y="56705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5" name="Freeform 2128"/>
            <p:cNvSpPr>
              <a:spLocks/>
            </p:cNvSpPr>
            <p:nvPr/>
          </p:nvSpPr>
          <p:spPr bwMode="auto">
            <a:xfrm>
              <a:off x="8089900" y="56197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6" name="Freeform 2129"/>
            <p:cNvSpPr>
              <a:spLocks/>
            </p:cNvSpPr>
            <p:nvPr/>
          </p:nvSpPr>
          <p:spPr bwMode="auto">
            <a:xfrm>
              <a:off x="8089900" y="56197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7" name="Freeform 2130"/>
            <p:cNvSpPr>
              <a:spLocks/>
            </p:cNvSpPr>
            <p:nvPr/>
          </p:nvSpPr>
          <p:spPr bwMode="auto">
            <a:xfrm>
              <a:off x="8089900" y="56197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8" name="Freeform 2131"/>
            <p:cNvSpPr>
              <a:spLocks/>
            </p:cNvSpPr>
            <p:nvPr/>
          </p:nvSpPr>
          <p:spPr bwMode="auto">
            <a:xfrm>
              <a:off x="8089900" y="56197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9" name="Freeform 2132"/>
            <p:cNvSpPr>
              <a:spLocks/>
            </p:cNvSpPr>
            <p:nvPr/>
          </p:nvSpPr>
          <p:spPr bwMode="auto">
            <a:xfrm>
              <a:off x="1005205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0" name="Freeform 2058"/>
            <p:cNvSpPr>
              <a:spLocks/>
            </p:cNvSpPr>
            <p:nvPr/>
          </p:nvSpPr>
          <p:spPr bwMode="auto">
            <a:xfrm>
              <a:off x="390525"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1" name="Freeform 2064"/>
            <p:cNvSpPr>
              <a:spLocks/>
            </p:cNvSpPr>
            <p:nvPr/>
          </p:nvSpPr>
          <p:spPr bwMode="auto">
            <a:xfrm>
              <a:off x="1508125"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2" name="Freeform 2068"/>
            <p:cNvSpPr>
              <a:spLocks/>
            </p:cNvSpPr>
            <p:nvPr/>
          </p:nvSpPr>
          <p:spPr bwMode="auto">
            <a:xfrm>
              <a:off x="107315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3" name="Freeform 2073"/>
            <p:cNvSpPr>
              <a:spLocks/>
            </p:cNvSpPr>
            <p:nvPr/>
          </p:nvSpPr>
          <p:spPr bwMode="auto">
            <a:xfrm>
              <a:off x="24003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4" name="Freeform 2076"/>
            <p:cNvSpPr>
              <a:spLocks/>
            </p:cNvSpPr>
            <p:nvPr/>
          </p:nvSpPr>
          <p:spPr bwMode="auto">
            <a:xfrm>
              <a:off x="30734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5" name="Freeform 2077"/>
            <p:cNvSpPr>
              <a:spLocks/>
            </p:cNvSpPr>
            <p:nvPr/>
          </p:nvSpPr>
          <p:spPr bwMode="auto">
            <a:xfrm>
              <a:off x="3219450"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6" name="Freeform 2084"/>
            <p:cNvSpPr>
              <a:spLocks/>
            </p:cNvSpPr>
            <p:nvPr/>
          </p:nvSpPr>
          <p:spPr bwMode="auto">
            <a:xfrm>
              <a:off x="2933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7" name="Freeform 2085"/>
            <p:cNvSpPr>
              <a:spLocks noEditPoints="1"/>
            </p:cNvSpPr>
            <p:nvPr/>
          </p:nvSpPr>
          <p:spPr bwMode="auto">
            <a:xfrm>
              <a:off x="4412045" y="58959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8" name="Freeform 2087"/>
            <p:cNvSpPr>
              <a:spLocks/>
            </p:cNvSpPr>
            <p:nvPr/>
          </p:nvSpPr>
          <p:spPr bwMode="auto">
            <a:xfrm>
              <a:off x="461645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9" name="Freeform 2088"/>
            <p:cNvSpPr>
              <a:spLocks noEditPoints="1"/>
            </p:cNvSpPr>
            <p:nvPr/>
          </p:nvSpPr>
          <p:spPr bwMode="auto">
            <a:xfrm>
              <a:off x="4981575" y="58991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0" name="Freeform 2096"/>
            <p:cNvSpPr>
              <a:spLocks/>
            </p:cNvSpPr>
            <p:nvPr/>
          </p:nvSpPr>
          <p:spPr bwMode="auto">
            <a:xfrm>
              <a:off x="5508625" y="60039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1" name="Freeform 2097"/>
            <p:cNvSpPr>
              <a:spLocks/>
            </p:cNvSpPr>
            <p:nvPr/>
          </p:nvSpPr>
          <p:spPr bwMode="auto">
            <a:xfrm>
              <a:off x="5438775" y="59118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2" name="Freeform 2057"/>
            <p:cNvSpPr>
              <a:spLocks noEditPoints="1"/>
            </p:cNvSpPr>
            <p:nvPr/>
          </p:nvSpPr>
          <p:spPr bwMode="auto">
            <a:xfrm>
              <a:off x="6267450" y="58991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3" name="Freeform 2061"/>
            <p:cNvSpPr>
              <a:spLocks/>
            </p:cNvSpPr>
            <p:nvPr/>
          </p:nvSpPr>
          <p:spPr bwMode="auto">
            <a:xfrm>
              <a:off x="6924675"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4" name="Freeform 2069"/>
            <p:cNvSpPr>
              <a:spLocks/>
            </p:cNvSpPr>
            <p:nvPr/>
          </p:nvSpPr>
          <p:spPr bwMode="auto">
            <a:xfrm>
              <a:off x="8261350" y="59055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5" name="Freeform 2070"/>
            <p:cNvSpPr>
              <a:spLocks/>
            </p:cNvSpPr>
            <p:nvPr/>
          </p:nvSpPr>
          <p:spPr bwMode="auto">
            <a:xfrm>
              <a:off x="8261350" y="59055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6" name="Freeform 2071"/>
            <p:cNvSpPr>
              <a:spLocks/>
            </p:cNvSpPr>
            <p:nvPr/>
          </p:nvSpPr>
          <p:spPr bwMode="auto">
            <a:xfrm>
              <a:off x="835660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7" name="Freeform 2072"/>
            <p:cNvSpPr>
              <a:spLocks/>
            </p:cNvSpPr>
            <p:nvPr/>
          </p:nvSpPr>
          <p:spPr bwMode="auto">
            <a:xfrm>
              <a:off x="835660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8" name="Freeform 2076"/>
            <p:cNvSpPr>
              <a:spLocks/>
            </p:cNvSpPr>
            <p:nvPr/>
          </p:nvSpPr>
          <p:spPr bwMode="auto">
            <a:xfrm>
              <a:off x="91694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9" name="Freeform 2081"/>
            <p:cNvSpPr>
              <a:spLocks/>
            </p:cNvSpPr>
            <p:nvPr/>
          </p:nvSpPr>
          <p:spPr bwMode="auto">
            <a:xfrm>
              <a:off x="8934450" y="59055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0" name="Freeform 2082"/>
            <p:cNvSpPr>
              <a:spLocks/>
            </p:cNvSpPr>
            <p:nvPr/>
          </p:nvSpPr>
          <p:spPr bwMode="auto">
            <a:xfrm>
              <a:off x="8934450" y="59055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1" name="Freeform 2083"/>
            <p:cNvSpPr>
              <a:spLocks/>
            </p:cNvSpPr>
            <p:nvPr/>
          </p:nvSpPr>
          <p:spPr bwMode="auto">
            <a:xfrm>
              <a:off x="9029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2" name="Freeform 2084"/>
            <p:cNvSpPr>
              <a:spLocks/>
            </p:cNvSpPr>
            <p:nvPr/>
          </p:nvSpPr>
          <p:spPr bwMode="auto">
            <a:xfrm>
              <a:off x="9029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3" name="Freeform 2093"/>
            <p:cNvSpPr>
              <a:spLocks noEditPoints="1"/>
            </p:cNvSpPr>
            <p:nvPr/>
          </p:nvSpPr>
          <p:spPr bwMode="auto">
            <a:xfrm>
              <a:off x="11769725" y="58991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4" name="Freeform 2094"/>
            <p:cNvSpPr>
              <a:spLocks/>
            </p:cNvSpPr>
            <p:nvPr/>
          </p:nvSpPr>
          <p:spPr bwMode="auto">
            <a:xfrm>
              <a:off x="11979275"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5" name="Freeform 2096"/>
            <p:cNvSpPr>
              <a:spLocks/>
            </p:cNvSpPr>
            <p:nvPr/>
          </p:nvSpPr>
          <p:spPr bwMode="auto">
            <a:xfrm>
              <a:off x="11604625" y="60039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6" name="Freeform 2097"/>
            <p:cNvSpPr>
              <a:spLocks/>
            </p:cNvSpPr>
            <p:nvPr/>
          </p:nvSpPr>
          <p:spPr bwMode="auto">
            <a:xfrm>
              <a:off x="11534775" y="59118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7" name="Freeform 2098"/>
            <p:cNvSpPr>
              <a:spLocks noEditPoints="1"/>
            </p:cNvSpPr>
            <p:nvPr/>
          </p:nvSpPr>
          <p:spPr bwMode="auto">
            <a:xfrm>
              <a:off x="7910895" y="58991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8" name="Freeform 2099"/>
            <p:cNvSpPr>
              <a:spLocks/>
            </p:cNvSpPr>
            <p:nvPr/>
          </p:nvSpPr>
          <p:spPr bwMode="auto">
            <a:xfrm>
              <a:off x="8061325" y="60642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9" name="Freeform 2100"/>
            <p:cNvSpPr>
              <a:spLocks/>
            </p:cNvSpPr>
            <p:nvPr/>
          </p:nvSpPr>
          <p:spPr bwMode="auto">
            <a:xfrm>
              <a:off x="7905750" y="60610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0" name="Freeform 2101"/>
            <p:cNvSpPr>
              <a:spLocks/>
            </p:cNvSpPr>
            <p:nvPr/>
          </p:nvSpPr>
          <p:spPr bwMode="auto">
            <a:xfrm>
              <a:off x="7899400" y="59817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1" name="Freeform 2102"/>
            <p:cNvSpPr>
              <a:spLocks/>
            </p:cNvSpPr>
            <p:nvPr/>
          </p:nvSpPr>
          <p:spPr bwMode="auto">
            <a:xfrm>
              <a:off x="7921625" y="59086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2" name="Freeform 2103"/>
            <p:cNvSpPr>
              <a:spLocks/>
            </p:cNvSpPr>
            <p:nvPr/>
          </p:nvSpPr>
          <p:spPr bwMode="auto">
            <a:xfrm>
              <a:off x="7896225" y="59023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3" name="Freeform 2104"/>
            <p:cNvSpPr>
              <a:spLocks/>
            </p:cNvSpPr>
            <p:nvPr/>
          </p:nvSpPr>
          <p:spPr bwMode="auto">
            <a:xfrm>
              <a:off x="7905750" y="60610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4" name="Freeform 2105"/>
            <p:cNvSpPr>
              <a:spLocks/>
            </p:cNvSpPr>
            <p:nvPr/>
          </p:nvSpPr>
          <p:spPr bwMode="auto">
            <a:xfrm>
              <a:off x="7905750" y="60610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5" name="Freeform 2106"/>
            <p:cNvSpPr>
              <a:spLocks/>
            </p:cNvSpPr>
            <p:nvPr/>
          </p:nvSpPr>
          <p:spPr bwMode="auto">
            <a:xfrm>
              <a:off x="7905750" y="60610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6" name="Freeform 2107"/>
            <p:cNvSpPr>
              <a:spLocks/>
            </p:cNvSpPr>
            <p:nvPr/>
          </p:nvSpPr>
          <p:spPr bwMode="auto">
            <a:xfrm>
              <a:off x="7905750" y="60610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7" name="Freeform 2108"/>
            <p:cNvSpPr>
              <a:spLocks/>
            </p:cNvSpPr>
            <p:nvPr/>
          </p:nvSpPr>
          <p:spPr bwMode="auto">
            <a:xfrm>
              <a:off x="8061325" y="60674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8" name="Freeform 2109"/>
            <p:cNvSpPr>
              <a:spLocks/>
            </p:cNvSpPr>
            <p:nvPr/>
          </p:nvSpPr>
          <p:spPr bwMode="auto">
            <a:xfrm>
              <a:off x="8061325" y="60674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9" name="Freeform 2110"/>
            <p:cNvSpPr>
              <a:spLocks/>
            </p:cNvSpPr>
            <p:nvPr/>
          </p:nvSpPr>
          <p:spPr bwMode="auto">
            <a:xfrm>
              <a:off x="8061325" y="60642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0" name="Freeform 2111"/>
            <p:cNvSpPr>
              <a:spLocks/>
            </p:cNvSpPr>
            <p:nvPr/>
          </p:nvSpPr>
          <p:spPr bwMode="auto">
            <a:xfrm>
              <a:off x="8061325" y="60642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1" name="Freeform 2112"/>
            <p:cNvSpPr>
              <a:spLocks/>
            </p:cNvSpPr>
            <p:nvPr/>
          </p:nvSpPr>
          <p:spPr bwMode="auto">
            <a:xfrm>
              <a:off x="7899400" y="59817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2" name="Freeform 2113"/>
            <p:cNvSpPr>
              <a:spLocks/>
            </p:cNvSpPr>
            <p:nvPr/>
          </p:nvSpPr>
          <p:spPr bwMode="auto">
            <a:xfrm>
              <a:off x="7899400" y="59817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3" name="Freeform 2114"/>
            <p:cNvSpPr>
              <a:spLocks noEditPoints="1"/>
            </p:cNvSpPr>
            <p:nvPr/>
          </p:nvSpPr>
          <p:spPr bwMode="auto">
            <a:xfrm>
              <a:off x="7899400" y="59817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4" name="Freeform 2115"/>
            <p:cNvSpPr>
              <a:spLocks/>
            </p:cNvSpPr>
            <p:nvPr/>
          </p:nvSpPr>
          <p:spPr bwMode="auto">
            <a:xfrm>
              <a:off x="7915275" y="60039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5" name="Freeform 2116"/>
            <p:cNvSpPr>
              <a:spLocks/>
            </p:cNvSpPr>
            <p:nvPr/>
          </p:nvSpPr>
          <p:spPr bwMode="auto">
            <a:xfrm>
              <a:off x="7899400" y="59817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6" name="Freeform 2117"/>
            <p:cNvSpPr>
              <a:spLocks noEditPoints="1"/>
            </p:cNvSpPr>
            <p:nvPr/>
          </p:nvSpPr>
          <p:spPr bwMode="auto">
            <a:xfrm>
              <a:off x="8083550" y="59626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7" name="Freeform 2118"/>
            <p:cNvSpPr>
              <a:spLocks/>
            </p:cNvSpPr>
            <p:nvPr/>
          </p:nvSpPr>
          <p:spPr bwMode="auto">
            <a:xfrm>
              <a:off x="8089900" y="59721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8" name="Freeform 2119"/>
            <p:cNvSpPr>
              <a:spLocks/>
            </p:cNvSpPr>
            <p:nvPr/>
          </p:nvSpPr>
          <p:spPr bwMode="auto">
            <a:xfrm>
              <a:off x="8083550" y="59626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9" name="Freeform 2120"/>
            <p:cNvSpPr>
              <a:spLocks/>
            </p:cNvSpPr>
            <p:nvPr/>
          </p:nvSpPr>
          <p:spPr bwMode="auto">
            <a:xfrm>
              <a:off x="8010525" y="59467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0" name="Freeform 2121"/>
            <p:cNvSpPr>
              <a:spLocks/>
            </p:cNvSpPr>
            <p:nvPr/>
          </p:nvSpPr>
          <p:spPr bwMode="auto">
            <a:xfrm>
              <a:off x="8010525" y="59467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1" name="Freeform 2122"/>
            <p:cNvSpPr>
              <a:spLocks/>
            </p:cNvSpPr>
            <p:nvPr/>
          </p:nvSpPr>
          <p:spPr bwMode="auto">
            <a:xfrm>
              <a:off x="8159750" y="59499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2" name="Freeform 2123"/>
            <p:cNvSpPr>
              <a:spLocks/>
            </p:cNvSpPr>
            <p:nvPr/>
          </p:nvSpPr>
          <p:spPr bwMode="auto">
            <a:xfrm>
              <a:off x="8159750" y="59499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3" name="Freeform 2124"/>
            <p:cNvSpPr>
              <a:spLocks/>
            </p:cNvSpPr>
            <p:nvPr/>
          </p:nvSpPr>
          <p:spPr bwMode="auto">
            <a:xfrm>
              <a:off x="8074025" y="59467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4" name="Freeform 2125"/>
            <p:cNvSpPr>
              <a:spLocks/>
            </p:cNvSpPr>
            <p:nvPr/>
          </p:nvSpPr>
          <p:spPr bwMode="auto">
            <a:xfrm>
              <a:off x="8074025" y="59467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5" name="Freeform 2126"/>
            <p:cNvSpPr>
              <a:spLocks/>
            </p:cNvSpPr>
            <p:nvPr/>
          </p:nvSpPr>
          <p:spPr bwMode="auto">
            <a:xfrm>
              <a:off x="8096250" y="60261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6" name="Freeform 2127"/>
            <p:cNvSpPr>
              <a:spLocks/>
            </p:cNvSpPr>
            <p:nvPr/>
          </p:nvSpPr>
          <p:spPr bwMode="auto">
            <a:xfrm>
              <a:off x="8096250" y="60261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7" name="Freeform 2128"/>
            <p:cNvSpPr>
              <a:spLocks/>
            </p:cNvSpPr>
            <p:nvPr/>
          </p:nvSpPr>
          <p:spPr bwMode="auto">
            <a:xfrm>
              <a:off x="8089900" y="59753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8" name="Freeform 2129"/>
            <p:cNvSpPr>
              <a:spLocks/>
            </p:cNvSpPr>
            <p:nvPr/>
          </p:nvSpPr>
          <p:spPr bwMode="auto">
            <a:xfrm>
              <a:off x="8089900" y="59753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9" name="Freeform 2130"/>
            <p:cNvSpPr>
              <a:spLocks/>
            </p:cNvSpPr>
            <p:nvPr/>
          </p:nvSpPr>
          <p:spPr bwMode="auto">
            <a:xfrm>
              <a:off x="8089900" y="59753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0" name="Freeform 2131"/>
            <p:cNvSpPr>
              <a:spLocks/>
            </p:cNvSpPr>
            <p:nvPr/>
          </p:nvSpPr>
          <p:spPr bwMode="auto">
            <a:xfrm>
              <a:off x="8089900" y="59753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1" name="Freeform 2132"/>
            <p:cNvSpPr>
              <a:spLocks/>
            </p:cNvSpPr>
            <p:nvPr/>
          </p:nvSpPr>
          <p:spPr bwMode="auto">
            <a:xfrm>
              <a:off x="1005205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2" name="Freeform 2079"/>
            <p:cNvSpPr>
              <a:spLocks noEditPoints="1"/>
            </p:cNvSpPr>
            <p:nvPr/>
          </p:nvSpPr>
          <p:spPr bwMode="auto">
            <a:xfrm>
              <a:off x="41097"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3" name="Freeform 2079"/>
            <p:cNvSpPr>
              <a:spLocks noEditPoints="1"/>
            </p:cNvSpPr>
            <p:nvPr/>
          </p:nvSpPr>
          <p:spPr bwMode="auto">
            <a:xfrm>
              <a:off x="368300" y="5225415"/>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4" name="Freeform 2079"/>
            <p:cNvSpPr>
              <a:spLocks noEditPoints="1"/>
            </p:cNvSpPr>
            <p:nvPr/>
          </p:nvSpPr>
          <p:spPr bwMode="auto">
            <a:xfrm>
              <a:off x="676275" y="4562475"/>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5" name="Freeform 2080"/>
            <p:cNvSpPr>
              <a:spLocks noEditPoints="1"/>
            </p:cNvSpPr>
            <p:nvPr/>
          </p:nvSpPr>
          <p:spPr bwMode="auto">
            <a:xfrm>
              <a:off x="857250" y="4562475"/>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6" name="Freeform 2058"/>
            <p:cNvSpPr>
              <a:spLocks/>
            </p:cNvSpPr>
            <p:nvPr/>
          </p:nvSpPr>
          <p:spPr bwMode="auto">
            <a:xfrm>
              <a:off x="390525" y="4562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7" name="Freeform 2059"/>
            <p:cNvSpPr>
              <a:spLocks/>
            </p:cNvSpPr>
            <p:nvPr/>
          </p:nvSpPr>
          <p:spPr bwMode="auto">
            <a:xfrm>
              <a:off x="539750" y="4562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1" name="Group 860"/>
          <p:cNvGrpSpPr/>
          <p:nvPr userDrawn="1"/>
        </p:nvGrpSpPr>
        <p:grpSpPr>
          <a:xfrm>
            <a:off x="0" y="51811"/>
            <a:ext cx="12368446" cy="3419546"/>
            <a:chOff x="1" y="0"/>
            <a:chExt cx="12058606" cy="3352800"/>
          </a:xfrm>
        </p:grpSpPr>
        <p:sp>
          <p:nvSpPr>
            <p:cNvPr id="862" name="AutoShape 3"/>
            <p:cNvSpPr>
              <a:spLocks noChangeAspect="1" noChangeArrowheads="1" noTextEdit="1"/>
            </p:cNvSpPr>
            <p:nvPr/>
          </p:nvSpPr>
          <p:spPr bwMode="auto">
            <a:xfrm>
              <a:off x="1" y="0"/>
              <a:ext cx="12058606"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nvGrpSpPr>
            <p:cNvPr id="863" name="Group 205"/>
            <p:cNvGrpSpPr>
              <a:grpSpLocks/>
            </p:cNvGrpSpPr>
            <p:nvPr/>
          </p:nvGrpSpPr>
          <p:grpSpPr bwMode="auto">
            <a:xfrm>
              <a:off x="203200" y="2479675"/>
              <a:ext cx="5810228" cy="873125"/>
              <a:chOff x="128" y="1762"/>
              <a:chExt cx="3660" cy="550"/>
            </a:xfrm>
          </p:grpSpPr>
          <p:sp>
            <p:nvSpPr>
              <p:cNvPr id="2794" name="Freeform 5"/>
              <p:cNvSpPr>
                <a:spLocks noEditPoints="1"/>
              </p:cNvSpPr>
              <p:nvPr/>
            </p:nvSpPr>
            <p:spPr bwMode="auto">
              <a:xfrm>
                <a:off x="128" y="21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5" name="Freeform 6"/>
              <p:cNvSpPr>
                <a:spLocks/>
              </p:cNvSpPr>
              <p:nvPr/>
            </p:nvSpPr>
            <p:spPr bwMode="auto">
              <a:xfrm>
                <a:off x="26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6" name="Freeform 7"/>
              <p:cNvSpPr>
                <a:spLocks/>
              </p:cNvSpPr>
              <p:nvPr/>
            </p:nvSpPr>
            <p:spPr bwMode="auto">
              <a:xfrm>
                <a:off x="36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7" name="Freeform 8"/>
              <p:cNvSpPr>
                <a:spLocks/>
              </p:cNvSpPr>
              <p:nvPr/>
            </p:nvSpPr>
            <p:spPr bwMode="auto">
              <a:xfrm>
                <a:off x="452"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8" name="Freeform 9"/>
              <p:cNvSpPr>
                <a:spLocks/>
              </p:cNvSpPr>
              <p:nvPr/>
            </p:nvSpPr>
            <p:spPr bwMode="auto">
              <a:xfrm>
                <a:off x="54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9" name="Freeform 10"/>
              <p:cNvSpPr>
                <a:spLocks/>
              </p:cNvSpPr>
              <p:nvPr/>
            </p:nvSpPr>
            <p:spPr bwMode="auto">
              <a:xfrm>
                <a:off x="78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0" name="Freeform 11"/>
              <p:cNvSpPr>
                <a:spLocks/>
              </p:cNvSpPr>
              <p:nvPr/>
            </p:nvSpPr>
            <p:spPr bwMode="auto">
              <a:xfrm>
                <a:off x="87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1" name="Freeform 12"/>
              <p:cNvSpPr>
                <a:spLocks/>
              </p:cNvSpPr>
              <p:nvPr/>
            </p:nvSpPr>
            <p:spPr bwMode="auto">
              <a:xfrm>
                <a:off x="97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2" name="Freeform 13"/>
              <p:cNvSpPr>
                <a:spLocks/>
              </p:cNvSpPr>
              <p:nvPr/>
            </p:nvSpPr>
            <p:spPr bwMode="auto">
              <a:xfrm>
                <a:off x="1064"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3" name="Freeform 14"/>
              <p:cNvSpPr>
                <a:spLocks/>
              </p:cNvSpPr>
              <p:nvPr/>
            </p:nvSpPr>
            <p:spPr bwMode="auto">
              <a:xfrm>
                <a:off x="636" y="2166"/>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4" name="Freeform 15"/>
              <p:cNvSpPr>
                <a:spLocks/>
              </p:cNvSpPr>
              <p:nvPr/>
            </p:nvSpPr>
            <p:spPr bwMode="auto">
              <a:xfrm>
                <a:off x="636" y="2166"/>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5" name="Freeform 16"/>
              <p:cNvSpPr>
                <a:spLocks/>
              </p:cNvSpPr>
              <p:nvPr/>
            </p:nvSpPr>
            <p:spPr bwMode="auto">
              <a:xfrm>
                <a:off x="69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6" name="Freeform 17"/>
              <p:cNvSpPr>
                <a:spLocks/>
              </p:cNvSpPr>
              <p:nvPr/>
            </p:nvSpPr>
            <p:spPr bwMode="auto">
              <a:xfrm>
                <a:off x="69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7" name="Freeform 18"/>
              <p:cNvSpPr>
                <a:spLocks/>
              </p:cNvSpPr>
              <p:nvPr/>
            </p:nvSpPr>
            <p:spPr bwMode="auto">
              <a:xfrm>
                <a:off x="1384"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8" name="Freeform 19"/>
              <p:cNvSpPr>
                <a:spLocks/>
              </p:cNvSpPr>
              <p:nvPr/>
            </p:nvSpPr>
            <p:spPr bwMode="auto">
              <a:xfrm>
                <a:off x="1384"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9" name="Freeform 20"/>
              <p:cNvSpPr>
                <a:spLocks/>
              </p:cNvSpPr>
              <p:nvPr/>
            </p:nvSpPr>
            <p:spPr bwMode="auto">
              <a:xfrm>
                <a:off x="1446"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0" name="Freeform 21"/>
              <p:cNvSpPr>
                <a:spLocks/>
              </p:cNvSpPr>
              <p:nvPr/>
            </p:nvSpPr>
            <p:spPr bwMode="auto">
              <a:xfrm>
                <a:off x="1446"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1" name="Freeform 22"/>
              <p:cNvSpPr>
                <a:spLocks/>
              </p:cNvSpPr>
              <p:nvPr/>
            </p:nvSpPr>
            <p:spPr bwMode="auto">
              <a:xfrm>
                <a:off x="1532"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2" name="Freeform 23"/>
              <p:cNvSpPr>
                <a:spLocks/>
              </p:cNvSpPr>
              <p:nvPr/>
            </p:nvSpPr>
            <p:spPr bwMode="auto">
              <a:xfrm>
                <a:off x="162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3" name="Freeform 24"/>
              <p:cNvSpPr>
                <a:spLocks/>
              </p:cNvSpPr>
              <p:nvPr/>
            </p:nvSpPr>
            <p:spPr bwMode="auto">
              <a:xfrm>
                <a:off x="1718"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4" name="Freeform 25"/>
              <p:cNvSpPr>
                <a:spLocks/>
              </p:cNvSpPr>
              <p:nvPr/>
            </p:nvSpPr>
            <p:spPr bwMode="auto">
              <a:xfrm>
                <a:off x="1956"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5" name="Freeform 26"/>
              <p:cNvSpPr>
                <a:spLocks/>
              </p:cNvSpPr>
              <p:nvPr/>
            </p:nvSpPr>
            <p:spPr bwMode="auto">
              <a:xfrm>
                <a:off x="205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6" name="Freeform 27"/>
              <p:cNvSpPr>
                <a:spLocks/>
              </p:cNvSpPr>
              <p:nvPr/>
            </p:nvSpPr>
            <p:spPr bwMode="auto">
              <a:xfrm>
                <a:off x="2144"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7" name="Freeform 28"/>
              <p:cNvSpPr>
                <a:spLocks noEditPoints="1"/>
              </p:cNvSpPr>
              <p:nvPr/>
            </p:nvSpPr>
            <p:spPr bwMode="auto">
              <a:xfrm>
                <a:off x="2234" y="2162"/>
                <a:ext cx="100" cy="150"/>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8" name="Freeform 29"/>
              <p:cNvSpPr>
                <a:spLocks noEditPoints="1"/>
              </p:cNvSpPr>
              <p:nvPr/>
            </p:nvSpPr>
            <p:spPr bwMode="auto">
              <a:xfrm>
                <a:off x="2374"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9" name="Freeform 30"/>
              <p:cNvSpPr>
                <a:spLocks/>
              </p:cNvSpPr>
              <p:nvPr/>
            </p:nvSpPr>
            <p:spPr bwMode="auto">
              <a:xfrm>
                <a:off x="1810" y="2166"/>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0" name="Freeform 31"/>
              <p:cNvSpPr>
                <a:spLocks/>
              </p:cNvSpPr>
              <p:nvPr/>
            </p:nvSpPr>
            <p:spPr bwMode="auto">
              <a:xfrm>
                <a:off x="1810" y="2166"/>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1" name="Freeform 32"/>
              <p:cNvSpPr>
                <a:spLocks/>
              </p:cNvSpPr>
              <p:nvPr/>
            </p:nvSpPr>
            <p:spPr bwMode="auto">
              <a:xfrm>
                <a:off x="1870"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2" name="Freeform 33"/>
              <p:cNvSpPr>
                <a:spLocks/>
              </p:cNvSpPr>
              <p:nvPr/>
            </p:nvSpPr>
            <p:spPr bwMode="auto">
              <a:xfrm>
                <a:off x="1870"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3" name="Freeform 34"/>
              <p:cNvSpPr>
                <a:spLocks noEditPoints="1"/>
              </p:cNvSpPr>
              <p:nvPr/>
            </p:nvSpPr>
            <p:spPr bwMode="auto">
              <a:xfrm>
                <a:off x="2790" y="2162"/>
                <a:ext cx="100" cy="150"/>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4" name="Freeform 35"/>
              <p:cNvSpPr>
                <a:spLocks noEditPoints="1"/>
              </p:cNvSpPr>
              <p:nvPr/>
            </p:nvSpPr>
            <p:spPr bwMode="auto">
              <a:xfrm>
                <a:off x="3022" y="2162"/>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5" name="Freeform 36"/>
              <p:cNvSpPr>
                <a:spLocks/>
              </p:cNvSpPr>
              <p:nvPr/>
            </p:nvSpPr>
            <p:spPr bwMode="auto">
              <a:xfrm>
                <a:off x="2930"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6" name="Freeform 37"/>
              <p:cNvSpPr>
                <a:spLocks noEditPoints="1"/>
              </p:cNvSpPr>
              <p:nvPr/>
            </p:nvSpPr>
            <p:spPr bwMode="auto">
              <a:xfrm>
                <a:off x="316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7" name="Freeform 38"/>
              <p:cNvSpPr>
                <a:spLocks/>
              </p:cNvSpPr>
              <p:nvPr/>
            </p:nvSpPr>
            <p:spPr bwMode="auto">
              <a:xfrm>
                <a:off x="3298" y="21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8" name="Freeform 39"/>
              <p:cNvSpPr>
                <a:spLocks/>
              </p:cNvSpPr>
              <p:nvPr/>
            </p:nvSpPr>
            <p:spPr bwMode="auto">
              <a:xfrm>
                <a:off x="3298" y="21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9" name="Freeform 40"/>
              <p:cNvSpPr>
                <a:spLocks/>
              </p:cNvSpPr>
              <p:nvPr/>
            </p:nvSpPr>
            <p:spPr bwMode="auto">
              <a:xfrm>
                <a:off x="3360"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0" name="Freeform 41"/>
              <p:cNvSpPr>
                <a:spLocks/>
              </p:cNvSpPr>
              <p:nvPr/>
            </p:nvSpPr>
            <p:spPr bwMode="auto">
              <a:xfrm>
                <a:off x="3360"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1" name="Freeform 42"/>
              <p:cNvSpPr>
                <a:spLocks noEditPoints="1"/>
              </p:cNvSpPr>
              <p:nvPr/>
            </p:nvSpPr>
            <p:spPr bwMode="auto">
              <a:xfrm>
                <a:off x="3596"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2" name="Freeform 43"/>
              <p:cNvSpPr>
                <a:spLocks/>
              </p:cNvSpPr>
              <p:nvPr/>
            </p:nvSpPr>
            <p:spPr bwMode="auto">
              <a:xfrm>
                <a:off x="373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3" name="Freeform 44"/>
              <p:cNvSpPr>
                <a:spLocks noEditPoints="1"/>
              </p:cNvSpPr>
              <p:nvPr/>
            </p:nvSpPr>
            <p:spPr bwMode="auto">
              <a:xfrm>
                <a:off x="136" y="1978"/>
                <a:ext cx="186" cy="146"/>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4" name="Freeform 45"/>
              <p:cNvSpPr>
                <a:spLocks/>
              </p:cNvSpPr>
              <p:nvPr/>
            </p:nvSpPr>
            <p:spPr bwMode="auto">
              <a:xfrm>
                <a:off x="238" y="2080"/>
                <a:ext cx="18" cy="28"/>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5" name="Freeform 46"/>
              <p:cNvSpPr>
                <a:spLocks/>
              </p:cNvSpPr>
              <p:nvPr/>
            </p:nvSpPr>
            <p:spPr bwMode="auto">
              <a:xfrm>
                <a:off x="140" y="2078"/>
                <a:ext cx="18" cy="22"/>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6" name="Freeform 47"/>
              <p:cNvSpPr>
                <a:spLocks/>
              </p:cNvSpPr>
              <p:nvPr/>
            </p:nvSpPr>
            <p:spPr bwMode="auto">
              <a:xfrm>
                <a:off x="136" y="2028"/>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7" name="Freeform 48"/>
              <p:cNvSpPr>
                <a:spLocks/>
              </p:cNvSpPr>
              <p:nvPr/>
            </p:nvSpPr>
            <p:spPr bwMode="auto">
              <a:xfrm>
                <a:off x="150" y="1982"/>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8" name="Freeform 49"/>
              <p:cNvSpPr>
                <a:spLocks/>
              </p:cNvSpPr>
              <p:nvPr/>
            </p:nvSpPr>
            <p:spPr bwMode="auto">
              <a:xfrm>
                <a:off x="136" y="1978"/>
                <a:ext cx="186" cy="146"/>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9" name="Freeform 50"/>
              <p:cNvSpPr>
                <a:spLocks/>
              </p:cNvSpPr>
              <p:nvPr/>
            </p:nvSpPr>
            <p:spPr bwMode="auto">
              <a:xfrm>
                <a:off x="140" y="2078"/>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0" name="Freeform 51"/>
              <p:cNvSpPr>
                <a:spLocks/>
              </p:cNvSpPr>
              <p:nvPr/>
            </p:nvSpPr>
            <p:spPr bwMode="auto">
              <a:xfrm>
                <a:off x="140" y="2078"/>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1" name="Freeform 52"/>
              <p:cNvSpPr>
                <a:spLocks/>
              </p:cNvSpPr>
              <p:nvPr/>
            </p:nvSpPr>
            <p:spPr bwMode="auto">
              <a:xfrm>
                <a:off x="140" y="2078"/>
                <a:ext cx="10" cy="12"/>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2" name="Freeform 53"/>
              <p:cNvSpPr>
                <a:spLocks/>
              </p:cNvSpPr>
              <p:nvPr/>
            </p:nvSpPr>
            <p:spPr bwMode="auto">
              <a:xfrm>
                <a:off x="140" y="2078"/>
                <a:ext cx="10" cy="12"/>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3" name="Freeform 54"/>
              <p:cNvSpPr>
                <a:spLocks/>
              </p:cNvSpPr>
              <p:nvPr/>
            </p:nvSpPr>
            <p:spPr bwMode="auto">
              <a:xfrm>
                <a:off x="238" y="2082"/>
                <a:ext cx="18" cy="26"/>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4" name="Freeform 55"/>
              <p:cNvSpPr>
                <a:spLocks/>
              </p:cNvSpPr>
              <p:nvPr/>
            </p:nvSpPr>
            <p:spPr bwMode="auto">
              <a:xfrm>
                <a:off x="238" y="2082"/>
                <a:ext cx="18" cy="26"/>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5" name="Freeform 56"/>
              <p:cNvSpPr>
                <a:spLocks/>
              </p:cNvSpPr>
              <p:nvPr/>
            </p:nvSpPr>
            <p:spPr bwMode="auto">
              <a:xfrm>
                <a:off x="238"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6" name="Freeform 57"/>
              <p:cNvSpPr>
                <a:spLocks/>
              </p:cNvSpPr>
              <p:nvPr/>
            </p:nvSpPr>
            <p:spPr bwMode="auto">
              <a:xfrm>
                <a:off x="238"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7" name="Freeform 58"/>
              <p:cNvSpPr>
                <a:spLocks/>
              </p:cNvSpPr>
              <p:nvPr/>
            </p:nvSpPr>
            <p:spPr bwMode="auto">
              <a:xfrm>
                <a:off x="138" y="2028"/>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8" name="Freeform 59"/>
              <p:cNvSpPr>
                <a:spLocks/>
              </p:cNvSpPr>
              <p:nvPr/>
            </p:nvSpPr>
            <p:spPr bwMode="auto">
              <a:xfrm>
                <a:off x="138" y="2028"/>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9" name="Freeform 60"/>
              <p:cNvSpPr>
                <a:spLocks noEditPoints="1"/>
              </p:cNvSpPr>
              <p:nvPr/>
            </p:nvSpPr>
            <p:spPr bwMode="auto">
              <a:xfrm>
                <a:off x="136" y="2028"/>
                <a:ext cx="14" cy="2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0" name="Freeform 61"/>
              <p:cNvSpPr>
                <a:spLocks/>
              </p:cNvSpPr>
              <p:nvPr/>
            </p:nvSpPr>
            <p:spPr bwMode="auto">
              <a:xfrm>
                <a:off x="146" y="2042"/>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1" name="Freeform 62"/>
              <p:cNvSpPr>
                <a:spLocks/>
              </p:cNvSpPr>
              <p:nvPr/>
            </p:nvSpPr>
            <p:spPr bwMode="auto">
              <a:xfrm>
                <a:off x="136" y="2028"/>
                <a:ext cx="10" cy="2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2" name="Freeform 63"/>
              <p:cNvSpPr>
                <a:spLocks noEditPoints="1"/>
              </p:cNvSpPr>
              <p:nvPr/>
            </p:nvSpPr>
            <p:spPr bwMode="auto">
              <a:xfrm>
                <a:off x="252" y="2016"/>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3" name="Freeform 64"/>
              <p:cNvSpPr>
                <a:spLocks/>
              </p:cNvSpPr>
              <p:nvPr/>
            </p:nvSpPr>
            <p:spPr bwMode="auto">
              <a:xfrm>
                <a:off x="256" y="2022"/>
                <a:ext cx="8" cy="6"/>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4" name="Freeform 65"/>
              <p:cNvSpPr>
                <a:spLocks/>
              </p:cNvSpPr>
              <p:nvPr/>
            </p:nvSpPr>
            <p:spPr bwMode="auto">
              <a:xfrm>
                <a:off x="252" y="2016"/>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5" name="Freeform 66"/>
              <p:cNvSpPr>
                <a:spLocks/>
              </p:cNvSpPr>
              <p:nvPr/>
            </p:nvSpPr>
            <p:spPr bwMode="auto">
              <a:xfrm>
                <a:off x="204" y="2006"/>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6" name="Freeform 67"/>
              <p:cNvSpPr>
                <a:spLocks/>
              </p:cNvSpPr>
              <p:nvPr/>
            </p:nvSpPr>
            <p:spPr bwMode="auto">
              <a:xfrm>
                <a:off x="204" y="2006"/>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7" name="Freeform 68"/>
              <p:cNvSpPr>
                <a:spLocks/>
              </p:cNvSpPr>
              <p:nvPr/>
            </p:nvSpPr>
            <p:spPr bwMode="auto">
              <a:xfrm>
                <a:off x="300" y="20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8" name="Freeform 69"/>
              <p:cNvSpPr>
                <a:spLocks/>
              </p:cNvSpPr>
              <p:nvPr/>
            </p:nvSpPr>
            <p:spPr bwMode="auto">
              <a:xfrm>
                <a:off x="300" y="20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9" name="Freeform 70"/>
              <p:cNvSpPr>
                <a:spLocks/>
              </p:cNvSpPr>
              <p:nvPr/>
            </p:nvSpPr>
            <p:spPr bwMode="auto">
              <a:xfrm>
                <a:off x="246"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0" name="Freeform 71"/>
              <p:cNvSpPr>
                <a:spLocks/>
              </p:cNvSpPr>
              <p:nvPr/>
            </p:nvSpPr>
            <p:spPr bwMode="auto">
              <a:xfrm>
                <a:off x="246"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1" name="Freeform 72"/>
              <p:cNvSpPr>
                <a:spLocks/>
              </p:cNvSpPr>
              <p:nvPr/>
            </p:nvSpPr>
            <p:spPr bwMode="auto">
              <a:xfrm>
                <a:off x="26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2" name="Freeform 73"/>
              <p:cNvSpPr>
                <a:spLocks/>
              </p:cNvSpPr>
              <p:nvPr/>
            </p:nvSpPr>
            <p:spPr bwMode="auto">
              <a:xfrm>
                <a:off x="26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3" name="Freeform 74"/>
              <p:cNvSpPr>
                <a:spLocks/>
              </p:cNvSpPr>
              <p:nvPr/>
            </p:nvSpPr>
            <p:spPr bwMode="auto">
              <a:xfrm>
                <a:off x="258" y="2024"/>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4" name="Freeform 75"/>
              <p:cNvSpPr>
                <a:spLocks/>
              </p:cNvSpPr>
              <p:nvPr/>
            </p:nvSpPr>
            <p:spPr bwMode="auto">
              <a:xfrm>
                <a:off x="258" y="2024"/>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5" name="Freeform 76"/>
              <p:cNvSpPr>
                <a:spLocks/>
              </p:cNvSpPr>
              <p:nvPr/>
            </p:nvSpPr>
            <p:spPr bwMode="auto">
              <a:xfrm>
                <a:off x="256" y="2024"/>
                <a:ext cx="8" cy="4"/>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6" name="Freeform 77"/>
              <p:cNvSpPr>
                <a:spLocks/>
              </p:cNvSpPr>
              <p:nvPr/>
            </p:nvSpPr>
            <p:spPr bwMode="auto">
              <a:xfrm>
                <a:off x="256" y="2024"/>
                <a:ext cx="8" cy="4"/>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7" name="Freeform 78"/>
              <p:cNvSpPr>
                <a:spLocks noEditPoints="1"/>
              </p:cNvSpPr>
              <p:nvPr/>
            </p:nvSpPr>
            <p:spPr bwMode="auto">
              <a:xfrm>
                <a:off x="3448" y="2170"/>
                <a:ext cx="108" cy="142"/>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8" name="Freeform 79"/>
              <p:cNvSpPr>
                <a:spLocks/>
              </p:cNvSpPr>
              <p:nvPr/>
            </p:nvSpPr>
            <p:spPr bwMode="auto">
              <a:xfrm>
                <a:off x="3490" y="2228"/>
                <a:ext cx="22" cy="22"/>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9" name="Freeform 80"/>
              <p:cNvSpPr>
                <a:spLocks/>
              </p:cNvSpPr>
              <p:nvPr/>
            </p:nvSpPr>
            <p:spPr bwMode="auto">
              <a:xfrm>
                <a:off x="3448" y="2170"/>
                <a:ext cx="108" cy="142"/>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0" name="Freeform 81"/>
              <p:cNvSpPr>
                <a:spLocks noEditPoints="1"/>
              </p:cNvSpPr>
              <p:nvPr/>
            </p:nvSpPr>
            <p:spPr bwMode="auto">
              <a:xfrm>
                <a:off x="1156" y="2164"/>
                <a:ext cx="188" cy="146"/>
              </a:xfrm>
              <a:custGeom>
                <a:avLst/>
                <a:gdLst>
                  <a:gd name="T0" fmla="*/ 118 w 188"/>
                  <a:gd name="T1" fmla="*/ 104 h 146"/>
                  <a:gd name="T2" fmla="*/ 114 w 188"/>
                  <a:gd name="T3" fmla="*/ 130 h 146"/>
                  <a:gd name="T4" fmla="*/ 18 w 188"/>
                  <a:gd name="T5" fmla="*/ 122 h 146"/>
                  <a:gd name="T6" fmla="*/ 6 w 188"/>
                  <a:gd name="T7" fmla="*/ 104 h 146"/>
                  <a:gd name="T8" fmla="*/ 24 w 188"/>
                  <a:gd name="T9" fmla="*/ 118 h 146"/>
                  <a:gd name="T10" fmla="*/ 10 w 188"/>
                  <a:gd name="T11" fmla="*/ 50 h 146"/>
                  <a:gd name="T12" fmla="*/ 10 w 188"/>
                  <a:gd name="T13" fmla="*/ 50 h 146"/>
                  <a:gd name="T14" fmla="*/ 8 w 188"/>
                  <a:gd name="T15" fmla="*/ 66 h 146"/>
                  <a:gd name="T16" fmla="*/ 14 w 188"/>
                  <a:gd name="T17" fmla="*/ 64 h 146"/>
                  <a:gd name="T18" fmla="*/ 8 w 188"/>
                  <a:gd name="T19" fmla="*/ 70 h 146"/>
                  <a:gd name="T20" fmla="*/ 8 w 188"/>
                  <a:gd name="T21" fmla="*/ 50 h 146"/>
                  <a:gd name="T22" fmla="*/ 84 w 188"/>
                  <a:gd name="T23" fmla="*/ 16 h 146"/>
                  <a:gd name="T24" fmla="*/ 130 w 188"/>
                  <a:gd name="T25" fmla="*/ 8 h 146"/>
                  <a:gd name="T26" fmla="*/ 158 w 188"/>
                  <a:gd name="T27" fmla="*/ 32 h 146"/>
                  <a:gd name="T28" fmla="*/ 158 w 188"/>
                  <a:gd name="T29" fmla="*/ 44 h 146"/>
                  <a:gd name="T30" fmla="*/ 152 w 188"/>
                  <a:gd name="T31" fmla="*/ 44 h 146"/>
                  <a:gd name="T32" fmla="*/ 158 w 188"/>
                  <a:gd name="T33" fmla="*/ 46 h 146"/>
                  <a:gd name="T34" fmla="*/ 160 w 188"/>
                  <a:gd name="T35" fmla="*/ 42 h 146"/>
                  <a:gd name="T36" fmla="*/ 176 w 188"/>
                  <a:gd name="T37" fmla="*/ 28 h 146"/>
                  <a:gd name="T38" fmla="*/ 182 w 188"/>
                  <a:gd name="T39" fmla="*/ 70 h 146"/>
                  <a:gd name="T40" fmla="*/ 140 w 188"/>
                  <a:gd name="T41" fmla="*/ 86 h 146"/>
                  <a:gd name="T42" fmla="*/ 134 w 188"/>
                  <a:gd name="T43" fmla="*/ 100 h 146"/>
                  <a:gd name="T44" fmla="*/ 144 w 188"/>
                  <a:gd name="T45" fmla="*/ 90 h 146"/>
                  <a:gd name="T46" fmla="*/ 128 w 188"/>
                  <a:gd name="T47" fmla="*/ 102 h 146"/>
                  <a:gd name="T48" fmla="*/ 114 w 188"/>
                  <a:gd name="T49" fmla="*/ 96 h 146"/>
                  <a:gd name="T50" fmla="*/ 86 w 188"/>
                  <a:gd name="T51" fmla="*/ 140 h 146"/>
                  <a:gd name="T52" fmla="*/ 68 w 188"/>
                  <a:gd name="T53" fmla="*/ 128 h 146"/>
                  <a:gd name="T54" fmla="*/ 78 w 188"/>
                  <a:gd name="T55" fmla="*/ 114 h 146"/>
                  <a:gd name="T56" fmla="*/ 56 w 188"/>
                  <a:gd name="T57" fmla="*/ 116 h 146"/>
                  <a:gd name="T58" fmla="*/ 52 w 188"/>
                  <a:gd name="T59" fmla="*/ 122 h 146"/>
                  <a:gd name="T60" fmla="*/ 44 w 188"/>
                  <a:gd name="T61" fmla="*/ 140 h 146"/>
                  <a:gd name="T62" fmla="*/ 26 w 188"/>
                  <a:gd name="T63" fmla="*/ 122 h 146"/>
                  <a:gd name="T64" fmla="*/ 14 w 188"/>
                  <a:gd name="T65" fmla="*/ 78 h 146"/>
                  <a:gd name="T66" fmla="*/ 56 w 188"/>
                  <a:gd name="T67" fmla="*/ 34 h 146"/>
                  <a:gd name="T68" fmla="*/ 40 w 188"/>
                  <a:gd name="T69" fmla="*/ 64 h 146"/>
                  <a:gd name="T70" fmla="*/ 48 w 188"/>
                  <a:gd name="T71" fmla="*/ 90 h 146"/>
                  <a:gd name="T72" fmla="*/ 72 w 188"/>
                  <a:gd name="T73" fmla="*/ 96 h 146"/>
                  <a:gd name="T74" fmla="*/ 96 w 188"/>
                  <a:gd name="T75" fmla="*/ 58 h 146"/>
                  <a:gd name="T76" fmla="*/ 90 w 188"/>
                  <a:gd name="T77" fmla="*/ 84 h 146"/>
                  <a:gd name="T78" fmla="*/ 58 w 188"/>
                  <a:gd name="T79" fmla="*/ 94 h 146"/>
                  <a:gd name="T80" fmla="*/ 60 w 188"/>
                  <a:gd name="T81" fmla="*/ 68 h 146"/>
                  <a:gd name="T82" fmla="*/ 48 w 188"/>
                  <a:gd name="T83" fmla="*/ 56 h 146"/>
                  <a:gd name="T84" fmla="*/ 86 w 188"/>
                  <a:gd name="T85" fmla="*/ 22 h 146"/>
                  <a:gd name="T86" fmla="*/ 90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0 w 188"/>
                  <a:gd name="T101" fmla="*/ 132 h 146"/>
                  <a:gd name="T102" fmla="*/ 44 w 188"/>
                  <a:gd name="T103" fmla="*/ 144 h 146"/>
                  <a:gd name="T104" fmla="*/ 56 w 188"/>
                  <a:gd name="T105" fmla="*/ 120 h 146"/>
                  <a:gd name="T106" fmla="*/ 74 w 188"/>
                  <a:gd name="T107" fmla="*/ 144 h 146"/>
                  <a:gd name="T108" fmla="*/ 96 w 188"/>
                  <a:gd name="T109" fmla="*/ 134 h 146"/>
                  <a:gd name="T110" fmla="*/ 124 w 188"/>
                  <a:gd name="T111" fmla="*/ 124 h 146"/>
                  <a:gd name="T112" fmla="*/ 118 w 188"/>
                  <a:gd name="T113" fmla="*/ 96 h 146"/>
                  <a:gd name="T114" fmla="*/ 144 w 188"/>
                  <a:gd name="T115" fmla="*/ 100 h 146"/>
                  <a:gd name="T116" fmla="*/ 158 w 188"/>
                  <a:gd name="T117" fmla="*/ 92 h 146"/>
                  <a:gd name="T118" fmla="*/ 186 w 188"/>
                  <a:gd name="T119" fmla="*/ 46 h 146"/>
                  <a:gd name="T120" fmla="*/ 174 w 188"/>
                  <a:gd name="T121" fmla="*/ 24 h 146"/>
                  <a:gd name="T122" fmla="*/ 160 w 188"/>
                  <a:gd name="T123" fmla="*/ 30 h 146"/>
                  <a:gd name="T124" fmla="*/ 112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6" y="124"/>
                    </a:moveTo>
                    <a:lnTo>
                      <a:pt x="106" y="124"/>
                    </a:lnTo>
                    <a:lnTo>
                      <a:pt x="116" y="104"/>
                    </a:lnTo>
                    <a:lnTo>
                      <a:pt x="116" y="104"/>
                    </a:lnTo>
                    <a:lnTo>
                      <a:pt x="116" y="104"/>
                    </a:lnTo>
                    <a:lnTo>
                      <a:pt x="116"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0" y="130"/>
                    </a:lnTo>
                    <a:lnTo>
                      <a:pt x="110" y="130"/>
                    </a:lnTo>
                    <a:lnTo>
                      <a:pt x="102" y="130"/>
                    </a:lnTo>
                    <a:lnTo>
                      <a:pt x="102" y="130"/>
                    </a:lnTo>
                    <a:lnTo>
                      <a:pt x="106" y="124"/>
                    </a:lnTo>
                    <a:close/>
                    <a:moveTo>
                      <a:pt x="18" y="122"/>
                    </a:moveTo>
                    <a:lnTo>
                      <a:pt x="18" y="122"/>
                    </a:lnTo>
                    <a:lnTo>
                      <a:pt x="14" y="122"/>
                    </a:lnTo>
                    <a:lnTo>
                      <a:pt x="10" y="118"/>
                    </a:lnTo>
                    <a:lnTo>
                      <a:pt x="6" y="114"/>
                    </a:lnTo>
                    <a:lnTo>
                      <a:pt x="6" y="108"/>
                    </a:lnTo>
                    <a:lnTo>
                      <a:pt x="6" y="108"/>
                    </a:lnTo>
                    <a:lnTo>
                      <a:pt x="6" y="104"/>
                    </a:lnTo>
                    <a:lnTo>
                      <a:pt x="6" y="104"/>
                    </a:lnTo>
                    <a:lnTo>
                      <a:pt x="14" y="100"/>
                    </a:lnTo>
                    <a:lnTo>
                      <a:pt x="14" y="100"/>
                    </a:lnTo>
                    <a:lnTo>
                      <a:pt x="14" y="100"/>
                    </a:lnTo>
                    <a:lnTo>
                      <a:pt x="14" y="100"/>
                    </a:lnTo>
                    <a:lnTo>
                      <a:pt x="14" y="100"/>
                    </a:lnTo>
                    <a:lnTo>
                      <a:pt x="14" y="100"/>
                    </a:lnTo>
                    <a:lnTo>
                      <a:pt x="24" y="118"/>
                    </a:lnTo>
                    <a:lnTo>
                      <a:pt x="24" y="118"/>
                    </a:lnTo>
                    <a:lnTo>
                      <a:pt x="24" y="120"/>
                    </a:lnTo>
                    <a:lnTo>
                      <a:pt x="20" y="122"/>
                    </a:lnTo>
                    <a:lnTo>
                      <a:pt x="20" y="122"/>
                    </a:lnTo>
                    <a:lnTo>
                      <a:pt x="20" y="122"/>
                    </a:lnTo>
                    <a:lnTo>
                      <a:pt x="20" y="122"/>
                    </a:lnTo>
                    <a:lnTo>
                      <a:pt x="18" y="12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8" y="70"/>
                    </a:lnTo>
                    <a:lnTo>
                      <a:pt x="8" y="70"/>
                    </a:lnTo>
                    <a:lnTo>
                      <a:pt x="8" y="70"/>
                    </a:lnTo>
                    <a:lnTo>
                      <a:pt x="8" y="70"/>
                    </a:lnTo>
                    <a:lnTo>
                      <a:pt x="6" y="68"/>
                    </a:lnTo>
                    <a:lnTo>
                      <a:pt x="6" y="68"/>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4" y="38"/>
                    </a:lnTo>
                    <a:lnTo>
                      <a:pt x="164"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8" y="114"/>
                    </a:lnTo>
                    <a:lnTo>
                      <a:pt x="76" y="116"/>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8" y="98"/>
                    </a:lnTo>
                    <a:lnTo>
                      <a:pt x="16" y="88"/>
                    </a:lnTo>
                    <a:lnTo>
                      <a:pt x="14" y="78"/>
                    </a:lnTo>
                    <a:lnTo>
                      <a:pt x="14" y="78"/>
                    </a:lnTo>
                    <a:lnTo>
                      <a:pt x="16" y="68"/>
                    </a:lnTo>
                    <a:lnTo>
                      <a:pt x="20"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2" y="100"/>
                    </a:lnTo>
                    <a:lnTo>
                      <a:pt x="62"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8" y="94"/>
                    </a:lnTo>
                    <a:lnTo>
                      <a:pt x="54" y="90"/>
                    </a:lnTo>
                    <a:lnTo>
                      <a:pt x="54" y="90"/>
                    </a:lnTo>
                    <a:lnTo>
                      <a:pt x="52" y="88"/>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8"/>
                    </a:lnTo>
                    <a:lnTo>
                      <a:pt x="4" y="112"/>
                    </a:lnTo>
                    <a:lnTo>
                      <a:pt x="4" y="112"/>
                    </a:lnTo>
                    <a:lnTo>
                      <a:pt x="6" y="118"/>
                    </a:lnTo>
                    <a:lnTo>
                      <a:pt x="10" y="120"/>
                    </a:lnTo>
                    <a:lnTo>
                      <a:pt x="10" y="120"/>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1" name="Freeform 82"/>
              <p:cNvSpPr>
                <a:spLocks/>
              </p:cNvSpPr>
              <p:nvPr/>
            </p:nvSpPr>
            <p:spPr bwMode="auto">
              <a:xfrm>
                <a:off x="1258" y="2268"/>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6 w 18"/>
                  <a:gd name="T13" fmla="*/ 0 h 26"/>
                  <a:gd name="T14" fmla="*/ 16 w 18"/>
                  <a:gd name="T15" fmla="*/ 0 h 26"/>
                  <a:gd name="T16" fmla="*/ 18 w 18"/>
                  <a:gd name="T17" fmla="*/ 8 h 26"/>
                  <a:gd name="T18" fmla="*/ 18 w 18"/>
                  <a:gd name="T19" fmla="*/ 8 h 26"/>
                  <a:gd name="T20" fmla="*/ 18 w 18"/>
                  <a:gd name="T21" fmla="*/ 24 h 26"/>
                  <a:gd name="T22" fmla="*/ 18 w 18"/>
                  <a:gd name="T23" fmla="*/ 24 h 26"/>
                  <a:gd name="T24" fmla="*/ 16 w 18"/>
                  <a:gd name="T25" fmla="*/ 26 h 26"/>
                  <a:gd name="T26" fmla="*/ 16 w 18"/>
                  <a:gd name="T27" fmla="*/ 26 h 26"/>
                  <a:gd name="T28" fmla="*/ 12 w 18"/>
                  <a:gd name="T29" fmla="*/ 26 h 26"/>
                  <a:gd name="T30" fmla="*/ 12 w 18"/>
                  <a:gd name="T31" fmla="*/ 26 h 26"/>
                  <a:gd name="T32" fmla="*/ 12 w 18"/>
                  <a:gd name="T33" fmla="*/ 26 h 26"/>
                  <a:gd name="T34" fmla="*/ 12 w 18"/>
                  <a:gd name="T35" fmla="*/ 26 h 26"/>
                  <a:gd name="T36" fmla="*/ 8 w 18"/>
                  <a:gd name="T37" fmla="*/ 26 h 26"/>
                  <a:gd name="T38" fmla="*/ 8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6" y="0"/>
                    </a:lnTo>
                    <a:lnTo>
                      <a:pt x="16" y="0"/>
                    </a:lnTo>
                    <a:lnTo>
                      <a:pt x="18" y="8"/>
                    </a:lnTo>
                    <a:lnTo>
                      <a:pt x="18" y="8"/>
                    </a:lnTo>
                    <a:lnTo>
                      <a:pt x="18" y="24"/>
                    </a:lnTo>
                    <a:lnTo>
                      <a:pt x="18" y="24"/>
                    </a:lnTo>
                    <a:lnTo>
                      <a:pt x="16" y="26"/>
                    </a:lnTo>
                    <a:lnTo>
                      <a:pt x="16" y="26"/>
                    </a:lnTo>
                    <a:lnTo>
                      <a:pt x="12" y="26"/>
                    </a:lnTo>
                    <a:lnTo>
                      <a:pt x="12" y="26"/>
                    </a:lnTo>
                    <a:lnTo>
                      <a:pt x="12" y="26"/>
                    </a:lnTo>
                    <a:lnTo>
                      <a:pt x="12"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2" name="Freeform 83"/>
              <p:cNvSpPr>
                <a:spLocks/>
              </p:cNvSpPr>
              <p:nvPr/>
            </p:nvSpPr>
            <p:spPr bwMode="auto">
              <a:xfrm>
                <a:off x="1162" y="2264"/>
                <a:ext cx="18" cy="22"/>
              </a:xfrm>
              <a:custGeom>
                <a:avLst/>
                <a:gdLst>
                  <a:gd name="T0" fmla="*/ 12 w 18"/>
                  <a:gd name="T1" fmla="*/ 22 h 22"/>
                  <a:gd name="T2" fmla="*/ 12 w 18"/>
                  <a:gd name="T3" fmla="*/ 22 h 22"/>
                  <a:gd name="T4" fmla="*/ 8 w 18"/>
                  <a:gd name="T5" fmla="*/ 22 h 22"/>
                  <a:gd name="T6" fmla="*/ 4 w 18"/>
                  <a:gd name="T7" fmla="*/ 18 h 22"/>
                  <a:gd name="T8" fmla="*/ 0 w 18"/>
                  <a:gd name="T9" fmla="*/ 14 h 22"/>
                  <a:gd name="T10" fmla="*/ 0 w 18"/>
                  <a:gd name="T11" fmla="*/ 8 h 22"/>
                  <a:gd name="T12" fmla="*/ 0 w 18"/>
                  <a:gd name="T13" fmla="*/ 8 h 22"/>
                  <a:gd name="T14" fmla="*/ 0 w 18"/>
                  <a:gd name="T15" fmla="*/ 4 h 22"/>
                  <a:gd name="T16" fmla="*/ 0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4 w 18"/>
                  <a:gd name="T37" fmla="*/ 22 h 22"/>
                  <a:gd name="T38" fmla="*/ 14 w 18"/>
                  <a:gd name="T39" fmla="*/ 22 h 22"/>
                  <a:gd name="T40" fmla="*/ 14 w 18"/>
                  <a:gd name="T41" fmla="*/ 22 h 22"/>
                  <a:gd name="T42" fmla="*/ 14 w 18"/>
                  <a:gd name="T43" fmla="*/ 22 h 22"/>
                  <a:gd name="T44" fmla="*/ 12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2" y="22"/>
                    </a:moveTo>
                    <a:lnTo>
                      <a:pt x="12" y="22"/>
                    </a:lnTo>
                    <a:lnTo>
                      <a:pt x="8" y="22"/>
                    </a:lnTo>
                    <a:lnTo>
                      <a:pt x="4" y="18"/>
                    </a:lnTo>
                    <a:lnTo>
                      <a:pt x="0" y="14"/>
                    </a:lnTo>
                    <a:lnTo>
                      <a:pt x="0" y="8"/>
                    </a:lnTo>
                    <a:lnTo>
                      <a:pt x="0" y="8"/>
                    </a:lnTo>
                    <a:lnTo>
                      <a:pt x="0" y="4"/>
                    </a:lnTo>
                    <a:lnTo>
                      <a:pt x="0" y="4"/>
                    </a:lnTo>
                    <a:lnTo>
                      <a:pt x="8" y="0"/>
                    </a:lnTo>
                    <a:lnTo>
                      <a:pt x="8" y="0"/>
                    </a:lnTo>
                    <a:lnTo>
                      <a:pt x="8" y="0"/>
                    </a:lnTo>
                    <a:lnTo>
                      <a:pt x="8" y="0"/>
                    </a:lnTo>
                    <a:lnTo>
                      <a:pt x="8" y="0"/>
                    </a:lnTo>
                    <a:lnTo>
                      <a:pt x="8" y="0"/>
                    </a:lnTo>
                    <a:lnTo>
                      <a:pt x="18" y="18"/>
                    </a:lnTo>
                    <a:lnTo>
                      <a:pt x="18" y="18"/>
                    </a:lnTo>
                    <a:lnTo>
                      <a:pt x="18" y="20"/>
                    </a:lnTo>
                    <a:lnTo>
                      <a:pt x="14" y="22"/>
                    </a:lnTo>
                    <a:lnTo>
                      <a:pt x="14" y="22"/>
                    </a:lnTo>
                    <a:lnTo>
                      <a:pt x="14" y="22"/>
                    </a:lnTo>
                    <a:lnTo>
                      <a:pt x="14" y="22"/>
                    </a:lnTo>
                    <a:lnTo>
                      <a:pt x="12"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3" name="Freeform 84"/>
              <p:cNvSpPr>
                <a:spLocks/>
              </p:cNvSpPr>
              <p:nvPr/>
            </p:nvSpPr>
            <p:spPr bwMode="auto">
              <a:xfrm>
                <a:off x="1158" y="2214"/>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6 w 12"/>
                  <a:gd name="T65" fmla="*/ 20 h 20"/>
                  <a:gd name="T66" fmla="*/ 6 w 12"/>
                  <a:gd name="T67" fmla="*/ 20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6" y="20"/>
                    </a:lnTo>
                    <a:lnTo>
                      <a:pt x="6" y="20"/>
                    </a:lnTo>
                    <a:lnTo>
                      <a:pt x="6" y="20"/>
                    </a:lnTo>
                    <a:lnTo>
                      <a:pt x="6" y="20"/>
                    </a:lnTo>
                    <a:lnTo>
                      <a:pt x="4" y="18"/>
                    </a:lnTo>
                    <a:lnTo>
                      <a:pt x="4" y="18"/>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4" name="Freeform 85"/>
              <p:cNvSpPr>
                <a:spLocks/>
              </p:cNvSpPr>
              <p:nvPr/>
            </p:nvSpPr>
            <p:spPr bwMode="auto">
              <a:xfrm>
                <a:off x="1170" y="2168"/>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8 h 138"/>
                  <a:gd name="T60" fmla="*/ 54 w 170"/>
                  <a:gd name="T61" fmla="*/ 122 h 138"/>
                  <a:gd name="T62" fmla="*/ 64 w 170"/>
                  <a:gd name="T63" fmla="*/ 114 h 138"/>
                  <a:gd name="T64" fmla="*/ 62 w 170"/>
                  <a:gd name="T65" fmla="*/ 112 h 138"/>
                  <a:gd name="T66" fmla="*/ 52 w 170"/>
                  <a:gd name="T67" fmla="*/ 112 h 138"/>
                  <a:gd name="T68" fmla="*/ 40 w 170"/>
                  <a:gd name="T69" fmla="*/ 110 h 138"/>
                  <a:gd name="T70" fmla="*/ 40 w 170"/>
                  <a:gd name="T71" fmla="*/ 108 h 138"/>
                  <a:gd name="T72" fmla="*/ 36 w 170"/>
                  <a:gd name="T73" fmla="*/ 126 h 138"/>
                  <a:gd name="T74" fmla="*/ 32 w 170"/>
                  <a:gd name="T75" fmla="*/ 134 h 138"/>
                  <a:gd name="T76" fmla="*/ 12 w 170"/>
                  <a:gd name="T77" fmla="*/ 132 h 138"/>
                  <a:gd name="T78" fmla="*/ 10 w 170"/>
                  <a:gd name="T79" fmla="*/ 126 h 138"/>
                  <a:gd name="T80" fmla="*/ 12 w 170"/>
                  <a:gd name="T81" fmla="*/ 114 h 138"/>
                  <a:gd name="T82" fmla="*/ 4 w 170"/>
                  <a:gd name="T83" fmla="*/ 94 h 138"/>
                  <a:gd name="T84" fmla="*/ 2 w 170"/>
                  <a:gd name="T85" fmla="*/ 64 h 138"/>
                  <a:gd name="T86" fmla="*/ 16 w 170"/>
                  <a:gd name="T87" fmla="*/ 42 h 138"/>
                  <a:gd name="T88" fmla="*/ 44 w 170"/>
                  <a:gd name="T89" fmla="*/ 30 h 138"/>
                  <a:gd name="T90" fmla="*/ 30 w 170"/>
                  <a:gd name="T91" fmla="*/ 52 h 138"/>
                  <a:gd name="T92" fmla="*/ 28 w 170"/>
                  <a:gd name="T93" fmla="*/ 64 h 138"/>
                  <a:gd name="T94" fmla="*/ 36 w 170"/>
                  <a:gd name="T95" fmla="*/ 80 h 138"/>
                  <a:gd name="T96" fmla="*/ 34 w 170"/>
                  <a:gd name="T97" fmla="*/ 86 h 138"/>
                  <a:gd name="T98" fmla="*/ 48 w 170"/>
                  <a:gd name="T99" fmla="*/ 96 h 138"/>
                  <a:gd name="T100" fmla="*/ 68 w 170"/>
                  <a:gd name="T101" fmla="*/ 88 h 138"/>
                  <a:gd name="T102" fmla="*/ 80 w 170"/>
                  <a:gd name="T103" fmla="*/ 82 h 138"/>
                  <a:gd name="T104" fmla="*/ 82 w 170"/>
                  <a:gd name="T105" fmla="*/ 54 h 138"/>
                  <a:gd name="T106" fmla="*/ 78 w 170"/>
                  <a:gd name="T107" fmla="*/ 58 h 138"/>
                  <a:gd name="T108" fmla="*/ 72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50" y="34"/>
                    </a:lnTo>
                    <a:lnTo>
                      <a:pt x="150"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4" y="110"/>
                    </a:lnTo>
                    <a:lnTo>
                      <a:pt x="62" y="112"/>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4" y="94"/>
                    </a:lnTo>
                    <a:lnTo>
                      <a:pt x="2" y="84"/>
                    </a:lnTo>
                    <a:lnTo>
                      <a:pt x="0" y="74"/>
                    </a:lnTo>
                    <a:lnTo>
                      <a:pt x="0" y="74"/>
                    </a:lnTo>
                    <a:lnTo>
                      <a:pt x="2" y="64"/>
                    </a:lnTo>
                    <a:lnTo>
                      <a:pt x="6"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48" y="96"/>
                    </a:lnTo>
                    <a:lnTo>
                      <a:pt x="48"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4" y="90"/>
                    </a:lnTo>
                    <a:lnTo>
                      <a:pt x="40" y="86"/>
                    </a:lnTo>
                    <a:lnTo>
                      <a:pt x="40" y="86"/>
                    </a:lnTo>
                    <a:lnTo>
                      <a:pt x="38" y="84"/>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5" name="Freeform 86"/>
              <p:cNvSpPr>
                <a:spLocks/>
              </p:cNvSpPr>
              <p:nvPr/>
            </p:nvSpPr>
            <p:spPr bwMode="auto">
              <a:xfrm>
                <a:off x="1156" y="2164"/>
                <a:ext cx="188" cy="146"/>
              </a:xfrm>
              <a:custGeom>
                <a:avLst/>
                <a:gdLst>
                  <a:gd name="T0" fmla="*/ 104 w 188"/>
                  <a:gd name="T1" fmla="*/ 2 h 146"/>
                  <a:gd name="T2" fmla="*/ 84 w 188"/>
                  <a:gd name="T3" fmla="*/ 12 h 146"/>
                  <a:gd name="T4" fmla="*/ 76 w 188"/>
                  <a:gd name="T5" fmla="*/ 20 h 146"/>
                  <a:gd name="T6" fmla="*/ 70 w 188"/>
                  <a:gd name="T7" fmla="*/ 24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8 h 146"/>
                  <a:gd name="T34" fmla="*/ 6 w 188"/>
                  <a:gd name="T35" fmla="*/ 118 h 146"/>
                  <a:gd name="T36" fmla="*/ 16 w 188"/>
                  <a:gd name="T37" fmla="*/ 124 h 146"/>
                  <a:gd name="T38" fmla="*/ 20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4 w 188"/>
                  <a:gd name="T67" fmla="*/ 124 h 146"/>
                  <a:gd name="T68" fmla="*/ 120 w 188"/>
                  <a:gd name="T69" fmla="*/ 104 h 146"/>
                  <a:gd name="T70" fmla="*/ 116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8"/>
                    </a:lnTo>
                    <a:lnTo>
                      <a:pt x="4" y="112"/>
                    </a:lnTo>
                    <a:lnTo>
                      <a:pt x="4" y="112"/>
                    </a:lnTo>
                    <a:lnTo>
                      <a:pt x="6" y="118"/>
                    </a:lnTo>
                    <a:lnTo>
                      <a:pt x="10" y="120"/>
                    </a:lnTo>
                    <a:lnTo>
                      <a:pt x="10" y="120"/>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6" name="Freeform 87"/>
              <p:cNvSpPr>
                <a:spLocks/>
              </p:cNvSpPr>
              <p:nvPr/>
            </p:nvSpPr>
            <p:spPr bwMode="auto">
              <a:xfrm>
                <a:off x="1162" y="2264"/>
                <a:ext cx="18" cy="22"/>
              </a:xfrm>
              <a:custGeom>
                <a:avLst/>
                <a:gdLst>
                  <a:gd name="T0" fmla="*/ 8 w 18"/>
                  <a:gd name="T1" fmla="*/ 0 h 22"/>
                  <a:gd name="T2" fmla="*/ 8 w 18"/>
                  <a:gd name="T3" fmla="*/ 0 h 22"/>
                  <a:gd name="T4" fmla="*/ 0 w 18"/>
                  <a:gd name="T5" fmla="*/ 6 h 22"/>
                  <a:gd name="T6" fmla="*/ 0 w 18"/>
                  <a:gd name="T7" fmla="*/ 6 h 22"/>
                  <a:gd name="T8" fmla="*/ 0 w 18"/>
                  <a:gd name="T9" fmla="*/ 10 h 22"/>
                  <a:gd name="T10" fmla="*/ 0 w 18"/>
                  <a:gd name="T11" fmla="*/ 10 h 22"/>
                  <a:gd name="T12" fmla="*/ 0 w 18"/>
                  <a:gd name="T13" fmla="*/ 14 h 22"/>
                  <a:gd name="T14" fmla="*/ 4 w 18"/>
                  <a:gd name="T15" fmla="*/ 18 h 22"/>
                  <a:gd name="T16" fmla="*/ 8 w 18"/>
                  <a:gd name="T17" fmla="*/ 22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6"/>
                    </a:lnTo>
                    <a:lnTo>
                      <a:pt x="0" y="6"/>
                    </a:lnTo>
                    <a:lnTo>
                      <a:pt x="0" y="10"/>
                    </a:lnTo>
                    <a:lnTo>
                      <a:pt x="0" y="10"/>
                    </a:lnTo>
                    <a:lnTo>
                      <a:pt x="0" y="14"/>
                    </a:lnTo>
                    <a:lnTo>
                      <a:pt x="4" y="18"/>
                    </a:lnTo>
                    <a:lnTo>
                      <a:pt x="8" y="22"/>
                    </a:lnTo>
                    <a:lnTo>
                      <a:pt x="14" y="22"/>
                    </a:lnTo>
                    <a:lnTo>
                      <a:pt x="14" y="22"/>
                    </a:lnTo>
                    <a:lnTo>
                      <a:pt x="14" y="22"/>
                    </a:lnTo>
                    <a:lnTo>
                      <a:pt x="14" y="22"/>
                    </a:lnTo>
                    <a:lnTo>
                      <a:pt x="14" y="22"/>
                    </a:lnTo>
                    <a:lnTo>
                      <a:pt x="14" y="22"/>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7" name="Freeform 88"/>
              <p:cNvSpPr>
                <a:spLocks/>
              </p:cNvSpPr>
              <p:nvPr/>
            </p:nvSpPr>
            <p:spPr bwMode="auto">
              <a:xfrm>
                <a:off x="1162" y="2264"/>
                <a:ext cx="18" cy="22"/>
              </a:xfrm>
              <a:custGeom>
                <a:avLst/>
                <a:gdLst>
                  <a:gd name="T0" fmla="*/ 8 w 18"/>
                  <a:gd name="T1" fmla="*/ 0 h 22"/>
                  <a:gd name="T2" fmla="*/ 8 w 18"/>
                  <a:gd name="T3" fmla="*/ 0 h 22"/>
                  <a:gd name="T4" fmla="*/ 0 w 18"/>
                  <a:gd name="T5" fmla="*/ 6 h 22"/>
                  <a:gd name="T6" fmla="*/ 0 w 18"/>
                  <a:gd name="T7" fmla="*/ 6 h 22"/>
                  <a:gd name="T8" fmla="*/ 0 w 18"/>
                  <a:gd name="T9" fmla="*/ 10 h 22"/>
                  <a:gd name="T10" fmla="*/ 0 w 18"/>
                  <a:gd name="T11" fmla="*/ 10 h 22"/>
                  <a:gd name="T12" fmla="*/ 0 w 18"/>
                  <a:gd name="T13" fmla="*/ 14 h 22"/>
                  <a:gd name="T14" fmla="*/ 4 w 18"/>
                  <a:gd name="T15" fmla="*/ 18 h 22"/>
                  <a:gd name="T16" fmla="*/ 8 w 18"/>
                  <a:gd name="T17" fmla="*/ 22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6"/>
                    </a:lnTo>
                    <a:lnTo>
                      <a:pt x="0" y="6"/>
                    </a:lnTo>
                    <a:lnTo>
                      <a:pt x="0" y="10"/>
                    </a:lnTo>
                    <a:lnTo>
                      <a:pt x="0" y="10"/>
                    </a:lnTo>
                    <a:lnTo>
                      <a:pt x="0" y="14"/>
                    </a:lnTo>
                    <a:lnTo>
                      <a:pt x="4" y="18"/>
                    </a:lnTo>
                    <a:lnTo>
                      <a:pt x="8" y="22"/>
                    </a:lnTo>
                    <a:lnTo>
                      <a:pt x="14" y="22"/>
                    </a:lnTo>
                    <a:lnTo>
                      <a:pt x="14"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8" name="Freeform 89"/>
              <p:cNvSpPr>
                <a:spLocks/>
              </p:cNvSpPr>
              <p:nvPr/>
            </p:nvSpPr>
            <p:spPr bwMode="auto">
              <a:xfrm>
                <a:off x="1162" y="2264"/>
                <a:ext cx="14" cy="22"/>
              </a:xfrm>
              <a:custGeom>
                <a:avLst/>
                <a:gdLst>
                  <a:gd name="T0" fmla="*/ 8 w 14"/>
                  <a:gd name="T1" fmla="*/ 0 h 22"/>
                  <a:gd name="T2" fmla="*/ 8 w 14"/>
                  <a:gd name="T3" fmla="*/ 0 h 22"/>
                  <a:gd name="T4" fmla="*/ 0 w 14"/>
                  <a:gd name="T5" fmla="*/ 4 h 22"/>
                  <a:gd name="T6" fmla="*/ 0 w 14"/>
                  <a:gd name="T7" fmla="*/ 4 h 22"/>
                  <a:gd name="T8" fmla="*/ 0 w 14"/>
                  <a:gd name="T9" fmla="*/ 8 h 22"/>
                  <a:gd name="T10" fmla="*/ 0 w 14"/>
                  <a:gd name="T11" fmla="*/ 8 h 22"/>
                  <a:gd name="T12" fmla="*/ 0 w 14"/>
                  <a:gd name="T13" fmla="*/ 14 h 22"/>
                  <a:gd name="T14" fmla="*/ 4 w 14"/>
                  <a:gd name="T15" fmla="*/ 18 h 22"/>
                  <a:gd name="T16" fmla="*/ 8 w 14"/>
                  <a:gd name="T17" fmla="*/ 22 h 22"/>
                  <a:gd name="T18" fmla="*/ 12 w 14"/>
                  <a:gd name="T19" fmla="*/ 22 h 22"/>
                  <a:gd name="T20" fmla="*/ 12 w 14"/>
                  <a:gd name="T21" fmla="*/ 22 h 22"/>
                  <a:gd name="T22" fmla="*/ 14 w 14"/>
                  <a:gd name="T23" fmla="*/ 22 h 22"/>
                  <a:gd name="T24" fmla="*/ 14 w 14"/>
                  <a:gd name="T25" fmla="*/ 22 h 22"/>
                  <a:gd name="T26" fmla="*/ 14 w 14"/>
                  <a:gd name="T27" fmla="*/ 22 h 22"/>
                  <a:gd name="T28" fmla="*/ 14 w 14"/>
                  <a:gd name="T29" fmla="*/ 22 h 22"/>
                  <a:gd name="T30" fmla="*/ 14 w 14"/>
                  <a:gd name="T31" fmla="*/ 22 h 22"/>
                  <a:gd name="T32" fmla="*/ 14 w 14"/>
                  <a:gd name="T33" fmla="*/ 22 h 22"/>
                  <a:gd name="T34" fmla="*/ 14 w 14"/>
                  <a:gd name="T35" fmla="*/ 22 h 22"/>
                  <a:gd name="T36" fmla="*/ 14 w 14"/>
                  <a:gd name="T37" fmla="*/ 22 h 22"/>
                  <a:gd name="T38" fmla="*/ 8 w 14"/>
                  <a:gd name="T39" fmla="*/ 22 h 22"/>
                  <a:gd name="T40" fmla="*/ 4 w 14"/>
                  <a:gd name="T41" fmla="*/ 18 h 22"/>
                  <a:gd name="T42" fmla="*/ 0 w 14"/>
                  <a:gd name="T43" fmla="*/ 14 h 22"/>
                  <a:gd name="T44" fmla="*/ 0 w 14"/>
                  <a:gd name="T45" fmla="*/ 10 h 22"/>
                  <a:gd name="T46" fmla="*/ 0 w 14"/>
                  <a:gd name="T47" fmla="*/ 10 h 22"/>
                  <a:gd name="T48" fmla="*/ 0 w 14"/>
                  <a:gd name="T49" fmla="*/ 6 h 22"/>
                  <a:gd name="T50" fmla="*/ 0 w 14"/>
                  <a:gd name="T51" fmla="*/ 6 h 22"/>
                  <a:gd name="T52" fmla="*/ 8 w 14"/>
                  <a:gd name="T53" fmla="*/ 0 h 22"/>
                  <a:gd name="T54" fmla="*/ 8 w 14"/>
                  <a:gd name="T55" fmla="*/ 0 h 22"/>
                  <a:gd name="T56" fmla="*/ 8 w 14"/>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2">
                    <a:moveTo>
                      <a:pt x="8" y="0"/>
                    </a:moveTo>
                    <a:lnTo>
                      <a:pt x="8" y="0"/>
                    </a:lnTo>
                    <a:lnTo>
                      <a:pt x="0" y="4"/>
                    </a:lnTo>
                    <a:lnTo>
                      <a:pt x="0" y="4"/>
                    </a:lnTo>
                    <a:lnTo>
                      <a:pt x="0" y="8"/>
                    </a:lnTo>
                    <a:lnTo>
                      <a:pt x="0" y="8"/>
                    </a:lnTo>
                    <a:lnTo>
                      <a:pt x="0" y="14"/>
                    </a:lnTo>
                    <a:lnTo>
                      <a:pt x="4" y="18"/>
                    </a:lnTo>
                    <a:lnTo>
                      <a:pt x="8" y="22"/>
                    </a:lnTo>
                    <a:lnTo>
                      <a:pt x="12" y="22"/>
                    </a:lnTo>
                    <a:lnTo>
                      <a:pt x="12" y="22"/>
                    </a:lnTo>
                    <a:lnTo>
                      <a:pt x="14" y="22"/>
                    </a:lnTo>
                    <a:lnTo>
                      <a:pt x="14" y="22"/>
                    </a:lnTo>
                    <a:lnTo>
                      <a:pt x="14" y="22"/>
                    </a:lnTo>
                    <a:lnTo>
                      <a:pt x="14" y="22"/>
                    </a:lnTo>
                    <a:lnTo>
                      <a:pt x="14" y="22"/>
                    </a:lnTo>
                    <a:lnTo>
                      <a:pt x="14" y="22"/>
                    </a:lnTo>
                    <a:lnTo>
                      <a:pt x="14" y="22"/>
                    </a:lnTo>
                    <a:lnTo>
                      <a:pt x="14" y="22"/>
                    </a:lnTo>
                    <a:lnTo>
                      <a:pt x="8" y="22"/>
                    </a:lnTo>
                    <a:lnTo>
                      <a:pt x="4" y="18"/>
                    </a:lnTo>
                    <a:lnTo>
                      <a:pt x="0" y="14"/>
                    </a:lnTo>
                    <a:lnTo>
                      <a:pt x="0" y="10"/>
                    </a:lnTo>
                    <a:lnTo>
                      <a:pt x="0" y="10"/>
                    </a:lnTo>
                    <a:lnTo>
                      <a:pt x="0" y="6"/>
                    </a:lnTo>
                    <a:lnTo>
                      <a:pt x="0"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9" name="Freeform 90"/>
              <p:cNvSpPr>
                <a:spLocks/>
              </p:cNvSpPr>
              <p:nvPr/>
            </p:nvSpPr>
            <p:spPr bwMode="auto">
              <a:xfrm>
                <a:off x="1162" y="2264"/>
                <a:ext cx="14" cy="22"/>
              </a:xfrm>
              <a:custGeom>
                <a:avLst/>
                <a:gdLst>
                  <a:gd name="T0" fmla="*/ 8 w 14"/>
                  <a:gd name="T1" fmla="*/ 0 h 22"/>
                  <a:gd name="T2" fmla="*/ 8 w 14"/>
                  <a:gd name="T3" fmla="*/ 0 h 22"/>
                  <a:gd name="T4" fmla="*/ 0 w 14"/>
                  <a:gd name="T5" fmla="*/ 4 h 22"/>
                  <a:gd name="T6" fmla="*/ 0 w 14"/>
                  <a:gd name="T7" fmla="*/ 4 h 22"/>
                  <a:gd name="T8" fmla="*/ 0 w 14"/>
                  <a:gd name="T9" fmla="*/ 8 h 22"/>
                  <a:gd name="T10" fmla="*/ 0 w 14"/>
                  <a:gd name="T11" fmla="*/ 8 h 22"/>
                  <a:gd name="T12" fmla="*/ 0 w 14"/>
                  <a:gd name="T13" fmla="*/ 14 h 22"/>
                  <a:gd name="T14" fmla="*/ 4 w 14"/>
                  <a:gd name="T15" fmla="*/ 18 h 22"/>
                  <a:gd name="T16" fmla="*/ 8 w 14"/>
                  <a:gd name="T17" fmla="*/ 22 h 22"/>
                  <a:gd name="T18" fmla="*/ 12 w 14"/>
                  <a:gd name="T19" fmla="*/ 22 h 22"/>
                  <a:gd name="T20" fmla="*/ 12 w 14"/>
                  <a:gd name="T21" fmla="*/ 22 h 22"/>
                  <a:gd name="T22" fmla="*/ 14 w 14"/>
                  <a:gd name="T23" fmla="*/ 22 h 22"/>
                  <a:gd name="T24" fmla="*/ 14 w 14"/>
                  <a:gd name="T25" fmla="*/ 22 h 22"/>
                  <a:gd name="T26" fmla="*/ 14 w 14"/>
                  <a:gd name="T27" fmla="*/ 22 h 22"/>
                  <a:gd name="T28" fmla="*/ 14 w 14"/>
                  <a:gd name="T29" fmla="*/ 22 h 22"/>
                  <a:gd name="T30" fmla="*/ 14 w 14"/>
                  <a:gd name="T31" fmla="*/ 22 h 22"/>
                  <a:gd name="T32" fmla="*/ 14 w 14"/>
                  <a:gd name="T33" fmla="*/ 22 h 22"/>
                  <a:gd name="T34" fmla="*/ 14 w 14"/>
                  <a:gd name="T35" fmla="*/ 22 h 22"/>
                  <a:gd name="T36" fmla="*/ 14 w 14"/>
                  <a:gd name="T37" fmla="*/ 22 h 22"/>
                  <a:gd name="T38" fmla="*/ 8 w 14"/>
                  <a:gd name="T39" fmla="*/ 22 h 22"/>
                  <a:gd name="T40" fmla="*/ 4 w 14"/>
                  <a:gd name="T41" fmla="*/ 18 h 22"/>
                  <a:gd name="T42" fmla="*/ 0 w 14"/>
                  <a:gd name="T43" fmla="*/ 14 h 22"/>
                  <a:gd name="T44" fmla="*/ 0 w 14"/>
                  <a:gd name="T45" fmla="*/ 10 h 22"/>
                  <a:gd name="T46" fmla="*/ 0 w 14"/>
                  <a:gd name="T47" fmla="*/ 10 h 22"/>
                  <a:gd name="T48" fmla="*/ 0 w 14"/>
                  <a:gd name="T49" fmla="*/ 6 h 22"/>
                  <a:gd name="T50" fmla="*/ 0 w 14"/>
                  <a:gd name="T51" fmla="*/ 6 h 22"/>
                  <a:gd name="T52" fmla="*/ 8 w 14"/>
                  <a:gd name="T53" fmla="*/ 0 h 22"/>
                  <a:gd name="T54" fmla="*/ 8 w 14"/>
                  <a:gd name="T55" fmla="*/ 0 h 22"/>
                  <a:gd name="T56" fmla="*/ 8 w 14"/>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2">
                    <a:moveTo>
                      <a:pt x="8" y="0"/>
                    </a:moveTo>
                    <a:lnTo>
                      <a:pt x="8" y="0"/>
                    </a:lnTo>
                    <a:lnTo>
                      <a:pt x="0" y="4"/>
                    </a:lnTo>
                    <a:lnTo>
                      <a:pt x="0" y="4"/>
                    </a:lnTo>
                    <a:lnTo>
                      <a:pt x="0" y="8"/>
                    </a:lnTo>
                    <a:lnTo>
                      <a:pt x="0" y="8"/>
                    </a:lnTo>
                    <a:lnTo>
                      <a:pt x="0" y="14"/>
                    </a:lnTo>
                    <a:lnTo>
                      <a:pt x="4" y="18"/>
                    </a:lnTo>
                    <a:lnTo>
                      <a:pt x="8" y="22"/>
                    </a:lnTo>
                    <a:lnTo>
                      <a:pt x="12" y="22"/>
                    </a:lnTo>
                    <a:lnTo>
                      <a:pt x="12" y="22"/>
                    </a:lnTo>
                    <a:lnTo>
                      <a:pt x="14" y="22"/>
                    </a:lnTo>
                    <a:lnTo>
                      <a:pt x="14" y="22"/>
                    </a:lnTo>
                    <a:lnTo>
                      <a:pt x="14" y="22"/>
                    </a:lnTo>
                    <a:lnTo>
                      <a:pt x="14" y="22"/>
                    </a:lnTo>
                    <a:lnTo>
                      <a:pt x="14" y="22"/>
                    </a:lnTo>
                    <a:lnTo>
                      <a:pt x="14" y="22"/>
                    </a:lnTo>
                    <a:lnTo>
                      <a:pt x="14" y="22"/>
                    </a:lnTo>
                    <a:lnTo>
                      <a:pt x="14" y="22"/>
                    </a:lnTo>
                    <a:lnTo>
                      <a:pt x="8" y="22"/>
                    </a:lnTo>
                    <a:lnTo>
                      <a:pt x="4" y="18"/>
                    </a:lnTo>
                    <a:lnTo>
                      <a:pt x="0" y="14"/>
                    </a:lnTo>
                    <a:lnTo>
                      <a:pt x="0" y="10"/>
                    </a:lnTo>
                    <a:lnTo>
                      <a:pt x="0" y="10"/>
                    </a:lnTo>
                    <a:lnTo>
                      <a:pt x="0" y="6"/>
                    </a:lnTo>
                    <a:lnTo>
                      <a:pt x="0"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0" name="Freeform 91"/>
              <p:cNvSpPr>
                <a:spLocks/>
              </p:cNvSpPr>
              <p:nvPr/>
            </p:nvSpPr>
            <p:spPr bwMode="auto">
              <a:xfrm>
                <a:off x="1260" y="2268"/>
                <a:ext cx="16" cy="26"/>
              </a:xfrm>
              <a:custGeom>
                <a:avLst/>
                <a:gdLst>
                  <a:gd name="T0" fmla="*/ 12 w 16"/>
                  <a:gd name="T1" fmla="*/ 0 h 26"/>
                  <a:gd name="T2" fmla="*/ 12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4 w 16"/>
                  <a:gd name="T25" fmla="*/ 26 h 26"/>
                  <a:gd name="T26" fmla="*/ 14 w 16"/>
                  <a:gd name="T27" fmla="*/ 26 h 26"/>
                  <a:gd name="T28" fmla="*/ 16 w 16"/>
                  <a:gd name="T29" fmla="*/ 24 h 26"/>
                  <a:gd name="T30" fmla="*/ 16 w 16"/>
                  <a:gd name="T31" fmla="*/ 24 h 26"/>
                  <a:gd name="T32" fmla="*/ 16 w 16"/>
                  <a:gd name="T33" fmla="*/ 8 h 26"/>
                  <a:gd name="T34" fmla="*/ 16 w 16"/>
                  <a:gd name="T35" fmla="*/ 8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2" y="20"/>
                    </a:lnTo>
                    <a:lnTo>
                      <a:pt x="2" y="20"/>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1" name="Freeform 92"/>
              <p:cNvSpPr>
                <a:spLocks/>
              </p:cNvSpPr>
              <p:nvPr/>
            </p:nvSpPr>
            <p:spPr bwMode="auto">
              <a:xfrm>
                <a:off x="1260" y="2268"/>
                <a:ext cx="16" cy="26"/>
              </a:xfrm>
              <a:custGeom>
                <a:avLst/>
                <a:gdLst>
                  <a:gd name="T0" fmla="*/ 12 w 16"/>
                  <a:gd name="T1" fmla="*/ 0 h 26"/>
                  <a:gd name="T2" fmla="*/ 12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4 w 16"/>
                  <a:gd name="T25" fmla="*/ 26 h 26"/>
                  <a:gd name="T26" fmla="*/ 14 w 16"/>
                  <a:gd name="T27" fmla="*/ 26 h 26"/>
                  <a:gd name="T28" fmla="*/ 16 w 16"/>
                  <a:gd name="T29" fmla="*/ 24 h 26"/>
                  <a:gd name="T30" fmla="*/ 16 w 16"/>
                  <a:gd name="T31" fmla="*/ 24 h 26"/>
                  <a:gd name="T32" fmla="*/ 16 w 16"/>
                  <a:gd name="T33" fmla="*/ 8 h 26"/>
                  <a:gd name="T34" fmla="*/ 16 w 16"/>
                  <a:gd name="T35" fmla="*/ 8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2" y="20"/>
                    </a:lnTo>
                    <a:lnTo>
                      <a:pt x="2" y="20"/>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2" name="Freeform 93"/>
              <p:cNvSpPr>
                <a:spLocks noEditPoints="1"/>
              </p:cNvSpPr>
              <p:nvPr/>
            </p:nvSpPr>
            <p:spPr bwMode="auto">
              <a:xfrm>
                <a:off x="1258" y="2268"/>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2 w 18"/>
                  <a:gd name="T13" fmla="*/ 26 h 26"/>
                  <a:gd name="T14" fmla="*/ 2 w 18"/>
                  <a:gd name="T15" fmla="*/ 26 h 26"/>
                  <a:gd name="T16" fmla="*/ 4 w 18"/>
                  <a:gd name="T17" fmla="*/ 20 h 26"/>
                  <a:gd name="T18" fmla="*/ 16 w 18"/>
                  <a:gd name="T19" fmla="*/ 0 h 26"/>
                  <a:gd name="T20" fmla="*/ 16 w 18"/>
                  <a:gd name="T21" fmla="*/ 0 h 26"/>
                  <a:gd name="T22" fmla="*/ 14 w 18"/>
                  <a:gd name="T23" fmla="*/ 0 h 26"/>
                  <a:gd name="T24" fmla="*/ 14 w 18"/>
                  <a:gd name="T25" fmla="*/ 0 h 26"/>
                  <a:gd name="T26" fmla="*/ 18 w 18"/>
                  <a:gd name="T27" fmla="*/ 8 h 26"/>
                  <a:gd name="T28" fmla="*/ 18 w 18"/>
                  <a:gd name="T29" fmla="*/ 8 h 26"/>
                  <a:gd name="T30" fmla="*/ 18 w 18"/>
                  <a:gd name="T31" fmla="*/ 24 h 26"/>
                  <a:gd name="T32" fmla="*/ 18 w 18"/>
                  <a:gd name="T33" fmla="*/ 24 h 26"/>
                  <a:gd name="T34" fmla="*/ 16 w 18"/>
                  <a:gd name="T35" fmla="*/ 26 h 26"/>
                  <a:gd name="T36" fmla="*/ 16 w 18"/>
                  <a:gd name="T37" fmla="*/ 26 h 26"/>
                  <a:gd name="T38" fmla="*/ 12 w 18"/>
                  <a:gd name="T39" fmla="*/ 26 h 26"/>
                  <a:gd name="T40" fmla="*/ 12 w 18"/>
                  <a:gd name="T41" fmla="*/ 26 h 26"/>
                  <a:gd name="T42" fmla="*/ 12 w 18"/>
                  <a:gd name="T43" fmla="*/ 26 h 26"/>
                  <a:gd name="T44" fmla="*/ 12 w 18"/>
                  <a:gd name="T45" fmla="*/ 26 h 26"/>
                  <a:gd name="T46" fmla="*/ 12 w 18"/>
                  <a:gd name="T47" fmla="*/ 26 h 26"/>
                  <a:gd name="T48" fmla="*/ 12 w 18"/>
                  <a:gd name="T49" fmla="*/ 26 h 26"/>
                  <a:gd name="T50" fmla="*/ 16 w 18"/>
                  <a:gd name="T51" fmla="*/ 26 h 26"/>
                  <a:gd name="T52" fmla="*/ 16 w 18"/>
                  <a:gd name="T53" fmla="*/ 26 h 26"/>
                  <a:gd name="T54" fmla="*/ 18 w 18"/>
                  <a:gd name="T55" fmla="*/ 24 h 26"/>
                  <a:gd name="T56" fmla="*/ 18 w 18"/>
                  <a:gd name="T57" fmla="*/ 24 h 26"/>
                  <a:gd name="T58" fmla="*/ 18 w 18"/>
                  <a:gd name="T59" fmla="*/ 8 h 26"/>
                  <a:gd name="T60" fmla="*/ 18 w 18"/>
                  <a:gd name="T61" fmla="*/ 8 h 26"/>
                  <a:gd name="T62" fmla="*/ 16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8" y="26"/>
                    </a:lnTo>
                    <a:lnTo>
                      <a:pt x="8" y="26"/>
                    </a:lnTo>
                    <a:lnTo>
                      <a:pt x="2" y="26"/>
                    </a:lnTo>
                    <a:lnTo>
                      <a:pt x="2" y="26"/>
                    </a:lnTo>
                    <a:lnTo>
                      <a:pt x="4" y="20"/>
                    </a:lnTo>
                    <a:close/>
                    <a:moveTo>
                      <a:pt x="16" y="0"/>
                    </a:moveTo>
                    <a:lnTo>
                      <a:pt x="16" y="0"/>
                    </a:lnTo>
                    <a:lnTo>
                      <a:pt x="14" y="0"/>
                    </a:lnTo>
                    <a:lnTo>
                      <a:pt x="14" y="0"/>
                    </a:lnTo>
                    <a:lnTo>
                      <a:pt x="18" y="8"/>
                    </a:lnTo>
                    <a:lnTo>
                      <a:pt x="18" y="8"/>
                    </a:lnTo>
                    <a:lnTo>
                      <a:pt x="18" y="24"/>
                    </a:lnTo>
                    <a:lnTo>
                      <a:pt x="18" y="24"/>
                    </a:lnTo>
                    <a:lnTo>
                      <a:pt x="16" y="26"/>
                    </a:lnTo>
                    <a:lnTo>
                      <a:pt x="16" y="26"/>
                    </a:lnTo>
                    <a:lnTo>
                      <a:pt x="12" y="26"/>
                    </a:lnTo>
                    <a:lnTo>
                      <a:pt x="12" y="26"/>
                    </a:lnTo>
                    <a:lnTo>
                      <a:pt x="12" y="26"/>
                    </a:lnTo>
                    <a:lnTo>
                      <a:pt x="12" y="26"/>
                    </a:lnTo>
                    <a:lnTo>
                      <a:pt x="12" y="26"/>
                    </a:lnTo>
                    <a:lnTo>
                      <a:pt x="12" y="26"/>
                    </a:lnTo>
                    <a:lnTo>
                      <a:pt x="16" y="26"/>
                    </a:lnTo>
                    <a:lnTo>
                      <a:pt x="16" y="26"/>
                    </a:lnTo>
                    <a:lnTo>
                      <a:pt x="18" y="24"/>
                    </a:lnTo>
                    <a:lnTo>
                      <a:pt x="18" y="24"/>
                    </a:lnTo>
                    <a:lnTo>
                      <a:pt x="18" y="8"/>
                    </a:lnTo>
                    <a:lnTo>
                      <a:pt x="18" y="8"/>
                    </a:lnTo>
                    <a:lnTo>
                      <a:pt x="1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3" name="Freeform 94"/>
              <p:cNvSpPr>
                <a:spLocks/>
              </p:cNvSpPr>
              <p:nvPr/>
            </p:nvSpPr>
            <p:spPr bwMode="auto">
              <a:xfrm>
                <a:off x="1258" y="2288"/>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2 w 8"/>
                  <a:gd name="T13" fmla="*/ 6 h 6"/>
                  <a:gd name="T14" fmla="*/ 2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2" y="6"/>
                    </a:lnTo>
                    <a:lnTo>
                      <a:pt x="2"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4" name="Freeform 95"/>
              <p:cNvSpPr>
                <a:spLocks/>
              </p:cNvSpPr>
              <p:nvPr/>
            </p:nvSpPr>
            <p:spPr bwMode="auto">
              <a:xfrm>
                <a:off x="1270" y="2268"/>
                <a:ext cx="6" cy="26"/>
              </a:xfrm>
              <a:custGeom>
                <a:avLst/>
                <a:gdLst>
                  <a:gd name="T0" fmla="*/ 4 w 6"/>
                  <a:gd name="T1" fmla="*/ 0 h 26"/>
                  <a:gd name="T2" fmla="*/ 4 w 6"/>
                  <a:gd name="T3" fmla="*/ 0 h 26"/>
                  <a:gd name="T4" fmla="*/ 2 w 6"/>
                  <a:gd name="T5" fmla="*/ 0 h 26"/>
                  <a:gd name="T6" fmla="*/ 2 w 6"/>
                  <a:gd name="T7" fmla="*/ 0 h 26"/>
                  <a:gd name="T8" fmla="*/ 6 w 6"/>
                  <a:gd name="T9" fmla="*/ 8 h 26"/>
                  <a:gd name="T10" fmla="*/ 6 w 6"/>
                  <a:gd name="T11" fmla="*/ 8 h 26"/>
                  <a:gd name="T12" fmla="*/ 6 w 6"/>
                  <a:gd name="T13" fmla="*/ 24 h 26"/>
                  <a:gd name="T14" fmla="*/ 6 w 6"/>
                  <a:gd name="T15" fmla="*/ 24 h 26"/>
                  <a:gd name="T16" fmla="*/ 4 w 6"/>
                  <a:gd name="T17" fmla="*/ 26 h 26"/>
                  <a:gd name="T18" fmla="*/ 4 w 6"/>
                  <a:gd name="T19" fmla="*/ 26 h 26"/>
                  <a:gd name="T20" fmla="*/ 0 w 6"/>
                  <a:gd name="T21" fmla="*/ 26 h 26"/>
                  <a:gd name="T22" fmla="*/ 0 w 6"/>
                  <a:gd name="T23" fmla="*/ 26 h 26"/>
                  <a:gd name="T24" fmla="*/ 0 w 6"/>
                  <a:gd name="T25" fmla="*/ 26 h 26"/>
                  <a:gd name="T26" fmla="*/ 0 w 6"/>
                  <a:gd name="T27" fmla="*/ 26 h 26"/>
                  <a:gd name="T28" fmla="*/ 0 w 6"/>
                  <a:gd name="T29" fmla="*/ 26 h 26"/>
                  <a:gd name="T30" fmla="*/ 0 w 6"/>
                  <a:gd name="T31" fmla="*/ 26 h 26"/>
                  <a:gd name="T32" fmla="*/ 4 w 6"/>
                  <a:gd name="T33" fmla="*/ 26 h 26"/>
                  <a:gd name="T34" fmla="*/ 4 w 6"/>
                  <a:gd name="T35" fmla="*/ 26 h 26"/>
                  <a:gd name="T36" fmla="*/ 6 w 6"/>
                  <a:gd name="T37" fmla="*/ 24 h 26"/>
                  <a:gd name="T38" fmla="*/ 6 w 6"/>
                  <a:gd name="T39" fmla="*/ 24 h 26"/>
                  <a:gd name="T40" fmla="*/ 6 w 6"/>
                  <a:gd name="T41" fmla="*/ 8 h 26"/>
                  <a:gd name="T42" fmla="*/ 6 w 6"/>
                  <a:gd name="T43" fmla="*/ 8 h 26"/>
                  <a:gd name="T44" fmla="*/ 4 w 6"/>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26">
                    <a:moveTo>
                      <a:pt x="4" y="0"/>
                    </a:moveTo>
                    <a:lnTo>
                      <a:pt x="4" y="0"/>
                    </a:lnTo>
                    <a:lnTo>
                      <a:pt x="2" y="0"/>
                    </a:lnTo>
                    <a:lnTo>
                      <a:pt x="2" y="0"/>
                    </a:lnTo>
                    <a:lnTo>
                      <a:pt x="6" y="8"/>
                    </a:lnTo>
                    <a:lnTo>
                      <a:pt x="6" y="8"/>
                    </a:lnTo>
                    <a:lnTo>
                      <a:pt x="6" y="24"/>
                    </a:lnTo>
                    <a:lnTo>
                      <a:pt x="6" y="24"/>
                    </a:lnTo>
                    <a:lnTo>
                      <a:pt x="4" y="26"/>
                    </a:lnTo>
                    <a:lnTo>
                      <a:pt x="4" y="26"/>
                    </a:lnTo>
                    <a:lnTo>
                      <a:pt x="0" y="26"/>
                    </a:lnTo>
                    <a:lnTo>
                      <a:pt x="0" y="26"/>
                    </a:lnTo>
                    <a:lnTo>
                      <a:pt x="0" y="26"/>
                    </a:lnTo>
                    <a:lnTo>
                      <a:pt x="0" y="26"/>
                    </a:lnTo>
                    <a:lnTo>
                      <a:pt x="0" y="26"/>
                    </a:lnTo>
                    <a:lnTo>
                      <a:pt x="0" y="26"/>
                    </a:lnTo>
                    <a:lnTo>
                      <a:pt x="4" y="26"/>
                    </a:lnTo>
                    <a:lnTo>
                      <a:pt x="4" y="26"/>
                    </a:lnTo>
                    <a:lnTo>
                      <a:pt x="6" y="24"/>
                    </a:lnTo>
                    <a:lnTo>
                      <a:pt x="6"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5" name="Freeform 96"/>
              <p:cNvSpPr>
                <a:spLocks/>
              </p:cNvSpPr>
              <p:nvPr/>
            </p:nvSpPr>
            <p:spPr bwMode="auto">
              <a:xfrm>
                <a:off x="1158" y="2214"/>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4 w 12"/>
                  <a:gd name="T19" fmla="*/ 18 h 20"/>
                  <a:gd name="T20" fmla="*/ 4 w 12"/>
                  <a:gd name="T21" fmla="*/ 18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4 w 12"/>
                  <a:gd name="T47" fmla="*/ 16 h 20"/>
                  <a:gd name="T48" fmla="*/ 4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4" y="18"/>
                    </a:lnTo>
                    <a:lnTo>
                      <a:pt x="4" y="18"/>
                    </a:lnTo>
                    <a:lnTo>
                      <a:pt x="6" y="20"/>
                    </a:lnTo>
                    <a:lnTo>
                      <a:pt x="6" y="20"/>
                    </a:lnTo>
                    <a:lnTo>
                      <a:pt x="10" y="18"/>
                    </a:lnTo>
                    <a:lnTo>
                      <a:pt x="10" y="18"/>
                    </a:lnTo>
                    <a:lnTo>
                      <a:pt x="12" y="14"/>
                    </a:lnTo>
                    <a:lnTo>
                      <a:pt x="12" y="14"/>
                    </a:lnTo>
                    <a:lnTo>
                      <a:pt x="10" y="14"/>
                    </a:lnTo>
                    <a:lnTo>
                      <a:pt x="10" y="14"/>
                    </a:lnTo>
                    <a:lnTo>
                      <a:pt x="8" y="16"/>
                    </a:lnTo>
                    <a:lnTo>
                      <a:pt x="8" y="16"/>
                    </a:lnTo>
                    <a:lnTo>
                      <a:pt x="6" y="16"/>
                    </a:lnTo>
                    <a:lnTo>
                      <a:pt x="6" y="16"/>
                    </a:lnTo>
                    <a:lnTo>
                      <a:pt x="4" y="16"/>
                    </a:lnTo>
                    <a:lnTo>
                      <a:pt x="4" y="16"/>
                    </a:lnTo>
                    <a:lnTo>
                      <a:pt x="4" y="12"/>
                    </a:lnTo>
                    <a:lnTo>
                      <a:pt x="4" y="12"/>
                    </a:lnTo>
                    <a:lnTo>
                      <a:pt x="8" y="0"/>
                    </a:lnTo>
                    <a:lnTo>
                      <a:pt x="8" y="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6" name="Freeform 97"/>
              <p:cNvSpPr>
                <a:spLocks/>
              </p:cNvSpPr>
              <p:nvPr/>
            </p:nvSpPr>
            <p:spPr bwMode="auto">
              <a:xfrm>
                <a:off x="1158" y="2214"/>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4 w 12"/>
                  <a:gd name="T19" fmla="*/ 18 h 20"/>
                  <a:gd name="T20" fmla="*/ 4 w 12"/>
                  <a:gd name="T21" fmla="*/ 18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4 w 12"/>
                  <a:gd name="T47" fmla="*/ 16 h 20"/>
                  <a:gd name="T48" fmla="*/ 4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4" y="18"/>
                    </a:lnTo>
                    <a:lnTo>
                      <a:pt x="4" y="18"/>
                    </a:lnTo>
                    <a:lnTo>
                      <a:pt x="6" y="20"/>
                    </a:lnTo>
                    <a:lnTo>
                      <a:pt x="6" y="20"/>
                    </a:lnTo>
                    <a:lnTo>
                      <a:pt x="10" y="18"/>
                    </a:lnTo>
                    <a:lnTo>
                      <a:pt x="10" y="18"/>
                    </a:lnTo>
                    <a:lnTo>
                      <a:pt x="12" y="14"/>
                    </a:lnTo>
                    <a:lnTo>
                      <a:pt x="12" y="14"/>
                    </a:lnTo>
                    <a:lnTo>
                      <a:pt x="10" y="14"/>
                    </a:lnTo>
                    <a:lnTo>
                      <a:pt x="10" y="14"/>
                    </a:lnTo>
                    <a:lnTo>
                      <a:pt x="8" y="16"/>
                    </a:lnTo>
                    <a:lnTo>
                      <a:pt x="8" y="16"/>
                    </a:lnTo>
                    <a:lnTo>
                      <a:pt x="6" y="16"/>
                    </a:lnTo>
                    <a:lnTo>
                      <a:pt x="6" y="16"/>
                    </a:lnTo>
                    <a:lnTo>
                      <a:pt x="4" y="16"/>
                    </a:lnTo>
                    <a:lnTo>
                      <a:pt x="4" y="16"/>
                    </a:lnTo>
                    <a:lnTo>
                      <a:pt x="4" y="12"/>
                    </a:lnTo>
                    <a:lnTo>
                      <a:pt x="4" y="1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7" name="Freeform 98"/>
              <p:cNvSpPr>
                <a:spLocks noEditPoints="1"/>
              </p:cNvSpPr>
              <p:nvPr/>
            </p:nvSpPr>
            <p:spPr bwMode="auto">
              <a:xfrm>
                <a:off x="1162" y="2214"/>
                <a:ext cx="8" cy="20"/>
              </a:xfrm>
              <a:custGeom>
                <a:avLst/>
                <a:gdLst>
                  <a:gd name="T0" fmla="*/ 6 w 8"/>
                  <a:gd name="T1" fmla="*/ 18 h 20"/>
                  <a:gd name="T2" fmla="*/ 6 w 8"/>
                  <a:gd name="T3" fmla="*/ 18 h 20"/>
                  <a:gd name="T4" fmla="*/ 2 w 8"/>
                  <a:gd name="T5" fmla="*/ 20 h 20"/>
                  <a:gd name="T6" fmla="*/ 2 w 8"/>
                  <a:gd name="T7" fmla="*/ 20 h 20"/>
                  <a:gd name="T8" fmla="*/ 0 w 8"/>
                  <a:gd name="T9" fmla="*/ 18 h 20"/>
                  <a:gd name="T10" fmla="*/ 0 w 8"/>
                  <a:gd name="T11" fmla="*/ 18 h 20"/>
                  <a:gd name="T12" fmla="*/ 0 w 8"/>
                  <a:gd name="T13" fmla="*/ 18 h 20"/>
                  <a:gd name="T14" fmla="*/ 0 w 8"/>
                  <a:gd name="T15" fmla="*/ 18 h 20"/>
                  <a:gd name="T16" fmla="*/ 2 w 8"/>
                  <a:gd name="T17" fmla="*/ 20 h 20"/>
                  <a:gd name="T18" fmla="*/ 2 w 8"/>
                  <a:gd name="T19" fmla="*/ 20 h 20"/>
                  <a:gd name="T20" fmla="*/ 2 w 8"/>
                  <a:gd name="T21" fmla="*/ 20 h 20"/>
                  <a:gd name="T22" fmla="*/ 2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2 h 20"/>
                  <a:gd name="T46" fmla="*/ 0 w 8"/>
                  <a:gd name="T47" fmla="*/ 12 h 20"/>
                  <a:gd name="T48" fmla="*/ 0 w 8"/>
                  <a:gd name="T49" fmla="*/ 16 h 20"/>
                  <a:gd name="T50" fmla="*/ 0 w 8"/>
                  <a:gd name="T51" fmla="*/ 16 h 20"/>
                  <a:gd name="T52" fmla="*/ 2 w 8"/>
                  <a:gd name="T53" fmla="*/ 16 h 20"/>
                  <a:gd name="T54" fmla="*/ 2 w 8"/>
                  <a:gd name="T55" fmla="*/ 16 h 20"/>
                  <a:gd name="T56" fmla="*/ 2 w 8"/>
                  <a:gd name="T57" fmla="*/ 16 h 20"/>
                  <a:gd name="T58" fmla="*/ 2 w 8"/>
                  <a:gd name="T59" fmla="*/ 16 h 20"/>
                  <a:gd name="T60" fmla="*/ 0 w 8"/>
                  <a:gd name="T61" fmla="*/ 12 h 20"/>
                  <a:gd name="T62" fmla="*/ 0 w 8"/>
                  <a:gd name="T63" fmla="*/ 12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2" y="20"/>
                    </a:lnTo>
                    <a:lnTo>
                      <a:pt x="2" y="20"/>
                    </a:lnTo>
                    <a:lnTo>
                      <a:pt x="0" y="18"/>
                    </a:lnTo>
                    <a:lnTo>
                      <a:pt x="0" y="18"/>
                    </a:lnTo>
                    <a:lnTo>
                      <a:pt x="0" y="18"/>
                    </a:lnTo>
                    <a:lnTo>
                      <a:pt x="0" y="18"/>
                    </a:lnTo>
                    <a:lnTo>
                      <a:pt x="2" y="20"/>
                    </a:lnTo>
                    <a:lnTo>
                      <a:pt x="2" y="20"/>
                    </a:lnTo>
                    <a:lnTo>
                      <a:pt x="2" y="20"/>
                    </a:lnTo>
                    <a:lnTo>
                      <a:pt x="2" y="20"/>
                    </a:lnTo>
                    <a:lnTo>
                      <a:pt x="6" y="18"/>
                    </a:lnTo>
                    <a:close/>
                    <a:moveTo>
                      <a:pt x="8" y="14"/>
                    </a:moveTo>
                    <a:lnTo>
                      <a:pt x="8" y="14"/>
                    </a:lnTo>
                    <a:lnTo>
                      <a:pt x="6" y="14"/>
                    </a:lnTo>
                    <a:lnTo>
                      <a:pt x="6" y="14"/>
                    </a:lnTo>
                    <a:lnTo>
                      <a:pt x="8" y="14"/>
                    </a:lnTo>
                    <a:lnTo>
                      <a:pt x="8" y="14"/>
                    </a:lnTo>
                    <a:lnTo>
                      <a:pt x="8" y="14"/>
                    </a:lnTo>
                    <a:close/>
                    <a:moveTo>
                      <a:pt x="4" y="0"/>
                    </a:moveTo>
                    <a:lnTo>
                      <a:pt x="4" y="0"/>
                    </a:lnTo>
                    <a:lnTo>
                      <a:pt x="0" y="12"/>
                    </a:lnTo>
                    <a:lnTo>
                      <a:pt x="0" y="12"/>
                    </a:lnTo>
                    <a:lnTo>
                      <a:pt x="0" y="16"/>
                    </a:lnTo>
                    <a:lnTo>
                      <a:pt x="0" y="16"/>
                    </a:lnTo>
                    <a:lnTo>
                      <a:pt x="2" y="16"/>
                    </a:lnTo>
                    <a:lnTo>
                      <a:pt x="2" y="16"/>
                    </a:lnTo>
                    <a:lnTo>
                      <a:pt x="2" y="16"/>
                    </a:lnTo>
                    <a:lnTo>
                      <a:pt x="2" y="16"/>
                    </a:lnTo>
                    <a:lnTo>
                      <a:pt x="0" y="12"/>
                    </a:lnTo>
                    <a:lnTo>
                      <a:pt x="0" y="12"/>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8" name="Freeform 99"/>
              <p:cNvSpPr>
                <a:spLocks/>
              </p:cNvSpPr>
              <p:nvPr/>
            </p:nvSpPr>
            <p:spPr bwMode="auto">
              <a:xfrm>
                <a:off x="1162" y="2232"/>
                <a:ext cx="6" cy="2"/>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2 w 6"/>
                  <a:gd name="T17" fmla="*/ 2 h 2"/>
                  <a:gd name="T18" fmla="*/ 2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2" y="2"/>
                    </a:lnTo>
                    <a:lnTo>
                      <a:pt x="2"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9" name="Freeform 100"/>
              <p:cNvSpPr>
                <a:spLocks/>
              </p:cNvSpPr>
              <p:nvPr/>
            </p:nvSpPr>
            <p:spPr bwMode="auto">
              <a:xfrm>
                <a:off x="1168" y="2228"/>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0" name="Freeform 101"/>
              <p:cNvSpPr>
                <a:spLocks/>
              </p:cNvSpPr>
              <p:nvPr/>
            </p:nvSpPr>
            <p:spPr bwMode="auto">
              <a:xfrm>
                <a:off x="1162" y="2214"/>
                <a:ext cx="4" cy="16"/>
              </a:xfrm>
              <a:custGeom>
                <a:avLst/>
                <a:gdLst>
                  <a:gd name="T0" fmla="*/ 4 w 4"/>
                  <a:gd name="T1" fmla="*/ 0 h 16"/>
                  <a:gd name="T2" fmla="*/ 4 w 4"/>
                  <a:gd name="T3" fmla="*/ 0 h 16"/>
                  <a:gd name="T4" fmla="*/ 0 w 4"/>
                  <a:gd name="T5" fmla="*/ 12 h 16"/>
                  <a:gd name="T6" fmla="*/ 0 w 4"/>
                  <a:gd name="T7" fmla="*/ 12 h 16"/>
                  <a:gd name="T8" fmla="*/ 0 w 4"/>
                  <a:gd name="T9" fmla="*/ 16 h 16"/>
                  <a:gd name="T10" fmla="*/ 0 w 4"/>
                  <a:gd name="T11" fmla="*/ 16 h 16"/>
                  <a:gd name="T12" fmla="*/ 2 w 4"/>
                  <a:gd name="T13" fmla="*/ 16 h 16"/>
                  <a:gd name="T14" fmla="*/ 2 w 4"/>
                  <a:gd name="T15" fmla="*/ 16 h 16"/>
                  <a:gd name="T16" fmla="*/ 2 w 4"/>
                  <a:gd name="T17" fmla="*/ 16 h 16"/>
                  <a:gd name="T18" fmla="*/ 2 w 4"/>
                  <a:gd name="T19" fmla="*/ 16 h 16"/>
                  <a:gd name="T20" fmla="*/ 0 w 4"/>
                  <a:gd name="T21" fmla="*/ 12 h 16"/>
                  <a:gd name="T22" fmla="*/ 0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0" y="16"/>
                    </a:lnTo>
                    <a:lnTo>
                      <a:pt x="0"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1" name="Freeform 102"/>
              <p:cNvSpPr>
                <a:spLocks/>
              </p:cNvSpPr>
              <p:nvPr/>
            </p:nvSpPr>
            <p:spPr bwMode="auto">
              <a:xfrm>
                <a:off x="1164" y="22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2" name="Freeform 103"/>
              <p:cNvSpPr>
                <a:spLocks noEditPoints="1"/>
              </p:cNvSpPr>
              <p:nvPr/>
            </p:nvSpPr>
            <p:spPr bwMode="auto">
              <a:xfrm>
                <a:off x="1272" y="2202"/>
                <a:ext cx="20" cy="14"/>
              </a:xfrm>
              <a:custGeom>
                <a:avLst/>
                <a:gdLst>
                  <a:gd name="T0" fmla="*/ 8 w 20"/>
                  <a:gd name="T1" fmla="*/ 8 h 14"/>
                  <a:gd name="T2" fmla="*/ 8 w 20"/>
                  <a:gd name="T3" fmla="*/ 8 h 14"/>
                  <a:gd name="T4" fmla="*/ 8 w 20"/>
                  <a:gd name="T5" fmla="*/ 8 h 14"/>
                  <a:gd name="T6" fmla="*/ 8 w 20"/>
                  <a:gd name="T7" fmla="*/ 8 h 14"/>
                  <a:gd name="T8" fmla="*/ 10 w 20"/>
                  <a:gd name="T9" fmla="*/ 8 h 14"/>
                  <a:gd name="T10" fmla="*/ 10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2 h 14"/>
                  <a:gd name="T26" fmla="*/ 8 w 20"/>
                  <a:gd name="T27" fmla="*/ 12 h 14"/>
                  <a:gd name="T28" fmla="*/ 8 w 20"/>
                  <a:gd name="T29" fmla="*/ 12 h 14"/>
                  <a:gd name="T30" fmla="*/ 8 w 20"/>
                  <a:gd name="T31" fmla="*/ 12 h 14"/>
                  <a:gd name="T32" fmla="*/ 8 w 20"/>
                  <a:gd name="T33" fmla="*/ 12 h 14"/>
                  <a:gd name="T34" fmla="*/ 6 w 20"/>
                  <a:gd name="T35" fmla="*/ 10 h 14"/>
                  <a:gd name="T36" fmla="*/ 6 w 20"/>
                  <a:gd name="T37" fmla="*/ 10 h 14"/>
                  <a:gd name="T38" fmla="*/ 8 w 20"/>
                  <a:gd name="T39" fmla="*/ 8 h 14"/>
                  <a:gd name="T40" fmla="*/ 8 w 20"/>
                  <a:gd name="T41" fmla="*/ 8 h 14"/>
                  <a:gd name="T42" fmla="*/ 8 w 20"/>
                  <a:gd name="T43" fmla="*/ 8 h 14"/>
                  <a:gd name="T44" fmla="*/ 14 w 20"/>
                  <a:gd name="T45" fmla="*/ 0 h 14"/>
                  <a:gd name="T46" fmla="*/ 14 w 20"/>
                  <a:gd name="T47" fmla="*/ 0 h 14"/>
                  <a:gd name="T48" fmla="*/ 6 w 20"/>
                  <a:gd name="T49" fmla="*/ 4 h 14"/>
                  <a:gd name="T50" fmla="*/ 0 w 20"/>
                  <a:gd name="T51" fmla="*/ 10 h 14"/>
                  <a:gd name="T52" fmla="*/ 0 w 20"/>
                  <a:gd name="T53" fmla="*/ 10 h 14"/>
                  <a:gd name="T54" fmla="*/ 4 w 20"/>
                  <a:gd name="T55" fmla="*/ 10 h 14"/>
                  <a:gd name="T56" fmla="*/ 4 w 20"/>
                  <a:gd name="T57" fmla="*/ 10 h 14"/>
                  <a:gd name="T58" fmla="*/ 8 w 20"/>
                  <a:gd name="T59" fmla="*/ 14 h 14"/>
                  <a:gd name="T60" fmla="*/ 8 w 20"/>
                  <a:gd name="T61" fmla="*/ 14 h 14"/>
                  <a:gd name="T62" fmla="*/ 20 w 20"/>
                  <a:gd name="T63" fmla="*/ 6 h 14"/>
                  <a:gd name="T64" fmla="*/ 20 w 20"/>
                  <a:gd name="T65" fmla="*/ 6 h 14"/>
                  <a:gd name="T66" fmla="*/ 16 w 20"/>
                  <a:gd name="T67" fmla="*/ 6 h 14"/>
                  <a:gd name="T68" fmla="*/ 14 w 20"/>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4">
                    <a:moveTo>
                      <a:pt x="8" y="8"/>
                    </a:moveTo>
                    <a:lnTo>
                      <a:pt x="8" y="8"/>
                    </a:lnTo>
                    <a:lnTo>
                      <a:pt x="8" y="8"/>
                    </a:lnTo>
                    <a:lnTo>
                      <a:pt x="8" y="8"/>
                    </a:lnTo>
                    <a:lnTo>
                      <a:pt x="10" y="8"/>
                    </a:lnTo>
                    <a:lnTo>
                      <a:pt x="10" y="8"/>
                    </a:lnTo>
                    <a:lnTo>
                      <a:pt x="12" y="10"/>
                    </a:lnTo>
                    <a:lnTo>
                      <a:pt x="12" y="10"/>
                    </a:lnTo>
                    <a:lnTo>
                      <a:pt x="12" y="10"/>
                    </a:lnTo>
                    <a:lnTo>
                      <a:pt x="12" y="10"/>
                    </a:lnTo>
                    <a:lnTo>
                      <a:pt x="12" y="10"/>
                    </a:lnTo>
                    <a:lnTo>
                      <a:pt x="12" y="10"/>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3" name="Freeform 104"/>
              <p:cNvSpPr>
                <a:spLocks/>
              </p:cNvSpPr>
              <p:nvPr/>
            </p:nvSpPr>
            <p:spPr bwMode="auto">
              <a:xfrm>
                <a:off x="1278" y="2210"/>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2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4" name="Freeform 105"/>
              <p:cNvSpPr>
                <a:spLocks/>
              </p:cNvSpPr>
              <p:nvPr/>
            </p:nvSpPr>
            <p:spPr bwMode="auto">
              <a:xfrm>
                <a:off x="1272" y="2202"/>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5" name="Freeform 106"/>
              <p:cNvSpPr>
                <a:spLocks/>
              </p:cNvSpPr>
              <p:nvPr/>
            </p:nvSpPr>
            <p:spPr bwMode="auto">
              <a:xfrm>
                <a:off x="1226" y="21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6" name="Freeform 107"/>
              <p:cNvSpPr>
                <a:spLocks/>
              </p:cNvSpPr>
              <p:nvPr/>
            </p:nvSpPr>
            <p:spPr bwMode="auto">
              <a:xfrm>
                <a:off x="1226" y="21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7" name="Freeform 108"/>
              <p:cNvSpPr>
                <a:spLocks/>
              </p:cNvSpPr>
              <p:nvPr/>
            </p:nvSpPr>
            <p:spPr bwMode="auto">
              <a:xfrm>
                <a:off x="1322"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8" name="Freeform 109"/>
              <p:cNvSpPr>
                <a:spLocks/>
              </p:cNvSpPr>
              <p:nvPr/>
            </p:nvSpPr>
            <p:spPr bwMode="auto">
              <a:xfrm>
                <a:off x="1322"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9" name="Freeform 110"/>
              <p:cNvSpPr>
                <a:spLocks/>
              </p:cNvSpPr>
              <p:nvPr/>
            </p:nvSpPr>
            <p:spPr bwMode="auto">
              <a:xfrm>
                <a:off x="1266"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0" name="Freeform 111"/>
              <p:cNvSpPr>
                <a:spLocks/>
              </p:cNvSpPr>
              <p:nvPr/>
            </p:nvSpPr>
            <p:spPr bwMode="auto">
              <a:xfrm>
                <a:off x="1266"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1" name="Freeform 112"/>
              <p:cNvSpPr>
                <a:spLocks/>
              </p:cNvSpPr>
              <p:nvPr/>
            </p:nvSpPr>
            <p:spPr bwMode="auto">
              <a:xfrm>
                <a:off x="1282" y="2242"/>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2" name="Freeform 113"/>
              <p:cNvSpPr>
                <a:spLocks/>
              </p:cNvSpPr>
              <p:nvPr/>
            </p:nvSpPr>
            <p:spPr bwMode="auto">
              <a:xfrm>
                <a:off x="1282" y="2242"/>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3" name="Freeform 114"/>
              <p:cNvSpPr>
                <a:spLocks/>
              </p:cNvSpPr>
              <p:nvPr/>
            </p:nvSpPr>
            <p:spPr bwMode="auto">
              <a:xfrm>
                <a:off x="1278" y="2210"/>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4" name="Freeform 115"/>
              <p:cNvSpPr>
                <a:spLocks/>
              </p:cNvSpPr>
              <p:nvPr/>
            </p:nvSpPr>
            <p:spPr bwMode="auto">
              <a:xfrm>
                <a:off x="1278" y="2210"/>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5" name="Freeform 116"/>
              <p:cNvSpPr>
                <a:spLocks noEditPoints="1"/>
              </p:cNvSpPr>
              <p:nvPr/>
            </p:nvSpPr>
            <p:spPr bwMode="auto">
              <a:xfrm>
                <a:off x="1280" y="2210"/>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6" name="Freeform 117"/>
              <p:cNvSpPr>
                <a:spLocks/>
              </p:cNvSpPr>
              <p:nvPr/>
            </p:nvSpPr>
            <p:spPr bwMode="auto">
              <a:xfrm>
                <a:off x="1280" y="2212"/>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7" name="Freeform 118"/>
              <p:cNvSpPr>
                <a:spLocks/>
              </p:cNvSpPr>
              <p:nvPr/>
            </p:nvSpPr>
            <p:spPr bwMode="auto">
              <a:xfrm>
                <a:off x="1280" y="2210"/>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8" name="Freeform 119"/>
              <p:cNvSpPr>
                <a:spLocks/>
              </p:cNvSpPr>
              <p:nvPr/>
            </p:nvSpPr>
            <p:spPr bwMode="auto">
              <a:xfrm>
                <a:off x="2512"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9" name="Freeform 120"/>
              <p:cNvSpPr>
                <a:spLocks/>
              </p:cNvSpPr>
              <p:nvPr/>
            </p:nvSpPr>
            <p:spPr bwMode="auto">
              <a:xfrm>
                <a:off x="260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0" name="Freeform 121"/>
              <p:cNvSpPr>
                <a:spLocks/>
              </p:cNvSpPr>
              <p:nvPr/>
            </p:nvSpPr>
            <p:spPr bwMode="auto">
              <a:xfrm>
                <a:off x="269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1" name="Freeform 122"/>
              <p:cNvSpPr>
                <a:spLocks/>
              </p:cNvSpPr>
              <p:nvPr/>
            </p:nvSpPr>
            <p:spPr bwMode="auto">
              <a:xfrm>
                <a:off x="311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2" name="Freeform 123"/>
              <p:cNvSpPr>
                <a:spLocks/>
              </p:cNvSpPr>
              <p:nvPr/>
            </p:nvSpPr>
            <p:spPr bwMode="auto">
              <a:xfrm>
                <a:off x="320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3" name="Freeform 124"/>
              <p:cNvSpPr>
                <a:spLocks/>
              </p:cNvSpPr>
              <p:nvPr/>
            </p:nvSpPr>
            <p:spPr bwMode="auto">
              <a:xfrm>
                <a:off x="3294"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4" name="Freeform 125"/>
              <p:cNvSpPr>
                <a:spLocks/>
              </p:cNvSpPr>
              <p:nvPr/>
            </p:nvSpPr>
            <p:spPr bwMode="auto">
              <a:xfrm>
                <a:off x="338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5" name="Freeform 126"/>
              <p:cNvSpPr>
                <a:spLocks/>
              </p:cNvSpPr>
              <p:nvPr/>
            </p:nvSpPr>
            <p:spPr bwMode="auto">
              <a:xfrm>
                <a:off x="3620"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6" name="Freeform 127"/>
              <p:cNvSpPr>
                <a:spLocks/>
              </p:cNvSpPr>
              <p:nvPr/>
            </p:nvSpPr>
            <p:spPr bwMode="auto">
              <a:xfrm>
                <a:off x="371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7" name="Freeform 128"/>
              <p:cNvSpPr>
                <a:spLocks/>
              </p:cNvSpPr>
              <p:nvPr/>
            </p:nvSpPr>
            <p:spPr bwMode="auto">
              <a:xfrm>
                <a:off x="3474"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8" name="Freeform 129"/>
              <p:cNvSpPr>
                <a:spLocks/>
              </p:cNvSpPr>
              <p:nvPr/>
            </p:nvSpPr>
            <p:spPr bwMode="auto">
              <a:xfrm>
                <a:off x="3474"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9" name="Freeform 130"/>
              <p:cNvSpPr>
                <a:spLocks/>
              </p:cNvSpPr>
              <p:nvPr/>
            </p:nvSpPr>
            <p:spPr bwMode="auto">
              <a:xfrm>
                <a:off x="3536"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0" name="Freeform 131"/>
              <p:cNvSpPr>
                <a:spLocks/>
              </p:cNvSpPr>
              <p:nvPr/>
            </p:nvSpPr>
            <p:spPr bwMode="auto">
              <a:xfrm>
                <a:off x="3536"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1" name="Freeform 132"/>
              <p:cNvSpPr>
                <a:spLocks noEditPoints="1"/>
              </p:cNvSpPr>
              <p:nvPr/>
            </p:nvSpPr>
            <p:spPr bwMode="auto">
              <a:xfrm>
                <a:off x="2334" y="19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2" name="Freeform 133"/>
              <p:cNvSpPr>
                <a:spLocks noEditPoints="1"/>
              </p:cNvSpPr>
              <p:nvPr/>
            </p:nvSpPr>
            <p:spPr bwMode="auto">
              <a:xfrm>
                <a:off x="2470"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3" name="Freeform 134"/>
              <p:cNvSpPr>
                <a:spLocks noEditPoints="1"/>
              </p:cNvSpPr>
              <p:nvPr/>
            </p:nvSpPr>
            <p:spPr bwMode="auto">
              <a:xfrm>
                <a:off x="2882" y="1976"/>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4" name="Freeform 135"/>
              <p:cNvSpPr>
                <a:spLocks/>
              </p:cNvSpPr>
              <p:nvPr/>
            </p:nvSpPr>
            <p:spPr bwMode="auto">
              <a:xfrm>
                <a:off x="3020"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5" name="Freeform 136"/>
              <p:cNvSpPr>
                <a:spLocks/>
              </p:cNvSpPr>
              <p:nvPr/>
            </p:nvSpPr>
            <p:spPr bwMode="auto">
              <a:xfrm>
                <a:off x="260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6" name="Freeform 137"/>
              <p:cNvSpPr>
                <a:spLocks/>
              </p:cNvSpPr>
              <p:nvPr/>
            </p:nvSpPr>
            <p:spPr bwMode="auto">
              <a:xfrm>
                <a:off x="27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7" name="Freeform 138"/>
              <p:cNvSpPr>
                <a:spLocks/>
              </p:cNvSpPr>
              <p:nvPr/>
            </p:nvSpPr>
            <p:spPr bwMode="auto">
              <a:xfrm>
                <a:off x="2792"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8" name="Freeform 139"/>
              <p:cNvSpPr>
                <a:spLocks/>
              </p:cNvSpPr>
              <p:nvPr/>
            </p:nvSpPr>
            <p:spPr bwMode="auto">
              <a:xfrm>
                <a:off x="354"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9" name="Freeform 140"/>
              <p:cNvSpPr>
                <a:spLocks/>
              </p:cNvSpPr>
              <p:nvPr/>
            </p:nvSpPr>
            <p:spPr bwMode="auto">
              <a:xfrm>
                <a:off x="44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0" name="Freeform 141"/>
              <p:cNvSpPr>
                <a:spLocks/>
              </p:cNvSpPr>
              <p:nvPr/>
            </p:nvSpPr>
            <p:spPr bwMode="auto">
              <a:xfrm>
                <a:off x="538"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1" name="Freeform 142"/>
              <p:cNvSpPr>
                <a:spLocks/>
              </p:cNvSpPr>
              <p:nvPr/>
            </p:nvSpPr>
            <p:spPr bwMode="auto">
              <a:xfrm>
                <a:off x="856" y="19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2" name="Freeform 143"/>
              <p:cNvSpPr>
                <a:spLocks/>
              </p:cNvSpPr>
              <p:nvPr/>
            </p:nvSpPr>
            <p:spPr bwMode="auto">
              <a:xfrm>
                <a:off x="856" y="19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3" name="Freeform 144"/>
              <p:cNvSpPr>
                <a:spLocks/>
              </p:cNvSpPr>
              <p:nvPr/>
            </p:nvSpPr>
            <p:spPr bwMode="auto">
              <a:xfrm>
                <a:off x="918"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4" name="Freeform 145"/>
              <p:cNvSpPr>
                <a:spLocks/>
              </p:cNvSpPr>
              <p:nvPr/>
            </p:nvSpPr>
            <p:spPr bwMode="auto">
              <a:xfrm>
                <a:off x="918"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5" name="Freeform 146"/>
              <p:cNvSpPr>
                <a:spLocks/>
              </p:cNvSpPr>
              <p:nvPr/>
            </p:nvSpPr>
            <p:spPr bwMode="auto">
              <a:xfrm>
                <a:off x="100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6" name="Freeform 147"/>
              <p:cNvSpPr>
                <a:spLocks/>
              </p:cNvSpPr>
              <p:nvPr/>
            </p:nvSpPr>
            <p:spPr bwMode="auto">
              <a:xfrm>
                <a:off x="109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7" name="Freeform 148"/>
              <p:cNvSpPr>
                <a:spLocks/>
              </p:cNvSpPr>
              <p:nvPr/>
            </p:nvSpPr>
            <p:spPr bwMode="auto">
              <a:xfrm>
                <a:off x="118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8" name="Freeform 149"/>
              <p:cNvSpPr>
                <a:spLocks noEditPoints="1"/>
              </p:cNvSpPr>
              <p:nvPr/>
            </p:nvSpPr>
            <p:spPr bwMode="auto">
              <a:xfrm>
                <a:off x="628" y="1978"/>
                <a:ext cx="188" cy="146"/>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9" name="Freeform 150"/>
              <p:cNvSpPr>
                <a:spLocks/>
              </p:cNvSpPr>
              <p:nvPr/>
            </p:nvSpPr>
            <p:spPr bwMode="auto">
              <a:xfrm>
                <a:off x="732" y="2080"/>
                <a:ext cx="18" cy="28"/>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0" name="Freeform 151"/>
              <p:cNvSpPr>
                <a:spLocks/>
              </p:cNvSpPr>
              <p:nvPr/>
            </p:nvSpPr>
            <p:spPr bwMode="auto">
              <a:xfrm>
                <a:off x="634" y="2078"/>
                <a:ext cx="18" cy="22"/>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1" name="Freeform 152"/>
              <p:cNvSpPr>
                <a:spLocks/>
              </p:cNvSpPr>
              <p:nvPr/>
            </p:nvSpPr>
            <p:spPr bwMode="auto">
              <a:xfrm>
                <a:off x="630" y="20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2" name="Freeform 153"/>
              <p:cNvSpPr>
                <a:spLocks/>
              </p:cNvSpPr>
              <p:nvPr/>
            </p:nvSpPr>
            <p:spPr bwMode="auto">
              <a:xfrm>
                <a:off x="644" y="19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3" name="Freeform 154"/>
              <p:cNvSpPr>
                <a:spLocks/>
              </p:cNvSpPr>
              <p:nvPr/>
            </p:nvSpPr>
            <p:spPr bwMode="auto">
              <a:xfrm>
                <a:off x="628" y="1978"/>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4" name="Freeform 155"/>
              <p:cNvSpPr>
                <a:spLocks/>
              </p:cNvSpPr>
              <p:nvPr/>
            </p:nvSpPr>
            <p:spPr bwMode="auto">
              <a:xfrm>
                <a:off x="634"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5" name="Freeform 156"/>
              <p:cNvSpPr>
                <a:spLocks/>
              </p:cNvSpPr>
              <p:nvPr/>
            </p:nvSpPr>
            <p:spPr bwMode="auto">
              <a:xfrm>
                <a:off x="634"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6" name="Freeform 157"/>
              <p:cNvSpPr>
                <a:spLocks/>
              </p:cNvSpPr>
              <p:nvPr/>
            </p:nvSpPr>
            <p:spPr bwMode="auto">
              <a:xfrm>
                <a:off x="634" y="2078"/>
                <a:ext cx="8" cy="12"/>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7" name="Freeform 158"/>
              <p:cNvSpPr>
                <a:spLocks/>
              </p:cNvSpPr>
              <p:nvPr/>
            </p:nvSpPr>
            <p:spPr bwMode="auto">
              <a:xfrm>
                <a:off x="634" y="2078"/>
                <a:ext cx="8" cy="12"/>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8" name="Freeform 159"/>
              <p:cNvSpPr>
                <a:spLocks/>
              </p:cNvSpPr>
              <p:nvPr/>
            </p:nvSpPr>
            <p:spPr bwMode="auto">
              <a:xfrm>
                <a:off x="732"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9" name="Freeform 160"/>
              <p:cNvSpPr>
                <a:spLocks/>
              </p:cNvSpPr>
              <p:nvPr/>
            </p:nvSpPr>
            <p:spPr bwMode="auto">
              <a:xfrm>
                <a:off x="732"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0" name="Freeform 161"/>
              <p:cNvSpPr>
                <a:spLocks/>
              </p:cNvSpPr>
              <p:nvPr/>
            </p:nvSpPr>
            <p:spPr bwMode="auto">
              <a:xfrm>
                <a:off x="732"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1" name="Freeform 162"/>
              <p:cNvSpPr>
                <a:spLocks/>
              </p:cNvSpPr>
              <p:nvPr/>
            </p:nvSpPr>
            <p:spPr bwMode="auto">
              <a:xfrm>
                <a:off x="732"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2" name="Freeform 163"/>
              <p:cNvSpPr>
                <a:spLocks/>
              </p:cNvSpPr>
              <p:nvPr/>
            </p:nvSpPr>
            <p:spPr bwMode="auto">
              <a:xfrm>
                <a:off x="630" y="2028"/>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3" name="Freeform 164"/>
              <p:cNvSpPr>
                <a:spLocks/>
              </p:cNvSpPr>
              <p:nvPr/>
            </p:nvSpPr>
            <p:spPr bwMode="auto">
              <a:xfrm>
                <a:off x="630" y="2028"/>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4" name="Freeform 165"/>
              <p:cNvSpPr>
                <a:spLocks noEditPoints="1"/>
              </p:cNvSpPr>
              <p:nvPr/>
            </p:nvSpPr>
            <p:spPr bwMode="auto">
              <a:xfrm>
                <a:off x="630" y="2028"/>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5" name="Freeform 166"/>
              <p:cNvSpPr>
                <a:spLocks/>
              </p:cNvSpPr>
              <p:nvPr/>
            </p:nvSpPr>
            <p:spPr bwMode="auto">
              <a:xfrm>
                <a:off x="640" y="20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6" name="Freeform 167"/>
              <p:cNvSpPr>
                <a:spLocks/>
              </p:cNvSpPr>
              <p:nvPr/>
            </p:nvSpPr>
            <p:spPr bwMode="auto">
              <a:xfrm>
                <a:off x="630" y="2028"/>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7" name="Freeform 168"/>
              <p:cNvSpPr>
                <a:spLocks noEditPoints="1"/>
              </p:cNvSpPr>
              <p:nvPr/>
            </p:nvSpPr>
            <p:spPr bwMode="auto">
              <a:xfrm>
                <a:off x="746" y="2016"/>
                <a:ext cx="18" cy="14"/>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8" name="Freeform 169"/>
              <p:cNvSpPr>
                <a:spLocks/>
              </p:cNvSpPr>
              <p:nvPr/>
            </p:nvSpPr>
            <p:spPr bwMode="auto">
              <a:xfrm>
                <a:off x="750" y="2022"/>
                <a:ext cx="6" cy="6"/>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9" name="Freeform 170"/>
              <p:cNvSpPr>
                <a:spLocks/>
              </p:cNvSpPr>
              <p:nvPr/>
            </p:nvSpPr>
            <p:spPr bwMode="auto">
              <a:xfrm>
                <a:off x="746" y="2016"/>
                <a:ext cx="18" cy="14"/>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0" name="Freeform 171"/>
              <p:cNvSpPr>
                <a:spLocks/>
              </p:cNvSpPr>
              <p:nvPr/>
            </p:nvSpPr>
            <p:spPr bwMode="auto">
              <a:xfrm>
                <a:off x="700" y="2006"/>
                <a:ext cx="20" cy="18"/>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1" name="Freeform 172"/>
              <p:cNvSpPr>
                <a:spLocks/>
              </p:cNvSpPr>
              <p:nvPr/>
            </p:nvSpPr>
            <p:spPr bwMode="auto">
              <a:xfrm>
                <a:off x="700" y="2006"/>
                <a:ext cx="20" cy="18"/>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2" name="Freeform 173"/>
              <p:cNvSpPr>
                <a:spLocks/>
              </p:cNvSpPr>
              <p:nvPr/>
            </p:nvSpPr>
            <p:spPr bwMode="auto">
              <a:xfrm>
                <a:off x="794" y="200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3" name="Freeform 174"/>
              <p:cNvSpPr>
                <a:spLocks/>
              </p:cNvSpPr>
              <p:nvPr/>
            </p:nvSpPr>
            <p:spPr bwMode="auto">
              <a:xfrm>
                <a:off x="794" y="200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4" name="Freeform 175"/>
              <p:cNvSpPr>
                <a:spLocks/>
              </p:cNvSpPr>
              <p:nvPr/>
            </p:nvSpPr>
            <p:spPr bwMode="auto">
              <a:xfrm>
                <a:off x="740"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5" name="Freeform 176"/>
              <p:cNvSpPr>
                <a:spLocks/>
              </p:cNvSpPr>
              <p:nvPr/>
            </p:nvSpPr>
            <p:spPr bwMode="auto">
              <a:xfrm>
                <a:off x="740"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6" name="Freeform 177"/>
              <p:cNvSpPr>
                <a:spLocks/>
              </p:cNvSpPr>
              <p:nvPr/>
            </p:nvSpPr>
            <p:spPr bwMode="auto">
              <a:xfrm>
                <a:off x="754" y="20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7" name="Freeform 178"/>
              <p:cNvSpPr>
                <a:spLocks/>
              </p:cNvSpPr>
              <p:nvPr/>
            </p:nvSpPr>
            <p:spPr bwMode="auto">
              <a:xfrm>
                <a:off x="754" y="20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8" name="Freeform 179"/>
              <p:cNvSpPr>
                <a:spLocks/>
              </p:cNvSpPr>
              <p:nvPr/>
            </p:nvSpPr>
            <p:spPr bwMode="auto">
              <a:xfrm>
                <a:off x="750" y="2024"/>
                <a:ext cx="6" cy="4"/>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9" name="Freeform 180"/>
              <p:cNvSpPr>
                <a:spLocks/>
              </p:cNvSpPr>
              <p:nvPr/>
            </p:nvSpPr>
            <p:spPr bwMode="auto">
              <a:xfrm>
                <a:off x="750" y="2024"/>
                <a:ext cx="6" cy="4"/>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0" name="Freeform 181"/>
              <p:cNvSpPr>
                <a:spLocks/>
              </p:cNvSpPr>
              <p:nvPr/>
            </p:nvSpPr>
            <p:spPr bwMode="auto">
              <a:xfrm>
                <a:off x="750" y="20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1" name="Freeform 182"/>
              <p:cNvSpPr>
                <a:spLocks/>
              </p:cNvSpPr>
              <p:nvPr/>
            </p:nvSpPr>
            <p:spPr bwMode="auto">
              <a:xfrm>
                <a:off x="750" y="20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2" name="Freeform 183"/>
              <p:cNvSpPr>
                <a:spLocks/>
              </p:cNvSpPr>
              <p:nvPr/>
            </p:nvSpPr>
            <p:spPr bwMode="auto">
              <a:xfrm>
                <a:off x="127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3" name="Freeform 184"/>
              <p:cNvSpPr>
                <a:spLocks/>
              </p:cNvSpPr>
              <p:nvPr/>
            </p:nvSpPr>
            <p:spPr bwMode="auto">
              <a:xfrm>
                <a:off x="151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4" name="Freeform 185"/>
              <p:cNvSpPr>
                <a:spLocks/>
              </p:cNvSpPr>
              <p:nvPr/>
            </p:nvSpPr>
            <p:spPr bwMode="auto">
              <a:xfrm>
                <a:off x="1602"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5" name="Freeform 186"/>
              <p:cNvSpPr>
                <a:spLocks/>
              </p:cNvSpPr>
              <p:nvPr/>
            </p:nvSpPr>
            <p:spPr bwMode="auto">
              <a:xfrm>
                <a:off x="169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6" name="Freeform 187"/>
              <p:cNvSpPr>
                <a:spLocks/>
              </p:cNvSpPr>
              <p:nvPr/>
            </p:nvSpPr>
            <p:spPr bwMode="auto">
              <a:xfrm>
                <a:off x="1364" y="1980"/>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7" name="Freeform 188"/>
              <p:cNvSpPr>
                <a:spLocks/>
              </p:cNvSpPr>
              <p:nvPr/>
            </p:nvSpPr>
            <p:spPr bwMode="auto">
              <a:xfrm>
                <a:off x="1364" y="1980"/>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8" name="Freeform 189"/>
              <p:cNvSpPr>
                <a:spLocks/>
              </p:cNvSpPr>
              <p:nvPr/>
            </p:nvSpPr>
            <p:spPr bwMode="auto">
              <a:xfrm>
                <a:off x="1426" y="19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9" name="Freeform 190"/>
              <p:cNvSpPr>
                <a:spLocks/>
              </p:cNvSpPr>
              <p:nvPr/>
            </p:nvSpPr>
            <p:spPr bwMode="auto">
              <a:xfrm>
                <a:off x="1426" y="19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0" name="Freeform 191"/>
              <p:cNvSpPr>
                <a:spLocks noEditPoints="1"/>
              </p:cNvSpPr>
              <p:nvPr/>
            </p:nvSpPr>
            <p:spPr bwMode="auto">
              <a:xfrm>
                <a:off x="1786" y="19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1" name="Freeform 192"/>
              <p:cNvSpPr>
                <a:spLocks noEditPoints="1"/>
              </p:cNvSpPr>
              <p:nvPr/>
            </p:nvSpPr>
            <p:spPr bwMode="auto">
              <a:xfrm>
                <a:off x="1922"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2" name="Freeform 193"/>
              <p:cNvSpPr>
                <a:spLocks/>
              </p:cNvSpPr>
              <p:nvPr/>
            </p:nvSpPr>
            <p:spPr bwMode="auto">
              <a:xfrm>
                <a:off x="206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3" name="Freeform 194"/>
              <p:cNvSpPr>
                <a:spLocks/>
              </p:cNvSpPr>
              <p:nvPr/>
            </p:nvSpPr>
            <p:spPr bwMode="auto">
              <a:xfrm>
                <a:off x="215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4" name="Freeform 195"/>
              <p:cNvSpPr>
                <a:spLocks/>
              </p:cNvSpPr>
              <p:nvPr/>
            </p:nvSpPr>
            <p:spPr bwMode="auto">
              <a:xfrm>
                <a:off x="2244"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5" name="Freeform 196"/>
              <p:cNvSpPr>
                <a:spLocks noEditPoints="1"/>
              </p:cNvSpPr>
              <p:nvPr/>
            </p:nvSpPr>
            <p:spPr bwMode="auto">
              <a:xfrm>
                <a:off x="1872" y="17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6" name="Freeform 197"/>
              <p:cNvSpPr>
                <a:spLocks/>
              </p:cNvSpPr>
              <p:nvPr/>
            </p:nvSpPr>
            <p:spPr bwMode="auto">
              <a:xfrm>
                <a:off x="2012"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7" name="Freeform 198"/>
              <p:cNvSpPr>
                <a:spLocks/>
              </p:cNvSpPr>
              <p:nvPr/>
            </p:nvSpPr>
            <p:spPr bwMode="auto">
              <a:xfrm>
                <a:off x="210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8" name="Freeform 199"/>
              <p:cNvSpPr>
                <a:spLocks/>
              </p:cNvSpPr>
              <p:nvPr/>
            </p:nvSpPr>
            <p:spPr bwMode="auto">
              <a:xfrm>
                <a:off x="2198"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9" name="Freeform 200"/>
              <p:cNvSpPr>
                <a:spLocks/>
              </p:cNvSpPr>
              <p:nvPr/>
            </p:nvSpPr>
            <p:spPr bwMode="auto">
              <a:xfrm>
                <a:off x="229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0" name="Freeform 201"/>
              <p:cNvSpPr>
                <a:spLocks/>
              </p:cNvSpPr>
              <p:nvPr/>
            </p:nvSpPr>
            <p:spPr bwMode="auto">
              <a:xfrm>
                <a:off x="253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1" name="Freeform 202"/>
              <p:cNvSpPr>
                <a:spLocks/>
              </p:cNvSpPr>
              <p:nvPr/>
            </p:nvSpPr>
            <p:spPr bwMode="auto">
              <a:xfrm>
                <a:off x="262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2" name="Freeform 203"/>
              <p:cNvSpPr>
                <a:spLocks/>
              </p:cNvSpPr>
              <p:nvPr/>
            </p:nvSpPr>
            <p:spPr bwMode="auto">
              <a:xfrm>
                <a:off x="271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3" name="Freeform 204"/>
              <p:cNvSpPr>
                <a:spLocks/>
              </p:cNvSpPr>
              <p:nvPr/>
            </p:nvSpPr>
            <p:spPr bwMode="auto">
              <a:xfrm>
                <a:off x="281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4" name="Group 406"/>
            <p:cNvGrpSpPr>
              <a:grpSpLocks/>
            </p:cNvGrpSpPr>
            <p:nvPr/>
          </p:nvGrpSpPr>
          <p:grpSpPr bwMode="auto">
            <a:xfrm>
              <a:off x="1" y="1847850"/>
              <a:ext cx="5968978" cy="1504950"/>
              <a:chOff x="0" y="1364"/>
              <a:chExt cx="3760" cy="948"/>
            </a:xfrm>
          </p:grpSpPr>
          <p:sp>
            <p:nvSpPr>
              <p:cNvPr id="2594" name="Freeform 206"/>
              <p:cNvSpPr>
                <a:spLocks/>
              </p:cNvSpPr>
              <p:nvPr/>
            </p:nvSpPr>
            <p:spPr bwMode="auto">
              <a:xfrm>
                <a:off x="2382"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5" name="Freeform 207"/>
              <p:cNvSpPr>
                <a:spLocks/>
              </p:cNvSpPr>
              <p:nvPr/>
            </p:nvSpPr>
            <p:spPr bwMode="auto">
              <a:xfrm>
                <a:off x="2382"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6" name="Freeform 208"/>
              <p:cNvSpPr>
                <a:spLocks/>
              </p:cNvSpPr>
              <p:nvPr/>
            </p:nvSpPr>
            <p:spPr bwMode="auto">
              <a:xfrm>
                <a:off x="2442"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7" name="Freeform 209"/>
              <p:cNvSpPr>
                <a:spLocks/>
              </p:cNvSpPr>
              <p:nvPr/>
            </p:nvSpPr>
            <p:spPr bwMode="auto">
              <a:xfrm>
                <a:off x="2442"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8" name="Freeform 210"/>
              <p:cNvSpPr>
                <a:spLocks/>
              </p:cNvSpPr>
              <p:nvPr/>
            </p:nvSpPr>
            <p:spPr bwMode="auto">
              <a:xfrm>
                <a:off x="3130"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9" name="Freeform 211"/>
              <p:cNvSpPr>
                <a:spLocks/>
              </p:cNvSpPr>
              <p:nvPr/>
            </p:nvSpPr>
            <p:spPr bwMode="auto">
              <a:xfrm>
                <a:off x="3130"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0" name="Freeform 212"/>
              <p:cNvSpPr>
                <a:spLocks/>
              </p:cNvSpPr>
              <p:nvPr/>
            </p:nvSpPr>
            <p:spPr bwMode="auto">
              <a:xfrm>
                <a:off x="3192"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1" name="Freeform 213"/>
              <p:cNvSpPr>
                <a:spLocks/>
              </p:cNvSpPr>
              <p:nvPr/>
            </p:nvSpPr>
            <p:spPr bwMode="auto">
              <a:xfrm>
                <a:off x="3192"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2" name="Freeform 214"/>
              <p:cNvSpPr>
                <a:spLocks/>
              </p:cNvSpPr>
              <p:nvPr/>
            </p:nvSpPr>
            <p:spPr bwMode="auto">
              <a:xfrm>
                <a:off x="328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3" name="Freeform 215"/>
              <p:cNvSpPr>
                <a:spLocks/>
              </p:cNvSpPr>
              <p:nvPr/>
            </p:nvSpPr>
            <p:spPr bwMode="auto">
              <a:xfrm>
                <a:off x="337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4" name="Freeform 216"/>
              <p:cNvSpPr>
                <a:spLocks/>
              </p:cNvSpPr>
              <p:nvPr/>
            </p:nvSpPr>
            <p:spPr bwMode="auto">
              <a:xfrm>
                <a:off x="3466"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5" name="Freeform 217"/>
              <p:cNvSpPr>
                <a:spLocks/>
              </p:cNvSpPr>
              <p:nvPr/>
            </p:nvSpPr>
            <p:spPr bwMode="auto">
              <a:xfrm>
                <a:off x="3704"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6" name="Freeform 218"/>
              <p:cNvSpPr>
                <a:spLocks/>
              </p:cNvSpPr>
              <p:nvPr/>
            </p:nvSpPr>
            <p:spPr bwMode="auto">
              <a:xfrm>
                <a:off x="3556"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7" name="Freeform 219"/>
              <p:cNvSpPr>
                <a:spLocks/>
              </p:cNvSpPr>
              <p:nvPr/>
            </p:nvSpPr>
            <p:spPr bwMode="auto">
              <a:xfrm>
                <a:off x="3556"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8" name="Freeform 220"/>
              <p:cNvSpPr>
                <a:spLocks/>
              </p:cNvSpPr>
              <p:nvPr/>
            </p:nvSpPr>
            <p:spPr bwMode="auto">
              <a:xfrm>
                <a:off x="3616"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9" name="Freeform 221"/>
              <p:cNvSpPr>
                <a:spLocks/>
              </p:cNvSpPr>
              <p:nvPr/>
            </p:nvSpPr>
            <p:spPr bwMode="auto">
              <a:xfrm>
                <a:off x="3616"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0" name="Freeform 222"/>
              <p:cNvSpPr>
                <a:spLocks noEditPoints="1"/>
              </p:cNvSpPr>
              <p:nvPr/>
            </p:nvSpPr>
            <p:spPr bwMode="auto">
              <a:xfrm>
                <a:off x="1864" y="1576"/>
                <a:ext cx="186" cy="146"/>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1" name="Freeform 223"/>
              <p:cNvSpPr>
                <a:spLocks/>
              </p:cNvSpPr>
              <p:nvPr/>
            </p:nvSpPr>
            <p:spPr bwMode="auto">
              <a:xfrm>
                <a:off x="1966" y="1680"/>
                <a:ext cx="18" cy="28"/>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2" name="Freeform 224"/>
              <p:cNvSpPr>
                <a:spLocks/>
              </p:cNvSpPr>
              <p:nvPr/>
            </p:nvSpPr>
            <p:spPr bwMode="auto">
              <a:xfrm>
                <a:off x="1868" y="1676"/>
                <a:ext cx="18" cy="24"/>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3" name="Freeform 225"/>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4" name="Freeform 226"/>
              <p:cNvSpPr>
                <a:spLocks/>
              </p:cNvSpPr>
              <p:nvPr/>
            </p:nvSpPr>
            <p:spPr bwMode="auto">
              <a:xfrm>
                <a:off x="1878" y="1580"/>
                <a:ext cx="170" cy="138"/>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5" name="Freeform 227"/>
              <p:cNvSpPr>
                <a:spLocks/>
              </p:cNvSpPr>
              <p:nvPr/>
            </p:nvSpPr>
            <p:spPr bwMode="auto">
              <a:xfrm>
                <a:off x="1864" y="1576"/>
                <a:ext cx="186" cy="146"/>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6" name="Freeform 228"/>
              <p:cNvSpPr>
                <a:spLocks/>
              </p:cNvSpPr>
              <p:nvPr/>
            </p:nvSpPr>
            <p:spPr bwMode="auto">
              <a:xfrm>
                <a:off x="1868" y="1676"/>
                <a:ext cx="18" cy="24"/>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7" name="Freeform 229"/>
              <p:cNvSpPr>
                <a:spLocks/>
              </p:cNvSpPr>
              <p:nvPr/>
            </p:nvSpPr>
            <p:spPr bwMode="auto">
              <a:xfrm>
                <a:off x="1868" y="1676"/>
                <a:ext cx="18" cy="24"/>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8" name="Freeform 230"/>
              <p:cNvSpPr>
                <a:spLocks/>
              </p:cNvSpPr>
              <p:nvPr/>
            </p:nvSpPr>
            <p:spPr bwMode="auto">
              <a:xfrm>
                <a:off x="1868" y="1676"/>
                <a:ext cx="16" cy="24"/>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9" name="Freeform 231"/>
              <p:cNvSpPr>
                <a:spLocks/>
              </p:cNvSpPr>
              <p:nvPr/>
            </p:nvSpPr>
            <p:spPr bwMode="auto">
              <a:xfrm>
                <a:off x="1868" y="1676"/>
                <a:ext cx="16" cy="24"/>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0" name="Freeform 232"/>
              <p:cNvSpPr>
                <a:spLocks/>
              </p:cNvSpPr>
              <p:nvPr/>
            </p:nvSpPr>
            <p:spPr bwMode="auto">
              <a:xfrm>
                <a:off x="1966"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1" name="Freeform 233"/>
              <p:cNvSpPr>
                <a:spLocks/>
              </p:cNvSpPr>
              <p:nvPr/>
            </p:nvSpPr>
            <p:spPr bwMode="auto">
              <a:xfrm>
                <a:off x="1966"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2" name="Freeform 234"/>
              <p:cNvSpPr>
                <a:spLocks/>
              </p:cNvSpPr>
              <p:nvPr/>
            </p:nvSpPr>
            <p:spPr bwMode="auto">
              <a:xfrm>
                <a:off x="1966"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3" name="Freeform 235"/>
              <p:cNvSpPr>
                <a:spLocks/>
              </p:cNvSpPr>
              <p:nvPr/>
            </p:nvSpPr>
            <p:spPr bwMode="auto">
              <a:xfrm>
                <a:off x="1966"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4" name="Freeform 236"/>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5" name="Freeform 237"/>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6" name="Freeform 238"/>
              <p:cNvSpPr>
                <a:spLocks noEditPoints="1"/>
              </p:cNvSpPr>
              <p:nvPr/>
            </p:nvSpPr>
            <p:spPr bwMode="auto">
              <a:xfrm>
                <a:off x="1868" y="1626"/>
                <a:ext cx="10" cy="2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7" name="Freeform 239"/>
              <p:cNvSpPr>
                <a:spLocks/>
              </p:cNvSpPr>
              <p:nvPr/>
            </p:nvSpPr>
            <p:spPr bwMode="auto">
              <a:xfrm>
                <a:off x="1870" y="1644"/>
                <a:ext cx="6" cy="2"/>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8" name="Freeform 240"/>
              <p:cNvSpPr>
                <a:spLocks/>
              </p:cNvSpPr>
              <p:nvPr/>
            </p:nvSpPr>
            <p:spPr bwMode="auto">
              <a:xfrm>
                <a:off x="1876"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9" name="Freeform 241"/>
              <p:cNvSpPr>
                <a:spLocks/>
              </p:cNvSpPr>
              <p:nvPr/>
            </p:nvSpPr>
            <p:spPr bwMode="auto">
              <a:xfrm>
                <a:off x="1868" y="1626"/>
                <a:ext cx="4" cy="16"/>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0" name="Freeform 242"/>
              <p:cNvSpPr>
                <a:spLocks/>
              </p:cNvSpPr>
              <p:nvPr/>
            </p:nvSpPr>
            <p:spPr bwMode="auto">
              <a:xfrm>
                <a:off x="1872" y="16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1" name="Freeform 243"/>
              <p:cNvSpPr>
                <a:spLocks noEditPoints="1"/>
              </p:cNvSpPr>
              <p:nvPr/>
            </p:nvSpPr>
            <p:spPr bwMode="auto">
              <a:xfrm>
                <a:off x="1980" y="1616"/>
                <a:ext cx="20" cy="12"/>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2" name="Freeform 244"/>
              <p:cNvSpPr>
                <a:spLocks/>
              </p:cNvSpPr>
              <p:nvPr/>
            </p:nvSpPr>
            <p:spPr bwMode="auto">
              <a:xfrm>
                <a:off x="1986" y="1622"/>
                <a:ext cx="6" cy="4"/>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3" name="Freeform 245"/>
              <p:cNvSpPr>
                <a:spLocks/>
              </p:cNvSpPr>
              <p:nvPr/>
            </p:nvSpPr>
            <p:spPr bwMode="auto">
              <a:xfrm>
                <a:off x="1980" y="1616"/>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4" name="Freeform 246"/>
              <p:cNvSpPr>
                <a:spLocks/>
              </p:cNvSpPr>
              <p:nvPr/>
            </p:nvSpPr>
            <p:spPr bwMode="auto">
              <a:xfrm>
                <a:off x="1934" y="160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5" name="Freeform 247"/>
              <p:cNvSpPr>
                <a:spLocks/>
              </p:cNvSpPr>
              <p:nvPr/>
            </p:nvSpPr>
            <p:spPr bwMode="auto">
              <a:xfrm>
                <a:off x="1934" y="160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6" name="Freeform 248"/>
              <p:cNvSpPr>
                <a:spLocks/>
              </p:cNvSpPr>
              <p:nvPr/>
            </p:nvSpPr>
            <p:spPr bwMode="auto">
              <a:xfrm>
                <a:off x="20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7" name="Freeform 249"/>
              <p:cNvSpPr>
                <a:spLocks/>
              </p:cNvSpPr>
              <p:nvPr/>
            </p:nvSpPr>
            <p:spPr bwMode="auto">
              <a:xfrm>
                <a:off x="20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8" name="Freeform 250"/>
              <p:cNvSpPr>
                <a:spLocks/>
              </p:cNvSpPr>
              <p:nvPr/>
            </p:nvSpPr>
            <p:spPr bwMode="auto">
              <a:xfrm>
                <a:off x="19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9" name="Freeform 251"/>
              <p:cNvSpPr>
                <a:spLocks/>
              </p:cNvSpPr>
              <p:nvPr/>
            </p:nvSpPr>
            <p:spPr bwMode="auto">
              <a:xfrm>
                <a:off x="19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0" name="Freeform 252"/>
              <p:cNvSpPr>
                <a:spLocks/>
              </p:cNvSpPr>
              <p:nvPr/>
            </p:nvSpPr>
            <p:spPr bwMode="auto">
              <a:xfrm>
                <a:off x="19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1" name="Freeform 253"/>
              <p:cNvSpPr>
                <a:spLocks/>
              </p:cNvSpPr>
              <p:nvPr/>
            </p:nvSpPr>
            <p:spPr bwMode="auto">
              <a:xfrm>
                <a:off x="19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2" name="Freeform 254"/>
              <p:cNvSpPr>
                <a:spLocks/>
              </p:cNvSpPr>
              <p:nvPr/>
            </p:nvSpPr>
            <p:spPr bwMode="auto">
              <a:xfrm>
                <a:off x="1986"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3" name="Freeform 255"/>
              <p:cNvSpPr>
                <a:spLocks/>
              </p:cNvSpPr>
              <p:nvPr/>
            </p:nvSpPr>
            <p:spPr bwMode="auto">
              <a:xfrm>
                <a:off x="1986"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4" name="Freeform 256"/>
              <p:cNvSpPr>
                <a:spLocks noEditPoints="1"/>
              </p:cNvSpPr>
              <p:nvPr/>
            </p:nvSpPr>
            <p:spPr bwMode="auto">
              <a:xfrm>
                <a:off x="1986" y="1622"/>
                <a:ext cx="6" cy="4"/>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5" name="Freeform 257"/>
              <p:cNvSpPr>
                <a:spLocks/>
              </p:cNvSpPr>
              <p:nvPr/>
            </p:nvSpPr>
            <p:spPr bwMode="auto">
              <a:xfrm>
                <a:off x="1986" y="1624"/>
                <a:ext cx="6" cy="2"/>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6" name="Freeform 258"/>
              <p:cNvSpPr>
                <a:spLocks/>
              </p:cNvSpPr>
              <p:nvPr/>
            </p:nvSpPr>
            <p:spPr bwMode="auto">
              <a:xfrm>
                <a:off x="1988"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7" name="Freeform 259"/>
              <p:cNvSpPr>
                <a:spLocks noEditPoints="1"/>
              </p:cNvSpPr>
              <p:nvPr/>
            </p:nvSpPr>
            <p:spPr bwMode="auto">
              <a:xfrm>
                <a:off x="2902" y="1766"/>
                <a:ext cx="188" cy="144"/>
              </a:xfrm>
              <a:custGeom>
                <a:avLst/>
                <a:gdLst>
                  <a:gd name="T0" fmla="*/ 120 w 188"/>
                  <a:gd name="T1" fmla="*/ 110 h 144"/>
                  <a:gd name="T2" fmla="*/ 114 w 188"/>
                  <a:gd name="T3" fmla="*/ 130 h 144"/>
                  <a:gd name="T4" fmla="*/ 6 w 188"/>
                  <a:gd name="T5" fmla="*/ 112 h 144"/>
                  <a:gd name="T6" fmla="*/ 14 w 188"/>
                  <a:gd name="T7" fmla="*/ 98 h 144"/>
                  <a:gd name="T8" fmla="*/ 20 w 188"/>
                  <a:gd name="T9" fmla="*/ 122 h 144"/>
                  <a:gd name="T10" fmla="*/ 10 w 188"/>
                  <a:gd name="T11" fmla="*/ 48 h 144"/>
                  <a:gd name="T12" fmla="*/ 6 w 188"/>
                  <a:gd name="T13" fmla="*/ 60 h 144"/>
                  <a:gd name="T14" fmla="*/ 12 w 188"/>
                  <a:gd name="T15" fmla="*/ 64 h 144"/>
                  <a:gd name="T16" fmla="*/ 12 w 188"/>
                  <a:gd name="T17" fmla="*/ 68 h 144"/>
                  <a:gd name="T18" fmla="*/ 2 w 188"/>
                  <a:gd name="T19" fmla="*/ 56 h 144"/>
                  <a:gd name="T20" fmla="*/ 8 w 188"/>
                  <a:gd name="T21" fmla="*/ 48 h 144"/>
                  <a:gd name="T22" fmla="*/ 114 w 188"/>
                  <a:gd name="T23" fmla="*/ 2 h 144"/>
                  <a:gd name="T24" fmla="*/ 146 w 188"/>
                  <a:gd name="T25" fmla="*/ 20 h 144"/>
                  <a:gd name="T26" fmla="*/ 154 w 188"/>
                  <a:gd name="T27" fmla="*/ 40 h 144"/>
                  <a:gd name="T28" fmla="*/ 146 w 188"/>
                  <a:gd name="T29" fmla="*/ 52 h 144"/>
                  <a:gd name="T30" fmla="*/ 150 w 188"/>
                  <a:gd name="T31" fmla="*/ 54 h 144"/>
                  <a:gd name="T32" fmla="*/ 158 w 188"/>
                  <a:gd name="T33" fmla="*/ 60 h 144"/>
                  <a:gd name="T34" fmla="*/ 168 w 188"/>
                  <a:gd name="T35" fmla="*/ 32 h 144"/>
                  <a:gd name="T36" fmla="*/ 184 w 188"/>
                  <a:gd name="T37" fmla="*/ 40 h 144"/>
                  <a:gd name="T38" fmla="*/ 158 w 188"/>
                  <a:gd name="T39" fmla="*/ 86 h 144"/>
                  <a:gd name="T40" fmla="*/ 130 w 188"/>
                  <a:gd name="T41" fmla="*/ 94 h 144"/>
                  <a:gd name="T42" fmla="*/ 140 w 188"/>
                  <a:gd name="T43" fmla="*/ 94 h 144"/>
                  <a:gd name="T44" fmla="*/ 136 w 188"/>
                  <a:gd name="T45" fmla="*/ 100 h 144"/>
                  <a:gd name="T46" fmla="*/ 106 w 188"/>
                  <a:gd name="T47" fmla="*/ 86 h 144"/>
                  <a:gd name="T48" fmla="*/ 100 w 188"/>
                  <a:gd name="T49" fmla="*/ 126 h 144"/>
                  <a:gd name="T50" fmla="*/ 80 w 188"/>
                  <a:gd name="T51" fmla="*/ 142 h 144"/>
                  <a:gd name="T52" fmla="*/ 78 w 188"/>
                  <a:gd name="T53" fmla="*/ 118 h 144"/>
                  <a:gd name="T54" fmla="*/ 66 w 188"/>
                  <a:gd name="T55" fmla="*/ 114 h 144"/>
                  <a:gd name="T56" fmla="*/ 54 w 188"/>
                  <a:gd name="T57" fmla="*/ 112 h 144"/>
                  <a:gd name="T58" fmla="*/ 48 w 188"/>
                  <a:gd name="T59" fmla="*/ 136 h 144"/>
                  <a:gd name="T60" fmla="*/ 24 w 188"/>
                  <a:gd name="T61" fmla="*/ 128 h 144"/>
                  <a:gd name="T62" fmla="*/ 20 w 188"/>
                  <a:gd name="T63" fmla="*/ 104 h 144"/>
                  <a:gd name="T64" fmla="*/ 30 w 188"/>
                  <a:gd name="T65" fmla="*/ 46 h 144"/>
                  <a:gd name="T66" fmla="*/ 48 w 188"/>
                  <a:gd name="T67" fmla="*/ 48 h 144"/>
                  <a:gd name="T68" fmla="*/ 50 w 188"/>
                  <a:gd name="T69" fmla="*/ 78 h 144"/>
                  <a:gd name="T70" fmla="*/ 64 w 188"/>
                  <a:gd name="T71" fmla="*/ 98 h 144"/>
                  <a:gd name="T72" fmla="*/ 94 w 188"/>
                  <a:gd name="T73" fmla="*/ 84 h 144"/>
                  <a:gd name="T74" fmla="*/ 92 w 188"/>
                  <a:gd name="T75" fmla="*/ 60 h 144"/>
                  <a:gd name="T76" fmla="*/ 72 w 188"/>
                  <a:gd name="T77" fmla="*/ 92 h 144"/>
                  <a:gd name="T78" fmla="*/ 52 w 188"/>
                  <a:gd name="T79" fmla="*/ 84 h 144"/>
                  <a:gd name="T80" fmla="*/ 44 w 188"/>
                  <a:gd name="T81" fmla="*/ 64 h 144"/>
                  <a:gd name="T82" fmla="*/ 72 w 188"/>
                  <a:gd name="T83" fmla="*/ 24 h 144"/>
                  <a:gd name="T84" fmla="*/ 112 w 188"/>
                  <a:gd name="T85" fmla="*/ 0 h 144"/>
                  <a:gd name="T86" fmla="*/ 76 w 188"/>
                  <a:gd name="T87" fmla="*/ 18 h 144"/>
                  <a:gd name="T88" fmla="*/ 42 w 188"/>
                  <a:gd name="T89" fmla="*/ 34 h 144"/>
                  <a:gd name="T90" fmla="*/ 8 w 188"/>
                  <a:gd name="T91" fmla="*/ 62 h 144"/>
                  <a:gd name="T92" fmla="*/ 12 w 188"/>
                  <a:gd name="T93" fmla="*/ 44 h 144"/>
                  <a:gd name="T94" fmla="*/ 8 w 188"/>
                  <a:gd name="T95" fmla="*/ 70 h 144"/>
                  <a:gd name="T96" fmla="*/ 6 w 188"/>
                  <a:gd name="T97" fmla="*/ 100 h 144"/>
                  <a:gd name="T98" fmla="*/ 16 w 188"/>
                  <a:gd name="T99" fmla="*/ 124 h 144"/>
                  <a:gd name="T100" fmla="*/ 24 w 188"/>
                  <a:gd name="T101" fmla="*/ 138 h 144"/>
                  <a:gd name="T102" fmla="*/ 52 w 188"/>
                  <a:gd name="T103" fmla="*/ 134 h 144"/>
                  <a:gd name="T104" fmla="*/ 64 w 188"/>
                  <a:gd name="T105" fmla="*/ 122 h 144"/>
                  <a:gd name="T106" fmla="*/ 84 w 188"/>
                  <a:gd name="T107" fmla="*/ 144 h 144"/>
                  <a:gd name="T108" fmla="*/ 116 w 188"/>
                  <a:gd name="T109" fmla="*/ 132 h 144"/>
                  <a:gd name="T110" fmla="*/ 120 w 188"/>
                  <a:gd name="T111" fmla="*/ 104 h 144"/>
                  <a:gd name="T112" fmla="*/ 128 w 188"/>
                  <a:gd name="T113" fmla="*/ 102 h 144"/>
                  <a:gd name="T114" fmla="*/ 152 w 188"/>
                  <a:gd name="T115" fmla="*/ 90 h 144"/>
                  <a:gd name="T116" fmla="*/ 180 w 188"/>
                  <a:gd name="T117" fmla="*/ 78 h 144"/>
                  <a:gd name="T118" fmla="*/ 182 w 188"/>
                  <a:gd name="T119" fmla="*/ 28 h 144"/>
                  <a:gd name="T120" fmla="*/ 166 w 188"/>
                  <a:gd name="T121" fmla="*/ 30 h 144"/>
                  <a:gd name="T122" fmla="*/ 138 w 188"/>
                  <a:gd name="T123"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04" y="128"/>
                    </a:moveTo>
                    <a:lnTo>
                      <a:pt x="104" y="128"/>
                    </a:lnTo>
                    <a:lnTo>
                      <a:pt x="104" y="128"/>
                    </a:lnTo>
                    <a:lnTo>
                      <a:pt x="104" y="128"/>
                    </a:lnTo>
                    <a:lnTo>
                      <a:pt x="118" y="102"/>
                    </a:lnTo>
                    <a:lnTo>
                      <a:pt x="118" y="102"/>
                    </a:lnTo>
                    <a:lnTo>
                      <a:pt x="120" y="110"/>
                    </a:lnTo>
                    <a:lnTo>
                      <a:pt x="120" y="110"/>
                    </a:lnTo>
                    <a:lnTo>
                      <a:pt x="120" y="126"/>
                    </a:lnTo>
                    <a:lnTo>
                      <a:pt x="120" y="126"/>
                    </a:lnTo>
                    <a:lnTo>
                      <a:pt x="118" y="128"/>
                    </a:lnTo>
                    <a:lnTo>
                      <a:pt x="118" y="128"/>
                    </a:lnTo>
                    <a:lnTo>
                      <a:pt x="118" y="130"/>
                    </a:lnTo>
                    <a:lnTo>
                      <a:pt x="118" y="130"/>
                    </a:lnTo>
                    <a:lnTo>
                      <a:pt x="114" y="130"/>
                    </a:lnTo>
                    <a:lnTo>
                      <a:pt x="114" y="130"/>
                    </a:lnTo>
                    <a:lnTo>
                      <a:pt x="104" y="128"/>
                    </a:lnTo>
                    <a:lnTo>
                      <a:pt x="104" y="128"/>
                    </a:lnTo>
                    <a:lnTo>
                      <a:pt x="104" y="128"/>
                    </a:lnTo>
                    <a:close/>
                    <a:moveTo>
                      <a:pt x="20" y="122"/>
                    </a:moveTo>
                    <a:lnTo>
                      <a:pt x="20" y="122"/>
                    </a:lnTo>
                    <a:lnTo>
                      <a:pt x="14" y="120"/>
                    </a:lnTo>
                    <a:lnTo>
                      <a:pt x="10" y="116"/>
                    </a:lnTo>
                    <a:lnTo>
                      <a:pt x="6" y="112"/>
                    </a:lnTo>
                    <a:lnTo>
                      <a:pt x="6" y="108"/>
                    </a:lnTo>
                    <a:lnTo>
                      <a:pt x="6" y="108"/>
                    </a:lnTo>
                    <a:lnTo>
                      <a:pt x="6" y="104"/>
                    </a:lnTo>
                    <a:lnTo>
                      <a:pt x="6" y="104"/>
                    </a:lnTo>
                    <a:lnTo>
                      <a:pt x="14" y="98"/>
                    </a:lnTo>
                    <a:lnTo>
                      <a:pt x="14" y="98"/>
                    </a:lnTo>
                    <a:lnTo>
                      <a:pt x="14" y="98"/>
                    </a:lnTo>
                    <a:lnTo>
                      <a:pt x="14" y="98"/>
                    </a:lnTo>
                    <a:lnTo>
                      <a:pt x="14" y="98"/>
                    </a:lnTo>
                    <a:lnTo>
                      <a:pt x="14" y="98"/>
                    </a:lnTo>
                    <a:lnTo>
                      <a:pt x="24" y="116"/>
                    </a:lnTo>
                    <a:lnTo>
                      <a:pt x="24" y="116"/>
                    </a:lnTo>
                    <a:lnTo>
                      <a:pt x="24" y="120"/>
                    </a:lnTo>
                    <a:lnTo>
                      <a:pt x="20" y="122"/>
                    </a:lnTo>
                    <a:lnTo>
                      <a:pt x="20" y="122"/>
                    </a:lnTo>
                    <a:lnTo>
                      <a:pt x="20" y="122"/>
                    </a:lnTo>
                    <a:lnTo>
                      <a:pt x="20" y="122"/>
                    </a:lnTo>
                    <a:lnTo>
                      <a:pt x="20" y="122"/>
                    </a:lnTo>
                    <a:close/>
                    <a:moveTo>
                      <a:pt x="10" y="48"/>
                    </a:moveTo>
                    <a:lnTo>
                      <a:pt x="10" y="48"/>
                    </a:lnTo>
                    <a:lnTo>
                      <a:pt x="10" y="48"/>
                    </a:ln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8" y="64"/>
                    </a:lnTo>
                    <a:lnTo>
                      <a:pt x="8" y="64"/>
                    </a:lnTo>
                    <a:lnTo>
                      <a:pt x="10" y="64"/>
                    </a:lnTo>
                    <a:lnTo>
                      <a:pt x="10" y="64"/>
                    </a:lnTo>
                    <a:lnTo>
                      <a:pt x="12" y="64"/>
                    </a:lnTo>
                    <a:lnTo>
                      <a:pt x="12" y="64"/>
                    </a:lnTo>
                    <a:lnTo>
                      <a:pt x="14" y="62"/>
                    </a:lnTo>
                    <a:lnTo>
                      <a:pt x="14" y="62"/>
                    </a:lnTo>
                    <a:lnTo>
                      <a:pt x="14" y="62"/>
                    </a:lnTo>
                    <a:lnTo>
                      <a:pt x="14" y="62"/>
                    </a:lnTo>
                    <a:lnTo>
                      <a:pt x="14" y="62"/>
                    </a:lnTo>
                    <a:lnTo>
                      <a:pt x="14" y="62"/>
                    </a:lnTo>
                    <a:lnTo>
                      <a:pt x="12" y="68"/>
                    </a:lnTo>
                    <a:lnTo>
                      <a:pt x="12" y="68"/>
                    </a:lnTo>
                    <a:lnTo>
                      <a:pt x="10" y="68"/>
                    </a:lnTo>
                    <a:lnTo>
                      <a:pt x="10" y="68"/>
                    </a:lnTo>
                    <a:lnTo>
                      <a:pt x="8" y="68"/>
                    </a:lnTo>
                    <a:lnTo>
                      <a:pt x="8" y="68"/>
                    </a:lnTo>
                    <a:lnTo>
                      <a:pt x="6" y="68"/>
                    </a:lnTo>
                    <a:lnTo>
                      <a:pt x="6" y="68"/>
                    </a:lnTo>
                    <a:lnTo>
                      <a:pt x="4" y="60"/>
                    </a:lnTo>
                    <a:lnTo>
                      <a:pt x="2" y="56"/>
                    </a:lnTo>
                    <a:lnTo>
                      <a:pt x="2" y="54"/>
                    </a:lnTo>
                    <a:lnTo>
                      <a:pt x="2" y="54"/>
                    </a:lnTo>
                    <a:lnTo>
                      <a:pt x="8" y="48"/>
                    </a:lnTo>
                    <a:lnTo>
                      <a:pt x="8" y="48"/>
                    </a:lnTo>
                    <a:lnTo>
                      <a:pt x="8" y="48"/>
                    </a:lnTo>
                    <a:lnTo>
                      <a:pt x="8" y="48"/>
                    </a:lnTo>
                    <a:lnTo>
                      <a:pt x="8" y="48"/>
                    </a:lnTo>
                    <a:lnTo>
                      <a:pt x="8" y="48"/>
                    </a:lnTo>
                    <a:lnTo>
                      <a:pt x="10" y="48"/>
                    </a:lnTo>
                    <a:close/>
                    <a:moveTo>
                      <a:pt x="82" y="18"/>
                    </a:moveTo>
                    <a:lnTo>
                      <a:pt x="82" y="18"/>
                    </a:lnTo>
                    <a:lnTo>
                      <a:pt x="86" y="14"/>
                    </a:lnTo>
                    <a:lnTo>
                      <a:pt x="88" y="12"/>
                    </a:lnTo>
                    <a:lnTo>
                      <a:pt x="96" y="6"/>
                    </a:lnTo>
                    <a:lnTo>
                      <a:pt x="96" y="6"/>
                    </a:lnTo>
                    <a:lnTo>
                      <a:pt x="114" y="2"/>
                    </a:lnTo>
                    <a:lnTo>
                      <a:pt x="114" y="2"/>
                    </a:lnTo>
                    <a:lnTo>
                      <a:pt x="122" y="4"/>
                    </a:lnTo>
                    <a:lnTo>
                      <a:pt x="130" y="6"/>
                    </a:lnTo>
                    <a:lnTo>
                      <a:pt x="130" y="6"/>
                    </a:lnTo>
                    <a:lnTo>
                      <a:pt x="144" y="18"/>
                    </a:lnTo>
                    <a:lnTo>
                      <a:pt x="144" y="18"/>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4"/>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6" y="46"/>
                    </a:lnTo>
                    <a:lnTo>
                      <a:pt x="156" y="46"/>
                    </a:lnTo>
                    <a:lnTo>
                      <a:pt x="158" y="46"/>
                    </a:lnTo>
                    <a:lnTo>
                      <a:pt x="158" y="46"/>
                    </a:lnTo>
                    <a:lnTo>
                      <a:pt x="160" y="48"/>
                    </a:lnTo>
                    <a:lnTo>
                      <a:pt x="160" y="48"/>
                    </a:lnTo>
                    <a:lnTo>
                      <a:pt x="158" y="60"/>
                    </a:lnTo>
                    <a:lnTo>
                      <a:pt x="158" y="60"/>
                    </a:lnTo>
                    <a:lnTo>
                      <a:pt x="162" y="50"/>
                    </a:lnTo>
                    <a:lnTo>
                      <a:pt x="160" y="40"/>
                    </a:lnTo>
                    <a:lnTo>
                      <a:pt x="160" y="40"/>
                    </a:lnTo>
                    <a:lnTo>
                      <a:pt x="162" y="38"/>
                    </a:lnTo>
                    <a:lnTo>
                      <a:pt x="164" y="36"/>
                    </a:lnTo>
                    <a:lnTo>
                      <a:pt x="164" y="36"/>
                    </a:lnTo>
                    <a:lnTo>
                      <a:pt x="168" y="32"/>
                    </a:lnTo>
                    <a:lnTo>
                      <a:pt x="174" y="28"/>
                    </a:lnTo>
                    <a:lnTo>
                      <a:pt x="174" y="28"/>
                    </a:lnTo>
                    <a:lnTo>
                      <a:pt x="176" y="26"/>
                    </a:lnTo>
                    <a:lnTo>
                      <a:pt x="176" y="26"/>
                    </a:lnTo>
                    <a:lnTo>
                      <a:pt x="180" y="28"/>
                    </a:lnTo>
                    <a:lnTo>
                      <a:pt x="180" y="28"/>
                    </a:lnTo>
                    <a:lnTo>
                      <a:pt x="184" y="40"/>
                    </a:lnTo>
                    <a:lnTo>
                      <a:pt x="184" y="40"/>
                    </a:lnTo>
                    <a:lnTo>
                      <a:pt x="184" y="54"/>
                    </a:lnTo>
                    <a:lnTo>
                      <a:pt x="184" y="62"/>
                    </a:lnTo>
                    <a:lnTo>
                      <a:pt x="182" y="68"/>
                    </a:lnTo>
                    <a:lnTo>
                      <a:pt x="182" y="68"/>
                    </a:lnTo>
                    <a:lnTo>
                      <a:pt x="178" y="78"/>
                    </a:lnTo>
                    <a:lnTo>
                      <a:pt x="172" y="82"/>
                    </a:lnTo>
                    <a:lnTo>
                      <a:pt x="166" y="86"/>
                    </a:lnTo>
                    <a:lnTo>
                      <a:pt x="158" y="86"/>
                    </a:lnTo>
                    <a:lnTo>
                      <a:pt x="158" y="86"/>
                    </a:lnTo>
                    <a:lnTo>
                      <a:pt x="150" y="86"/>
                    </a:lnTo>
                    <a:lnTo>
                      <a:pt x="150" y="86"/>
                    </a:lnTo>
                    <a:lnTo>
                      <a:pt x="140" y="84"/>
                    </a:lnTo>
                    <a:lnTo>
                      <a:pt x="130" y="82"/>
                    </a:lnTo>
                    <a:lnTo>
                      <a:pt x="130" y="82"/>
                    </a:lnTo>
                    <a:lnTo>
                      <a:pt x="130" y="94"/>
                    </a:lnTo>
                    <a:lnTo>
                      <a:pt x="130" y="94"/>
                    </a:lnTo>
                    <a:lnTo>
                      <a:pt x="130" y="96"/>
                    </a:lnTo>
                    <a:lnTo>
                      <a:pt x="132" y="98"/>
                    </a:lnTo>
                    <a:lnTo>
                      <a:pt x="132" y="98"/>
                    </a:lnTo>
                    <a:lnTo>
                      <a:pt x="134" y="98"/>
                    </a:lnTo>
                    <a:lnTo>
                      <a:pt x="134" y="98"/>
                    </a:lnTo>
                    <a:lnTo>
                      <a:pt x="138" y="98"/>
                    </a:lnTo>
                    <a:lnTo>
                      <a:pt x="138" y="98"/>
                    </a:lnTo>
                    <a:lnTo>
                      <a:pt x="140" y="94"/>
                    </a:lnTo>
                    <a:lnTo>
                      <a:pt x="142" y="90"/>
                    </a:lnTo>
                    <a:lnTo>
                      <a:pt x="142" y="90"/>
                    </a:lnTo>
                    <a:lnTo>
                      <a:pt x="144" y="88"/>
                    </a:lnTo>
                    <a:lnTo>
                      <a:pt x="144" y="88"/>
                    </a:lnTo>
                    <a:lnTo>
                      <a:pt x="144" y="92"/>
                    </a:lnTo>
                    <a:lnTo>
                      <a:pt x="142" y="96"/>
                    </a:lnTo>
                    <a:lnTo>
                      <a:pt x="140" y="98"/>
                    </a:lnTo>
                    <a:lnTo>
                      <a:pt x="136" y="100"/>
                    </a:lnTo>
                    <a:lnTo>
                      <a:pt x="136" y="100"/>
                    </a:lnTo>
                    <a:lnTo>
                      <a:pt x="134" y="100"/>
                    </a:lnTo>
                    <a:lnTo>
                      <a:pt x="134" y="100"/>
                    </a:lnTo>
                    <a:lnTo>
                      <a:pt x="130" y="100"/>
                    </a:lnTo>
                    <a:lnTo>
                      <a:pt x="126" y="98"/>
                    </a:lnTo>
                    <a:lnTo>
                      <a:pt x="126" y="98"/>
                    </a:lnTo>
                    <a:lnTo>
                      <a:pt x="116" y="90"/>
                    </a:lnTo>
                    <a:lnTo>
                      <a:pt x="106" y="86"/>
                    </a:lnTo>
                    <a:lnTo>
                      <a:pt x="106" y="86"/>
                    </a:lnTo>
                    <a:lnTo>
                      <a:pt x="112" y="92"/>
                    </a:lnTo>
                    <a:lnTo>
                      <a:pt x="112" y="92"/>
                    </a:lnTo>
                    <a:lnTo>
                      <a:pt x="114" y="94"/>
                    </a:lnTo>
                    <a:lnTo>
                      <a:pt x="114" y="94"/>
                    </a:lnTo>
                    <a:lnTo>
                      <a:pt x="110" y="112"/>
                    </a:lnTo>
                    <a:lnTo>
                      <a:pt x="104"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8" y="112"/>
                    </a:lnTo>
                    <a:lnTo>
                      <a:pt x="76" y="114"/>
                    </a:lnTo>
                    <a:lnTo>
                      <a:pt x="70" y="116"/>
                    </a:lnTo>
                    <a:lnTo>
                      <a:pt x="70" y="116"/>
                    </a:lnTo>
                    <a:lnTo>
                      <a:pt x="66" y="114"/>
                    </a:lnTo>
                    <a:lnTo>
                      <a:pt x="66" y="114"/>
                    </a:lnTo>
                    <a:lnTo>
                      <a:pt x="60" y="114"/>
                    </a:lnTo>
                    <a:lnTo>
                      <a:pt x="60" y="114"/>
                    </a:lnTo>
                    <a:lnTo>
                      <a:pt x="56" y="114"/>
                    </a:lnTo>
                    <a:lnTo>
                      <a:pt x="54" y="112"/>
                    </a:lnTo>
                    <a:lnTo>
                      <a:pt x="54" y="110"/>
                    </a:lnTo>
                    <a:lnTo>
                      <a:pt x="54" y="110"/>
                    </a:lnTo>
                    <a:lnTo>
                      <a:pt x="54" y="112"/>
                    </a:lnTo>
                    <a:lnTo>
                      <a:pt x="54" y="112"/>
                    </a:lnTo>
                    <a:lnTo>
                      <a:pt x="54" y="114"/>
                    </a:lnTo>
                    <a:lnTo>
                      <a:pt x="54" y="114"/>
                    </a:lnTo>
                    <a:lnTo>
                      <a:pt x="52" y="122"/>
                    </a:lnTo>
                    <a:lnTo>
                      <a:pt x="50" y="128"/>
                    </a:lnTo>
                    <a:lnTo>
                      <a:pt x="50" y="128"/>
                    </a:lnTo>
                    <a:lnTo>
                      <a:pt x="48" y="132"/>
                    </a:lnTo>
                    <a:lnTo>
                      <a:pt x="48" y="136"/>
                    </a:lnTo>
                    <a:lnTo>
                      <a:pt x="48" y="136"/>
                    </a:lnTo>
                    <a:lnTo>
                      <a:pt x="46" y="138"/>
                    </a:lnTo>
                    <a:lnTo>
                      <a:pt x="44" y="138"/>
                    </a:lnTo>
                    <a:lnTo>
                      <a:pt x="44" y="138"/>
                    </a:lnTo>
                    <a:lnTo>
                      <a:pt x="28" y="136"/>
                    </a:lnTo>
                    <a:lnTo>
                      <a:pt x="28" y="136"/>
                    </a:lnTo>
                    <a:lnTo>
                      <a:pt x="24" y="134"/>
                    </a:lnTo>
                    <a:lnTo>
                      <a:pt x="24" y="128"/>
                    </a:lnTo>
                    <a:lnTo>
                      <a:pt x="24" y="128"/>
                    </a:lnTo>
                    <a:lnTo>
                      <a:pt x="26" y="124"/>
                    </a:lnTo>
                    <a:lnTo>
                      <a:pt x="28" y="120"/>
                    </a:lnTo>
                    <a:lnTo>
                      <a:pt x="28" y="120"/>
                    </a:lnTo>
                    <a:lnTo>
                      <a:pt x="26" y="116"/>
                    </a:lnTo>
                    <a:lnTo>
                      <a:pt x="26" y="114"/>
                    </a:lnTo>
                    <a:lnTo>
                      <a:pt x="26" y="114"/>
                    </a:lnTo>
                    <a:lnTo>
                      <a:pt x="20" y="104"/>
                    </a:lnTo>
                    <a:lnTo>
                      <a:pt x="18" y="96"/>
                    </a:lnTo>
                    <a:lnTo>
                      <a:pt x="16" y="86"/>
                    </a:lnTo>
                    <a:lnTo>
                      <a:pt x="14" y="76"/>
                    </a:lnTo>
                    <a:lnTo>
                      <a:pt x="14" y="76"/>
                    </a:lnTo>
                    <a:lnTo>
                      <a:pt x="16" y="68"/>
                    </a:lnTo>
                    <a:lnTo>
                      <a:pt x="20" y="60"/>
                    </a:lnTo>
                    <a:lnTo>
                      <a:pt x="24" y="52"/>
                    </a:lnTo>
                    <a:lnTo>
                      <a:pt x="30" y="46"/>
                    </a:lnTo>
                    <a:lnTo>
                      <a:pt x="30" y="46"/>
                    </a:lnTo>
                    <a:lnTo>
                      <a:pt x="42" y="38"/>
                    </a:lnTo>
                    <a:lnTo>
                      <a:pt x="56" y="34"/>
                    </a:lnTo>
                    <a:lnTo>
                      <a:pt x="56" y="34"/>
                    </a:lnTo>
                    <a:lnTo>
                      <a:pt x="58" y="34"/>
                    </a:lnTo>
                    <a:lnTo>
                      <a:pt x="58" y="34"/>
                    </a:lnTo>
                    <a:lnTo>
                      <a:pt x="48" y="48"/>
                    </a:lnTo>
                    <a:lnTo>
                      <a:pt x="48" y="48"/>
                    </a:lnTo>
                    <a:lnTo>
                      <a:pt x="44" y="54"/>
                    </a:lnTo>
                    <a:lnTo>
                      <a:pt x="42" y="60"/>
                    </a:lnTo>
                    <a:lnTo>
                      <a:pt x="42" y="60"/>
                    </a:lnTo>
                    <a:lnTo>
                      <a:pt x="40" y="62"/>
                    </a:lnTo>
                    <a:lnTo>
                      <a:pt x="42" y="66"/>
                    </a:lnTo>
                    <a:lnTo>
                      <a:pt x="46" y="72"/>
                    </a:lnTo>
                    <a:lnTo>
                      <a:pt x="46" y="72"/>
                    </a:lnTo>
                    <a:lnTo>
                      <a:pt x="50" y="78"/>
                    </a:lnTo>
                    <a:lnTo>
                      <a:pt x="50" y="82"/>
                    </a:lnTo>
                    <a:lnTo>
                      <a:pt x="48" y="86"/>
                    </a:lnTo>
                    <a:lnTo>
                      <a:pt x="48" y="86"/>
                    </a:lnTo>
                    <a:lnTo>
                      <a:pt x="48" y="90"/>
                    </a:lnTo>
                    <a:lnTo>
                      <a:pt x="48" y="90"/>
                    </a:lnTo>
                    <a:lnTo>
                      <a:pt x="56" y="96"/>
                    </a:lnTo>
                    <a:lnTo>
                      <a:pt x="60" y="98"/>
                    </a:lnTo>
                    <a:lnTo>
                      <a:pt x="64" y="98"/>
                    </a:lnTo>
                    <a:lnTo>
                      <a:pt x="64" y="98"/>
                    </a:lnTo>
                    <a:lnTo>
                      <a:pt x="68" y="98"/>
                    </a:lnTo>
                    <a:lnTo>
                      <a:pt x="72" y="94"/>
                    </a:lnTo>
                    <a:lnTo>
                      <a:pt x="72" y="94"/>
                    </a:lnTo>
                    <a:lnTo>
                      <a:pt x="82" y="90"/>
                    </a:lnTo>
                    <a:lnTo>
                      <a:pt x="92" y="86"/>
                    </a:lnTo>
                    <a:lnTo>
                      <a:pt x="92" y="86"/>
                    </a:lnTo>
                    <a:lnTo>
                      <a:pt x="94" y="84"/>
                    </a:lnTo>
                    <a:lnTo>
                      <a:pt x="94" y="84"/>
                    </a:lnTo>
                    <a:lnTo>
                      <a:pt x="96" y="78"/>
                    </a:lnTo>
                    <a:lnTo>
                      <a:pt x="96" y="70"/>
                    </a:lnTo>
                    <a:lnTo>
                      <a:pt x="96" y="58"/>
                    </a:lnTo>
                    <a:lnTo>
                      <a:pt x="96" y="58"/>
                    </a:lnTo>
                    <a:lnTo>
                      <a:pt x="92" y="42"/>
                    </a:lnTo>
                    <a:lnTo>
                      <a:pt x="92" y="42"/>
                    </a:lnTo>
                    <a:lnTo>
                      <a:pt x="92" y="60"/>
                    </a:lnTo>
                    <a:lnTo>
                      <a:pt x="92" y="60"/>
                    </a:lnTo>
                    <a:lnTo>
                      <a:pt x="92" y="80"/>
                    </a:lnTo>
                    <a:lnTo>
                      <a:pt x="92" y="80"/>
                    </a:lnTo>
                    <a:lnTo>
                      <a:pt x="90" y="82"/>
                    </a:lnTo>
                    <a:lnTo>
                      <a:pt x="88" y="84"/>
                    </a:lnTo>
                    <a:lnTo>
                      <a:pt x="88" y="84"/>
                    </a:lnTo>
                    <a:lnTo>
                      <a:pt x="80" y="88"/>
                    </a:lnTo>
                    <a:lnTo>
                      <a:pt x="72" y="92"/>
                    </a:lnTo>
                    <a:lnTo>
                      <a:pt x="72" y="92"/>
                    </a:lnTo>
                    <a:lnTo>
                      <a:pt x="62" y="94"/>
                    </a:lnTo>
                    <a:lnTo>
                      <a:pt x="62" y="94"/>
                    </a:lnTo>
                    <a:lnTo>
                      <a:pt x="58" y="92"/>
                    </a:lnTo>
                    <a:lnTo>
                      <a:pt x="54" y="88"/>
                    </a:lnTo>
                    <a:lnTo>
                      <a:pt x="54" y="88"/>
                    </a:lnTo>
                    <a:lnTo>
                      <a:pt x="52" y="86"/>
                    </a:lnTo>
                    <a:lnTo>
                      <a:pt x="52" y="84"/>
                    </a:lnTo>
                    <a:lnTo>
                      <a:pt x="52" y="84"/>
                    </a:lnTo>
                    <a:lnTo>
                      <a:pt x="56" y="76"/>
                    </a:lnTo>
                    <a:lnTo>
                      <a:pt x="56" y="76"/>
                    </a:lnTo>
                    <a:lnTo>
                      <a:pt x="60" y="68"/>
                    </a:lnTo>
                    <a:lnTo>
                      <a:pt x="60" y="68"/>
                    </a:lnTo>
                    <a:lnTo>
                      <a:pt x="52" y="76"/>
                    </a:lnTo>
                    <a:lnTo>
                      <a:pt x="52" y="76"/>
                    </a:lnTo>
                    <a:lnTo>
                      <a:pt x="44" y="64"/>
                    </a:lnTo>
                    <a:lnTo>
                      <a:pt x="44" y="64"/>
                    </a:lnTo>
                    <a:lnTo>
                      <a:pt x="44" y="62"/>
                    </a:lnTo>
                    <a:lnTo>
                      <a:pt x="44" y="62"/>
                    </a:lnTo>
                    <a:lnTo>
                      <a:pt x="48" y="54"/>
                    </a:lnTo>
                    <a:lnTo>
                      <a:pt x="52" y="48"/>
                    </a:lnTo>
                    <a:lnTo>
                      <a:pt x="52" y="48"/>
                    </a:lnTo>
                    <a:lnTo>
                      <a:pt x="72" y="24"/>
                    </a:lnTo>
                    <a:lnTo>
                      <a:pt x="72" y="24"/>
                    </a:lnTo>
                    <a:lnTo>
                      <a:pt x="76" y="22"/>
                    </a:lnTo>
                    <a:lnTo>
                      <a:pt x="80" y="22"/>
                    </a:lnTo>
                    <a:lnTo>
                      <a:pt x="86" y="20"/>
                    </a:lnTo>
                    <a:lnTo>
                      <a:pt x="86" y="20"/>
                    </a:lnTo>
                    <a:lnTo>
                      <a:pt x="90" y="18"/>
                    </a:lnTo>
                    <a:lnTo>
                      <a:pt x="90" y="18"/>
                    </a:lnTo>
                    <a:lnTo>
                      <a:pt x="82" y="18"/>
                    </a:lnTo>
                    <a:close/>
                    <a:moveTo>
                      <a:pt x="112" y="0"/>
                    </a:moveTo>
                    <a:lnTo>
                      <a:pt x="112" y="0"/>
                    </a:lnTo>
                    <a:lnTo>
                      <a:pt x="106" y="0"/>
                    </a:lnTo>
                    <a:lnTo>
                      <a:pt x="98" y="2"/>
                    </a:lnTo>
                    <a:lnTo>
                      <a:pt x="92" y="6"/>
                    </a:lnTo>
                    <a:lnTo>
                      <a:pt x="84" y="10"/>
                    </a:lnTo>
                    <a:lnTo>
                      <a:pt x="84" y="10"/>
                    </a:lnTo>
                    <a:lnTo>
                      <a:pt x="80" y="16"/>
                    </a:lnTo>
                    <a:lnTo>
                      <a:pt x="76" y="18"/>
                    </a:lnTo>
                    <a:lnTo>
                      <a:pt x="72" y="20"/>
                    </a:lnTo>
                    <a:lnTo>
                      <a:pt x="72" y="20"/>
                    </a:lnTo>
                    <a:lnTo>
                      <a:pt x="70" y="22"/>
                    </a:lnTo>
                    <a:lnTo>
                      <a:pt x="70" y="22"/>
                    </a:lnTo>
                    <a:lnTo>
                      <a:pt x="62" y="28"/>
                    </a:lnTo>
                    <a:lnTo>
                      <a:pt x="54" y="30"/>
                    </a:lnTo>
                    <a:lnTo>
                      <a:pt x="54" y="30"/>
                    </a:lnTo>
                    <a:lnTo>
                      <a:pt x="42" y="34"/>
                    </a:lnTo>
                    <a:lnTo>
                      <a:pt x="34" y="38"/>
                    </a:lnTo>
                    <a:lnTo>
                      <a:pt x="24" y="46"/>
                    </a:lnTo>
                    <a:lnTo>
                      <a:pt x="18" y="54"/>
                    </a:lnTo>
                    <a:lnTo>
                      <a:pt x="18" y="54"/>
                    </a:lnTo>
                    <a:lnTo>
                      <a:pt x="12" y="60"/>
                    </a:lnTo>
                    <a:lnTo>
                      <a:pt x="12" y="60"/>
                    </a:lnTo>
                    <a:lnTo>
                      <a:pt x="8" y="62"/>
                    </a:lnTo>
                    <a:lnTo>
                      <a:pt x="8" y="62"/>
                    </a:lnTo>
                    <a:lnTo>
                      <a:pt x="12" y="54"/>
                    </a:lnTo>
                    <a:lnTo>
                      <a:pt x="12" y="54"/>
                    </a:lnTo>
                    <a:lnTo>
                      <a:pt x="14" y="54"/>
                    </a:lnTo>
                    <a:lnTo>
                      <a:pt x="14" y="54"/>
                    </a:lnTo>
                    <a:lnTo>
                      <a:pt x="14" y="48"/>
                    </a:lnTo>
                    <a:lnTo>
                      <a:pt x="14" y="48"/>
                    </a:lnTo>
                    <a:lnTo>
                      <a:pt x="12" y="44"/>
                    </a:lnTo>
                    <a:lnTo>
                      <a:pt x="12" y="44"/>
                    </a:lnTo>
                    <a:lnTo>
                      <a:pt x="4" y="48"/>
                    </a:lnTo>
                    <a:lnTo>
                      <a:pt x="0" y="52"/>
                    </a:lnTo>
                    <a:lnTo>
                      <a:pt x="0" y="56"/>
                    </a:lnTo>
                    <a:lnTo>
                      <a:pt x="0" y="56"/>
                    </a:lnTo>
                    <a:lnTo>
                      <a:pt x="2" y="62"/>
                    </a:lnTo>
                    <a:lnTo>
                      <a:pt x="4" y="66"/>
                    </a:lnTo>
                    <a:lnTo>
                      <a:pt x="4" y="66"/>
                    </a:lnTo>
                    <a:lnTo>
                      <a:pt x="8" y="70"/>
                    </a:lnTo>
                    <a:lnTo>
                      <a:pt x="12" y="72"/>
                    </a:lnTo>
                    <a:lnTo>
                      <a:pt x="12" y="72"/>
                    </a:lnTo>
                    <a:lnTo>
                      <a:pt x="12" y="84"/>
                    </a:lnTo>
                    <a:lnTo>
                      <a:pt x="12" y="84"/>
                    </a:lnTo>
                    <a:lnTo>
                      <a:pt x="12" y="88"/>
                    </a:lnTo>
                    <a:lnTo>
                      <a:pt x="12" y="94"/>
                    </a:lnTo>
                    <a:lnTo>
                      <a:pt x="10" y="98"/>
                    </a:lnTo>
                    <a:lnTo>
                      <a:pt x="6" y="100"/>
                    </a:lnTo>
                    <a:lnTo>
                      <a:pt x="6" y="100"/>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4"/>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2"/>
                    </a:lnTo>
                    <a:lnTo>
                      <a:pt x="64" y="128"/>
                    </a:lnTo>
                    <a:lnTo>
                      <a:pt x="64" y="128"/>
                    </a:lnTo>
                    <a:lnTo>
                      <a:pt x="74" y="142"/>
                    </a:lnTo>
                    <a:lnTo>
                      <a:pt x="74" y="142"/>
                    </a:lnTo>
                    <a:lnTo>
                      <a:pt x="78" y="144"/>
                    </a:lnTo>
                    <a:lnTo>
                      <a:pt x="80" y="144"/>
                    </a:lnTo>
                    <a:lnTo>
                      <a:pt x="80" y="144"/>
                    </a:lnTo>
                    <a:lnTo>
                      <a:pt x="84"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6"/>
                    </a:lnTo>
                    <a:lnTo>
                      <a:pt x="124" y="122"/>
                    </a:lnTo>
                    <a:lnTo>
                      <a:pt x="124" y="122"/>
                    </a:lnTo>
                    <a:lnTo>
                      <a:pt x="122" y="114"/>
                    </a:lnTo>
                    <a:lnTo>
                      <a:pt x="122" y="114"/>
                    </a:lnTo>
                    <a:lnTo>
                      <a:pt x="120" y="104"/>
                    </a:lnTo>
                    <a:lnTo>
                      <a:pt x="120" y="104"/>
                    </a:lnTo>
                    <a:lnTo>
                      <a:pt x="118" y="94"/>
                    </a:lnTo>
                    <a:lnTo>
                      <a:pt x="118" y="94"/>
                    </a:lnTo>
                    <a:lnTo>
                      <a:pt x="118" y="94"/>
                    </a:lnTo>
                    <a:lnTo>
                      <a:pt x="118" y="94"/>
                    </a:lnTo>
                    <a:lnTo>
                      <a:pt x="124" y="100"/>
                    </a:lnTo>
                    <a:lnTo>
                      <a:pt x="124" y="100"/>
                    </a:lnTo>
                    <a:lnTo>
                      <a:pt x="128" y="102"/>
                    </a:lnTo>
                    <a:lnTo>
                      <a:pt x="134" y="104"/>
                    </a:lnTo>
                    <a:lnTo>
                      <a:pt x="134" y="104"/>
                    </a:lnTo>
                    <a:lnTo>
                      <a:pt x="140" y="102"/>
                    </a:lnTo>
                    <a:lnTo>
                      <a:pt x="144" y="98"/>
                    </a:lnTo>
                    <a:lnTo>
                      <a:pt x="146" y="94"/>
                    </a:lnTo>
                    <a:lnTo>
                      <a:pt x="146" y="94"/>
                    </a:lnTo>
                    <a:lnTo>
                      <a:pt x="148" y="90"/>
                    </a:lnTo>
                    <a:lnTo>
                      <a:pt x="152" y="90"/>
                    </a:lnTo>
                    <a:lnTo>
                      <a:pt x="152" y="90"/>
                    </a:lnTo>
                    <a:lnTo>
                      <a:pt x="154" y="90"/>
                    </a:lnTo>
                    <a:lnTo>
                      <a:pt x="154" y="90"/>
                    </a:lnTo>
                    <a:lnTo>
                      <a:pt x="158" y="90"/>
                    </a:lnTo>
                    <a:lnTo>
                      <a:pt x="158" y="90"/>
                    </a:lnTo>
                    <a:lnTo>
                      <a:pt x="166" y="88"/>
                    </a:lnTo>
                    <a:lnTo>
                      <a:pt x="174" y="86"/>
                    </a:lnTo>
                    <a:lnTo>
                      <a:pt x="180" y="78"/>
                    </a:lnTo>
                    <a:lnTo>
                      <a:pt x="184" y="70"/>
                    </a:lnTo>
                    <a:lnTo>
                      <a:pt x="184" y="70"/>
                    </a:lnTo>
                    <a:lnTo>
                      <a:pt x="188" y="58"/>
                    </a:lnTo>
                    <a:lnTo>
                      <a:pt x="188" y="46"/>
                    </a:lnTo>
                    <a:lnTo>
                      <a:pt x="188" y="46"/>
                    </a:lnTo>
                    <a:lnTo>
                      <a:pt x="186" y="36"/>
                    </a:lnTo>
                    <a:lnTo>
                      <a:pt x="182" y="28"/>
                    </a:lnTo>
                    <a:lnTo>
                      <a:pt x="182" y="28"/>
                    </a:lnTo>
                    <a:lnTo>
                      <a:pt x="180" y="24"/>
                    </a:lnTo>
                    <a:lnTo>
                      <a:pt x="176" y="22"/>
                    </a:lnTo>
                    <a:lnTo>
                      <a:pt x="176" y="22"/>
                    </a:lnTo>
                    <a:lnTo>
                      <a:pt x="174"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8" name="Freeform 260"/>
              <p:cNvSpPr>
                <a:spLocks/>
              </p:cNvSpPr>
              <p:nvPr/>
            </p:nvSpPr>
            <p:spPr bwMode="auto">
              <a:xfrm>
                <a:off x="3006" y="1868"/>
                <a:ext cx="16" cy="28"/>
              </a:xfrm>
              <a:custGeom>
                <a:avLst/>
                <a:gdLst>
                  <a:gd name="T0" fmla="*/ 0 w 16"/>
                  <a:gd name="T1" fmla="*/ 26 h 28"/>
                  <a:gd name="T2" fmla="*/ 0 w 16"/>
                  <a:gd name="T3" fmla="*/ 26 h 28"/>
                  <a:gd name="T4" fmla="*/ 0 w 16"/>
                  <a:gd name="T5" fmla="*/ 26 h 28"/>
                  <a:gd name="T6" fmla="*/ 0 w 16"/>
                  <a:gd name="T7" fmla="*/ 26 h 28"/>
                  <a:gd name="T8" fmla="*/ 14 w 16"/>
                  <a:gd name="T9" fmla="*/ 0 h 28"/>
                  <a:gd name="T10" fmla="*/ 14 w 16"/>
                  <a:gd name="T11" fmla="*/ 0 h 28"/>
                  <a:gd name="T12" fmla="*/ 16 w 16"/>
                  <a:gd name="T13" fmla="*/ 8 h 28"/>
                  <a:gd name="T14" fmla="*/ 16 w 16"/>
                  <a:gd name="T15" fmla="*/ 8 h 28"/>
                  <a:gd name="T16" fmla="*/ 16 w 16"/>
                  <a:gd name="T17" fmla="*/ 24 h 28"/>
                  <a:gd name="T18" fmla="*/ 16 w 16"/>
                  <a:gd name="T19" fmla="*/ 24 h 28"/>
                  <a:gd name="T20" fmla="*/ 14 w 16"/>
                  <a:gd name="T21" fmla="*/ 26 h 28"/>
                  <a:gd name="T22" fmla="*/ 14 w 16"/>
                  <a:gd name="T23" fmla="*/ 26 h 28"/>
                  <a:gd name="T24" fmla="*/ 14 w 16"/>
                  <a:gd name="T25" fmla="*/ 28 h 28"/>
                  <a:gd name="T26" fmla="*/ 14 w 16"/>
                  <a:gd name="T27" fmla="*/ 28 h 28"/>
                  <a:gd name="T28" fmla="*/ 10 w 16"/>
                  <a:gd name="T29" fmla="*/ 28 h 28"/>
                  <a:gd name="T30" fmla="*/ 10 w 16"/>
                  <a:gd name="T31" fmla="*/ 28 h 28"/>
                  <a:gd name="T32" fmla="*/ 0 w 16"/>
                  <a:gd name="T33" fmla="*/ 26 h 28"/>
                  <a:gd name="T34" fmla="*/ 0 w 16"/>
                  <a:gd name="T35" fmla="*/ 26 h 28"/>
                  <a:gd name="T36" fmla="*/ 0 w 16"/>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6"/>
                    </a:moveTo>
                    <a:lnTo>
                      <a:pt x="0" y="26"/>
                    </a:lnTo>
                    <a:lnTo>
                      <a:pt x="0" y="26"/>
                    </a:lnTo>
                    <a:lnTo>
                      <a:pt x="0" y="26"/>
                    </a:lnTo>
                    <a:lnTo>
                      <a:pt x="14" y="0"/>
                    </a:lnTo>
                    <a:lnTo>
                      <a:pt x="14" y="0"/>
                    </a:lnTo>
                    <a:lnTo>
                      <a:pt x="16" y="8"/>
                    </a:lnTo>
                    <a:lnTo>
                      <a:pt x="16" y="8"/>
                    </a:lnTo>
                    <a:lnTo>
                      <a:pt x="16" y="24"/>
                    </a:lnTo>
                    <a:lnTo>
                      <a:pt x="16" y="24"/>
                    </a:lnTo>
                    <a:lnTo>
                      <a:pt x="14" y="26"/>
                    </a:lnTo>
                    <a:lnTo>
                      <a:pt x="14" y="26"/>
                    </a:lnTo>
                    <a:lnTo>
                      <a:pt x="14" y="28"/>
                    </a:lnTo>
                    <a:lnTo>
                      <a:pt x="14" y="28"/>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9" name="Freeform 261"/>
              <p:cNvSpPr>
                <a:spLocks/>
              </p:cNvSpPr>
              <p:nvPr/>
            </p:nvSpPr>
            <p:spPr bwMode="auto">
              <a:xfrm>
                <a:off x="2908" y="1864"/>
                <a:ext cx="18" cy="24"/>
              </a:xfrm>
              <a:custGeom>
                <a:avLst/>
                <a:gdLst>
                  <a:gd name="T0" fmla="*/ 14 w 18"/>
                  <a:gd name="T1" fmla="*/ 24 h 24"/>
                  <a:gd name="T2" fmla="*/ 14 w 18"/>
                  <a:gd name="T3" fmla="*/ 24 h 24"/>
                  <a:gd name="T4" fmla="*/ 8 w 18"/>
                  <a:gd name="T5" fmla="*/ 22 h 24"/>
                  <a:gd name="T6" fmla="*/ 4 w 18"/>
                  <a:gd name="T7" fmla="*/ 18 h 24"/>
                  <a:gd name="T8" fmla="*/ 0 w 18"/>
                  <a:gd name="T9" fmla="*/ 14 h 24"/>
                  <a:gd name="T10" fmla="*/ 0 w 18"/>
                  <a:gd name="T11" fmla="*/ 10 h 24"/>
                  <a:gd name="T12" fmla="*/ 0 w 18"/>
                  <a:gd name="T13" fmla="*/ 10 h 24"/>
                  <a:gd name="T14" fmla="*/ 0 w 18"/>
                  <a:gd name="T15" fmla="*/ 6 h 24"/>
                  <a:gd name="T16" fmla="*/ 0 w 18"/>
                  <a:gd name="T17" fmla="*/ 6 h 24"/>
                  <a:gd name="T18" fmla="*/ 8 w 18"/>
                  <a:gd name="T19" fmla="*/ 0 h 24"/>
                  <a:gd name="T20" fmla="*/ 8 w 18"/>
                  <a:gd name="T21" fmla="*/ 0 h 24"/>
                  <a:gd name="T22" fmla="*/ 8 w 18"/>
                  <a:gd name="T23" fmla="*/ 0 h 24"/>
                  <a:gd name="T24" fmla="*/ 8 w 18"/>
                  <a:gd name="T25" fmla="*/ 0 h 24"/>
                  <a:gd name="T26" fmla="*/ 8 w 18"/>
                  <a:gd name="T27" fmla="*/ 0 h 24"/>
                  <a:gd name="T28" fmla="*/ 8 w 18"/>
                  <a:gd name="T29" fmla="*/ 0 h 24"/>
                  <a:gd name="T30" fmla="*/ 18 w 18"/>
                  <a:gd name="T31" fmla="*/ 18 h 24"/>
                  <a:gd name="T32" fmla="*/ 18 w 18"/>
                  <a:gd name="T33" fmla="*/ 18 h 24"/>
                  <a:gd name="T34" fmla="*/ 18 w 18"/>
                  <a:gd name="T35" fmla="*/ 22 h 24"/>
                  <a:gd name="T36" fmla="*/ 14 w 18"/>
                  <a:gd name="T37" fmla="*/ 24 h 24"/>
                  <a:gd name="T38" fmla="*/ 14 w 18"/>
                  <a:gd name="T39" fmla="*/ 24 h 24"/>
                  <a:gd name="T40" fmla="*/ 14 w 18"/>
                  <a:gd name="T41" fmla="*/ 24 h 24"/>
                  <a:gd name="T42" fmla="*/ 14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8" y="22"/>
                    </a:lnTo>
                    <a:lnTo>
                      <a:pt x="4" y="18"/>
                    </a:lnTo>
                    <a:lnTo>
                      <a:pt x="0" y="14"/>
                    </a:lnTo>
                    <a:lnTo>
                      <a:pt x="0" y="10"/>
                    </a:lnTo>
                    <a:lnTo>
                      <a:pt x="0" y="10"/>
                    </a:lnTo>
                    <a:lnTo>
                      <a:pt x="0" y="6"/>
                    </a:lnTo>
                    <a:lnTo>
                      <a:pt x="0" y="6"/>
                    </a:lnTo>
                    <a:lnTo>
                      <a:pt x="8" y="0"/>
                    </a:lnTo>
                    <a:lnTo>
                      <a:pt x="8" y="0"/>
                    </a:lnTo>
                    <a:lnTo>
                      <a:pt x="8" y="0"/>
                    </a:lnTo>
                    <a:lnTo>
                      <a:pt x="8" y="0"/>
                    </a:lnTo>
                    <a:lnTo>
                      <a:pt x="8" y="0"/>
                    </a:lnTo>
                    <a:lnTo>
                      <a:pt x="8" y="0"/>
                    </a:lnTo>
                    <a:lnTo>
                      <a:pt x="18" y="18"/>
                    </a:lnTo>
                    <a:lnTo>
                      <a:pt x="18" y="18"/>
                    </a:lnTo>
                    <a:lnTo>
                      <a:pt x="18" y="22"/>
                    </a:lnTo>
                    <a:lnTo>
                      <a:pt x="14" y="24"/>
                    </a:lnTo>
                    <a:lnTo>
                      <a:pt x="14" y="24"/>
                    </a:lnTo>
                    <a:lnTo>
                      <a:pt x="14" y="24"/>
                    </a:lnTo>
                    <a:lnTo>
                      <a:pt x="14"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0" name="Freeform 262"/>
              <p:cNvSpPr>
                <a:spLocks/>
              </p:cNvSpPr>
              <p:nvPr/>
            </p:nvSpPr>
            <p:spPr bwMode="auto">
              <a:xfrm>
                <a:off x="2904" y="1814"/>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20 h 20"/>
                  <a:gd name="T58" fmla="*/ 10 w 12"/>
                  <a:gd name="T59" fmla="*/ 20 h 20"/>
                  <a:gd name="T60" fmla="*/ 8 w 12"/>
                  <a:gd name="T61" fmla="*/ 20 h 20"/>
                  <a:gd name="T62" fmla="*/ 8 w 12"/>
                  <a:gd name="T63" fmla="*/ 20 h 20"/>
                  <a:gd name="T64" fmla="*/ 6 w 12"/>
                  <a:gd name="T65" fmla="*/ 20 h 20"/>
                  <a:gd name="T66" fmla="*/ 6 w 12"/>
                  <a:gd name="T67" fmla="*/ 20 h 20"/>
                  <a:gd name="T68" fmla="*/ 4 w 12"/>
                  <a:gd name="T69" fmla="*/ 20 h 20"/>
                  <a:gd name="T70" fmla="*/ 4 w 12"/>
                  <a:gd name="T71" fmla="*/ 20 h 20"/>
                  <a:gd name="T72" fmla="*/ 2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0" y="20"/>
                    </a:lnTo>
                    <a:lnTo>
                      <a:pt x="10" y="20"/>
                    </a:lnTo>
                    <a:lnTo>
                      <a:pt x="8" y="20"/>
                    </a:lnTo>
                    <a:lnTo>
                      <a:pt x="8" y="20"/>
                    </a:lnTo>
                    <a:lnTo>
                      <a:pt x="6" y="20"/>
                    </a:lnTo>
                    <a:lnTo>
                      <a:pt x="6" y="20"/>
                    </a:lnTo>
                    <a:lnTo>
                      <a:pt x="4" y="20"/>
                    </a:lnTo>
                    <a:lnTo>
                      <a:pt x="4" y="20"/>
                    </a:lnTo>
                    <a:lnTo>
                      <a:pt x="2" y="12"/>
                    </a:lnTo>
                    <a:lnTo>
                      <a:pt x="0" y="8"/>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1" name="Freeform 263"/>
              <p:cNvSpPr>
                <a:spLocks/>
              </p:cNvSpPr>
              <p:nvPr/>
            </p:nvSpPr>
            <p:spPr bwMode="auto">
              <a:xfrm>
                <a:off x="2916" y="1768"/>
                <a:ext cx="170" cy="140"/>
              </a:xfrm>
              <a:custGeom>
                <a:avLst/>
                <a:gdLst>
                  <a:gd name="T0" fmla="*/ 74 w 170"/>
                  <a:gd name="T1" fmla="*/ 10 h 140"/>
                  <a:gd name="T2" fmla="*/ 100 w 170"/>
                  <a:gd name="T3" fmla="*/ 0 h 140"/>
                  <a:gd name="T4" fmla="*/ 130 w 170"/>
                  <a:gd name="T5" fmla="*/ 16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8 w 170"/>
                  <a:gd name="T25" fmla="*/ 36 h 140"/>
                  <a:gd name="T26" fmla="*/ 160 w 170"/>
                  <a:gd name="T27" fmla="*/ 26 h 140"/>
                  <a:gd name="T28" fmla="*/ 166 w 170"/>
                  <a:gd name="T29" fmla="*/ 26 h 140"/>
                  <a:gd name="T30" fmla="*/ 170 w 170"/>
                  <a:gd name="T31" fmla="*/ 52 h 140"/>
                  <a:gd name="T32" fmla="*/ 164 w 170"/>
                  <a:gd name="T33" fmla="*/ 76 h 140"/>
                  <a:gd name="T34" fmla="*/ 144 w 170"/>
                  <a:gd name="T35" fmla="*/ 84 h 140"/>
                  <a:gd name="T36" fmla="*/ 116 w 170"/>
                  <a:gd name="T37" fmla="*/ 80 h 140"/>
                  <a:gd name="T38" fmla="*/ 116 w 170"/>
                  <a:gd name="T39" fmla="*/ 94 h 140"/>
                  <a:gd name="T40" fmla="*/ 120 w 170"/>
                  <a:gd name="T41" fmla="*/ 96 h 140"/>
                  <a:gd name="T42" fmla="*/ 128 w 170"/>
                  <a:gd name="T43" fmla="*/ 88 h 140"/>
                  <a:gd name="T44" fmla="*/ 130 w 170"/>
                  <a:gd name="T45" fmla="*/ 90 h 140"/>
                  <a:gd name="T46" fmla="*/ 122 w 170"/>
                  <a:gd name="T47" fmla="*/ 98 h 140"/>
                  <a:gd name="T48" fmla="*/ 112 w 170"/>
                  <a:gd name="T49" fmla="*/ 96 h 140"/>
                  <a:gd name="T50" fmla="*/ 92 w 170"/>
                  <a:gd name="T51" fmla="*/ 84 h 140"/>
                  <a:gd name="T52" fmla="*/ 100 w 170"/>
                  <a:gd name="T53" fmla="*/ 92 h 140"/>
                  <a:gd name="T54" fmla="*/ 86 w 170"/>
                  <a:gd name="T55" fmla="*/ 124 h 140"/>
                  <a:gd name="T56" fmla="*/ 72 w 170"/>
                  <a:gd name="T57" fmla="*/ 136 h 140"/>
                  <a:gd name="T58" fmla="*/ 62 w 170"/>
                  <a:gd name="T59" fmla="*/ 138 h 140"/>
                  <a:gd name="T60" fmla="*/ 54 w 170"/>
                  <a:gd name="T61" fmla="*/ 122 h 140"/>
                  <a:gd name="T62" fmla="*/ 64 w 170"/>
                  <a:gd name="T63" fmla="*/ 116 h 140"/>
                  <a:gd name="T64" fmla="*/ 62 w 170"/>
                  <a:gd name="T65" fmla="*/ 112 h 140"/>
                  <a:gd name="T66" fmla="*/ 52 w 170"/>
                  <a:gd name="T67" fmla="*/ 112 h 140"/>
                  <a:gd name="T68" fmla="*/ 40 w 170"/>
                  <a:gd name="T69" fmla="*/ 110 h 140"/>
                  <a:gd name="T70" fmla="*/ 40 w 170"/>
                  <a:gd name="T71" fmla="*/ 110 h 140"/>
                  <a:gd name="T72" fmla="*/ 36 w 170"/>
                  <a:gd name="T73" fmla="*/ 126 h 140"/>
                  <a:gd name="T74" fmla="*/ 34 w 170"/>
                  <a:gd name="T75" fmla="*/ 134 h 140"/>
                  <a:gd name="T76" fmla="*/ 14 w 170"/>
                  <a:gd name="T77" fmla="*/ 134 h 140"/>
                  <a:gd name="T78" fmla="*/ 10 w 170"/>
                  <a:gd name="T79" fmla="*/ 126 h 140"/>
                  <a:gd name="T80" fmla="*/ 12 w 170"/>
                  <a:gd name="T81" fmla="*/ 114 h 140"/>
                  <a:gd name="T82" fmla="*/ 4 w 170"/>
                  <a:gd name="T83" fmla="*/ 94 h 140"/>
                  <a:gd name="T84" fmla="*/ 2 w 170"/>
                  <a:gd name="T85" fmla="*/ 66 h 140"/>
                  <a:gd name="T86" fmla="*/ 16 w 170"/>
                  <a:gd name="T87" fmla="*/ 44 h 140"/>
                  <a:gd name="T88" fmla="*/ 44 w 170"/>
                  <a:gd name="T89" fmla="*/ 32 h 140"/>
                  <a:gd name="T90" fmla="*/ 30 w 170"/>
                  <a:gd name="T91" fmla="*/ 52 h 140"/>
                  <a:gd name="T92" fmla="*/ 28 w 170"/>
                  <a:gd name="T93" fmla="*/ 64 h 140"/>
                  <a:gd name="T94" fmla="*/ 36 w 170"/>
                  <a:gd name="T95" fmla="*/ 80 h 140"/>
                  <a:gd name="T96" fmla="*/ 34 w 170"/>
                  <a:gd name="T97" fmla="*/ 88 h 140"/>
                  <a:gd name="T98" fmla="*/ 50 w 170"/>
                  <a:gd name="T99" fmla="*/ 96 h 140"/>
                  <a:gd name="T100" fmla="*/ 68 w 170"/>
                  <a:gd name="T101" fmla="*/ 88 h 140"/>
                  <a:gd name="T102" fmla="*/ 80 w 170"/>
                  <a:gd name="T103" fmla="*/ 82 h 140"/>
                  <a:gd name="T104" fmla="*/ 82 w 170"/>
                  <a:gd name="T105" fmla="*/ 56 h 140"/>
                  <a:gd name="T106" fmla="*/ 78 w 170"/>
                  <a:gd name="T107" fmla="*/ 58 h 140"/>
                  <a:gd name="T108" fmla="*/ 74 w 170"/>
                  <a:gd name="T109" fmla="*/ 82 h 140"/>
                  <a:gd name="T110" fmla="*/ 58 w 170"/>
                  <a:gd name="T111" fmla="*/ 90 h 140"/>
                  <a:gd name="T112" fmla="*/ 40 w 170"/>
                  <a:gd name="T113" fmla="*/ 86 h 140"/>
                  <a:gd name="T114" fmla="*/ 38 w 170"/>
                  <a:gd name="T115" fmla="*/ 82 h 140"/>
                  <a:gd name="T116" fmla="*/ 46 w 170"/>
                  <a:gd name="T117" fmla="*/ 66 h 140"/>
                  <a:gd name="T118" fmla="*/ 30 w 170"/>
                  <a:gd name="T119" fmla="*/ 62 h 140"/>
                  <a:gd name="T120" fmla="*/ 38 w 170"/>
                  <a:gd name="T121" fmla="*/ 46 h 140"/>
                  <a:gd name="T122" fmla="*/ 62 w 170"/>
                  <a:gd name="T123" fmla="*/ 20 h 140"/>
                  <a:gd name="T124" fmla="*/ 76 w 170"/>
                  <a:gd name="T125" fmla="*/ 1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6"/>
                    </a:moveTo>
                    <a:lnTo>
                      <a:pt x="68" y="16"/>
                    </a:lnTo>
                    <a:lnTo>
                      <a:pt x="72" y="12"/>
                    </a:lnTo>
                    <a:lnTo>
                      <a:pt x="74" y="10"/>
                    </a:lnTo>
                    <a:lnTo>
                      <a:pt x="82" y="4"/>
                    </a:lnTo>
                    <a:lnTo>
                      <a:pt x="82" y="4"/>
                    </a:lnTo>
                    <a:lnTo>
                      <a:pt x="100" y="0"/>
                    </a:lnTo>
                    <a:lnTo>
                      <a:pt x="100" y="0"/>
                    </a:lnTo>
                    <a:lnTo>
                      <a:pt x="108" y="2"/>
                    </a:lnTo>
                    <a:lnTo>
                      <a:pt x="116" y="4"/>
                    </a:lnTo>
                    <a:lnTo>
                      <a:pt x="116" y="4"/>
                    </a:lnTo>
                    <a:lnTo>
                      <a:pt x="130" y="16"/>
                    </a:lnTo>
                    <a:lnTo>
                      <a:pt x="130" y="16"/>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2"/>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2" y="44"/>
                    </a:lnTo>
                    <a:lnTo>
                      <a:pt x="142" y="44"/>
                    </a:lnTo>
                    <a:lnTo>
                      <a:pt x="144" y="44"/>
                    </a:lnTo>
                    <a:lnTo>
                      <a:pt x="144" y="44"/>
                    </a:lnTo>
                    <a:lnTo>
                      <a:pt x="146" y="46"/>
                    </a:lnTo>
                    <a:lnTo>
                      <a:pt x="146" y="46"/>
                    </a:lnTo>
                    <a:lnTo>
                      <a:pt x="144" y="58"/>
                    </a:lnTo>
                    <a:lnTo>
                      <a:pt x="144" y="58"/>
                    </a:lnTo>
                    <a:lnTo>
                      <a:pt x="148" y="48"/>
                    </a:lnTo>
                    <a:lnTo>
                      <a:pt x="146" y="38"/>
                    </a:lnTo>
                    <a:lnTo>
                      <a:pt x="146" y="38"/>
                    </a:lnTo>
                    <a:lnTo>
                      <a:pt x="148" y="36"/>
                    </a:lnTo>
                    <a:lnTo>
                      <a:pt x="150" y="34"/>
                    </a:lnTo>
                    <a:lnTo>
                      <a:pt x="150" y="34"/>
                    </a:lnTo>
                    <a:lnTo>
                      <a:pt x="154" y="30"/>
                    </a:lnTo>
                    <a:lnTo>
                      <a:pt x="160" y="26"/>
                    </a:lnTo>
                    <a:lnTo>
                      <a:pt x="160" y="26"/>
                    </a:lnTo>
                    <a:lnTo>
                      <a:pt x="162" y="24"/>
                    </a:lnTo>
                    <a:lnTo>
                      <a:pt x="162" y="24"/>
                    </a:lnTo>
                    <a:lnTo>
                      <a:pt x="166" y="26"/>
                    </a:lnTo>
                    <a:lnTo>
                      <a:pt x="166" y="26"/>
                    </a:lnTo>
                    <a:lnTo>
                      <a:pt x="170" y="38"/>
                    </a:lnTo>
                    <a:lnTo>
                      <a:pt x="170" y="38"/>
                    </a:lnTo>
                    <a:lnTo>
                      <a:pt x="170" y="52"/>
                    </a:lnTo>
                    <a:lnTo>
                      <a:pt x="170" y="60"/>
                    </a:lnTo>
                    <a:lnTo>
                      <a:pt x="168" y="66"/>
                    </a:lnTo>
                    <a:lnTo>
                      <a:pt x="168" y="66"/>
                    </a:lnTo>
                    <a:lnTo>
                      <a:pt x="164" y="76"/>
                    </a:lnTo>
                    <a:lnTo>
                      <a:pt x="158" y="80"/>
                    </a:lnTo>
                    <a:lnTo>
                      <a:pt x="152" y="84"/>
                    </a:lnTo>
                    <a:lnTo>
                      <a:pt x="144" y="84"/>
                    </a:lnTo>
                    <a:lnTo>
                      <a:pt x="144" y="84"/>
                    </a:lnTo>
                    <a:lnTo>
                      <a:pt x="136" y="84"/>
                    </a:lnTo>
                    <a:lnTo>
                      <a:pt x="136" y="84"/>
                    </a:lnTo>
                    <a:lnTo>
                      <a:pt x="126" y="82"/>
                    </a:lnTo>
                    <a:lnTo>
                      <a:pt x="116" y="80"/>
                    </a:lnTo>
                    <a:lnTo>
                      <a:pt x="116" y="80"/>
                    </a:lnTo>
                    <a:lnTo>
                      <a:pt x="116" y="92"/>
                    </a:lnTo>
                    <a:lnTo>
                      <a:pt x="116" y="92"/>
                    </a:lnTo>
                    <a:lnTo>
                      <a:pt x="116" y="94"/>
                    </a:lnTo>
                    <a:lnTo>
                      <a:pt x="118" y="96"/>
                    </a:lnTo>
                    <a:lnTo>
                      <a:pt x="118" y="96"/>
                    </a:lnTo>
                    <a:lnTo>
                      <a:pt x="120" y="96"/>
                    </a:lnTo>
                    <a:lnTo>
                      <a:pt x="120" y="96"/>
                    </a:lnTo>
                    <a:lnTo>
                      <a:pt x="124" y="96"/>
                    </a:lnTo>
                    <a:lnTo>
                      <a:pt x="124" y="96"/>
                    </a:lnTo>
                    <a:lnTo>
                      <a:pt x="126" y="92"/>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8"/>
                    </a:lnTo>
                    <a:lnTo>
                      <a:pt x="112" y="96"/>
                    </a:lnTo>
                    <a:lnTo>
                      <a:pt x="112" y="96"/>
                    </a:lnTo>
                    <a:lnTo>
                      <a:pt x="102" y="88"/>
                    </a:lnTo>
                    <a:lnTo>
                      <a:pt x="92" y="84"/>
                    </a:lnTo>
                    <a:lnTo>
                      <a:pt x="92" y="84"/>
                    </a:lnTo>
                    <a:lnTo>
                      <a:pt x="98" y="90"/>
                    </a:lnTo>
                    <a:lnTo>
                      <a:pt x="98" y="90"/>
                    </a:lnTo>
                    <a:lnTo>
                      <a:pt x="100" y="92"/>
                    </a:lnTo>
                    <a:lnTo>
                      <a:pt x="100" y="92"/>
                    </a:lnTo>
                    <a:lnTo>
                      <a:pt x="96" y="110"/>
                    </a:lnTo>
                    <a:lnTo>
                      <a:pt x="90" y="118"/>
                    </a:lnTo>
                    <a:lnTo>
                      <a:pt x="86" y="124"/>
                    </a:lnTo>
                    <a:lnTo>
                      <a:pt x="86" y="124"/>
                    </a:lnTo>
                    <a:lnTo>
                      <a:pt x="76" y="132"/>
                    </a:lnTo>
                    <a:lnTo>
                      <a:pt x="76" y="132"/>
                    </a:lnTo>
                    <a:lnTo>
                      <a:pt x="72" y="136"/>
                    </a:lnTo>
                    <a:lnTo>
                      <a:pt x="72" y="136"/>
                    </a:lnTo>
                    <a:lnTo>
                      <a:pt x="70" y="138"/>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4" y="110"/>
                    </a:lnTo>
                    <a:lnTo>
                      <a:pt x="62" y="112"/>
                    </a:lnTo>
                    <a:lnTo>
                      <a:pt x="56" y="114"/>
                    </a:lnTo>
                    <a:lnTo>
                      <a:pt x="56" y="114"/>
                    </a:lnTo>
                    <a:lnTo>
                      <a:pt x="52" y="112"/>
                    </a:lnTo>
                    <a:lnTo>
                      <a:pt x="52" y="112"/>
                    </a:lnTo>
                    <a:lnTo>
                      <a:pt x="46" y="112"/>
                    </a:lnTo>
                    <a:lnTo>
                      <a:pt x="46" y="112"/>
                    </a:lnTo>
                    <a:lnTo>
                      <a:pt x="42" y="112"/>
                    </a:lnTo>
                    <a:lnTo>
                      <a:pt x="40" y="110"/>
                    </a:lnTo>
                    <a:lnTo>
                      <a:pt x="40" y="108"/>
                    </a:lnTo>
                    <a:lnTo>
                      <a:pt x="40" y="108"/>
                    </a:lnTo>
                    <a:lnTo>
                      <a:pt x="40" y="110"/>
                    </a:lnTo>
                    <a:lnTo>
                      <a:pt x="40" y="110"/>
                    </a:lnTo>
                    <a:lnTo>
                      <a:pt x="40" y="112"/>
                    </a:lnTo>
                    <a:lnTo>
                      <a:pt x="40" y="112"/>
                    </a:lnTo>
                    <a:lnTo>
                      <a:pt x="38" y="120"/>
                    </a:lnTo>
                    <a:lnTo>
                      <a:pt x="36" y="126"/>
                    </a:lnTo>
                    <a:lnTo>
                      <a:pt x="36" y="126"/>
                    </a:lnTo>
                    <a:lnTo>
                      <a:pt x="34" y="130"/>
                    </a:lnTo>
                    <a:lnTo>
                      <a:pt x="34" y="134"/>
                    </a:lnTo>
                    <a:lnTo>
                      <a:pt x="34" y="134"/>
                    </a:lnTo>
                    <a:lnTo>
                      <a:pt x="32" y="136"/>
                    </a:lnTo>
                    <a:lnTo>
                      <a:pt x="30" y="136"/>
                    </a:lnTo>
                    <a:lnTo>
                      <a:pt x="30" y="136"/>
                    </a:lnTo>
                    <a:lnTo>
                      <a:pt x="14" y="134"/>
                    </a:lnTo>
                    <a:lnTo>
                      <a:pt x="14" y="134"/>
                    </a:lnTo>
                    <a:lnTo>
                      <a:pt x="10" y="132"/>
                    </a:lnTo>
                    <a:lnTo>
                      <a:pt x="10" y="126"/>
                    </a:lnTo>
                    <a:lnTo>
                      <a:pt x="10" y="126"/>
                    </a:lnTo>
                    <a:lnTo>
                      <a:pt x="12" y="122"/>
                    </a:lnTo>
                    <a:lnTo>
                      <a:pt x="14" y="118"/>
                    </a:lnTo>
                    <a:lnTo>
                      <a:pt x="14" y="118"/>
                    </a:lnTo>
                    <a:lnTo>
                      <a:pt x="12" y="114"/>
                    </a:lnTo>
                    <a:lnTo>
                      <a:pt x="12" y="112"/>
                    </a:lnTo>
                    <a:lnTo>
                      <a:pt x="12" y="112"/>
                    </a:lnTo>
                    <a:lnTo>
                      <a:pt x="6" y="102"/>
                    </a:lnTo>
                    <a:lnTo>
                      <a:pt x="4" y="94"/>
                    </a:lnTo>
                    <a:lnTo>
                      <a:pt x="2" y="84"/>
                    </a:lnTo>
                    <a:lnTo>
                      <a:pt x="0" y="74"/>
                    </a:lnTo>
                    <a:lnTo>
                      <a:pt x="0" y="74"/>
                    </a:lnTo>
                    <a:lnTo>
                      <a:pt x="2" y="66"/>
                    </a:lnTo>
                    <a:lnTo>
                      <a:pt x="6" y="58"/>
                    </a:lnTo>
                    <a:lnTo>
                      <a:pt x="10" y="50"/>
                    </a:lnTo>
                    <a:lnTo>
                      <a:pt x="16" y="44"/>
                    </a:lnTo>
                    <a:lnTo>
                      <a:pt x="16" y="44"/>
                    </a:lnTo>
                    <a:lnTo>
                      <a:pt x="28" y="36"/>
                    </a:lnTo>
                    <a:lnTo>
                      <a:pt x="42" y="32"/>
                    </a:lnTo>
                    <a:lnTo>
                      <a:pt x="42" y="32"/>
                    </a:lnTo>
                    <a:lnTo>
                      <a:pt x="44" y="32"/>
                    </a:lnTo>
                    <a:lnTo>
                      <a:pt x="44" y="32"/>
                    </a:lnTo>
                    <a:lnTo>
                      <a:pt x="34" y="46"/>
                    </a:lnTo>
                    <a:lnTo>
                      <a:pt x="34" y="46"/>
                    </a:lnTo>
                    <a:lnTo>
                      <a:pt x="30" y="52"/>
                    </a:lnTo>
                    <a:lnTo>
                      <a:pt x="28" y="58"/>
                    </a:lnTo>
                    <a:lnTo>
                      <a:pt x="28" y="58"/>
                    </a:lnTo>
                    <a:lnTo>
                      <a:pt x="26" y="60"/>
                    </a:lnTo>
                    <a:lnTo>
                      <a:pt x="28" y="64"/>
                    </a:lnTo>
                    <a:lnTo>
                      <a:pt x="32" y="70"/>
                    </a:lnTo>
                    <a:lnTo>
                      <a:pt x="32" y="70"/>
                    </a:lnTo>
                    <a:lnTo>
                      <a:pt x="36" y="76"/>
                    </a:lnTo>
                    <a:lnTo>
                      <a:pt x="36" y="80"/>
                    </a:lnTo>
                    <a:lnTo>
                      <a:pt x="34" y="84"/>
                    </a:lnTo>
                    <a:lnTo>
                      <a:pt x="34" y="84"/>
                    </a:lnTo>
                    <a:lnTo>
                      <a:pt x="34" y="88"/>
                    </a:lnTo>
                    <a:lnTo>
                      <a:pt x="34" y="88"/>
                    </a:lnTo>
                    <a:lnTo>
                      <a:pt x="42" y="94"/>
                    </a:lnTo>
                    <a:lnTo>
                      <a:pt x="46" y="96"/>
                    </a:lnTo>
                    <a:lnTo>
                      <a:pt x="50" y="96"/>
                    </a:lnTo>
                    <a:lnTo>
                      <a:pt x="50" y="96"/>
                    </a:lnTo>
                    <a:lnTo>
                      <a:pt x="54" y="96"/>
                    </a:lnTo>
                    <a:lnTo>
                      <a:pt x="58" y="92"/>
                    </a:lnTo>
                    <a:lnTo>
                      <a:pt x="58" y="92"/>
                    </a:lnTo>
                    <a:lnTo>
                      <a:pt x="68" y="88"/>
                    </a:lnTo>
                    <a:lnTo>
                      <a:pt x="78" y="84"/>
                    </a:lnTo>
                    <a:lnTo>
                      <a:pt x="78" y="84"/>
                    </a:lnTo>
                    <a:lnTo>
                      <a:pt x="80" y="82"/>
                    </a:lnTo>
                    <a:lnTo>
                      <a:pt x="80" y="82"/>
                    </a:lnTo>
                    <a:lnTo>
                      <a:pt x="82" y="76"/>
                    </a:lnTo>
                    <a:lnTo>
                      <a:pt x="82" y="68"/>
                    </a:lnTo>
                    <a:lnTo>
                      <a:pt x="82" y="56"/>
                    </a:lnTo>
                    <a:lnTo>
                      <a:pt x="82" y="56"/>
                    </a:lnTo>
                    <a:lnTo>
                      <a:pt x="78" y="40"/>
                    </a:lnTo>
                    <a:lnTo>
                      <a:pt x="78" y="40"/>
                    </a:lnTo>
                    <a:lnTo>
                      <a:pt x="78" y="58"/>
                    </a:lnTo>
                    <a:lnTo>
                      <a:pt x="78" y="58"/>
                    </a:lnTo>
                    <a:lnTo>
                      <a:pt x="78" y="78"/>
                    </a:lnTo>
                    <a:lnTo>
                      <a:pt x="78" y="78"/>
                    </a:lnTo>
                    <a:lnTo>
                      <a:pt x="76" y="80"/>
                    </a:lnTo>
                    <a:lnTo>
                      <a:pt x="74" y="82"/>
                    </a:lnTo>
                    <a:lnTo>
                      <a:pt x="74" y="82"/>
                    </a:lnTo>
                    <a:lnTo>
                      <a:pt x="66" y="86"/>
                    </a:lnTo>
                    <a:lnTo>
                      <a:pt x="58" y="90"/>
                    </a:lnTo>
                    <a:lnTo>
                      <a:pt x="58" y="90"/>
                    </a:lnTo>
                    <a:lnTo>
                      <a:pt x="48" y="92"/>
                    </a:lnTo>
                    <a:lnTo>
                      <a:pt x="48" y="92"/>
                    </a:lnTo>
                    <a:lnTo>
                      <a:pt x="44" y="90"/>
                    </a:lnTo>
                    <a:lnTo>
                      <a:pt x="40" y="86"/>
                    </a:lnTo>
                    <a:lnTo>
                      <a:pt x="40" y="86"/>
                    </a:lnTo>
                    <a:lnTo>
                      <a:pt x="38" y="84"/>
                    </a:lnTo>
                    <a:lnTo>
                      <a:pt x="38" y="82"/>
                    </a:lnTo>
                    <a:lnTo>
                      <a:pt x="38" y="82"/>
                    </a:lnTo>
                    <a:lnTo>
                      <a:pt x="42" y="74"/>
                    </a:lnTo>
                    <a:lnTo>
                      <a:pt x="42" y="74"/>
                    </a:lnTo>
                    <a:lnTo>
                      <a:pt x="46" y="66"/>
                    </a:lnTo>
                    <a:lnTo>
                      <a:pt x="46" y="66"/>
                    </a:lnTo>
                    <a:lnTo>
                      <a:pt x="38" y="74"/>
                    </a:lnTo>
                    <a:lnTo>
                      <a:pt x="38" y="74"/>
                    </a:lnTo>
                    <a:lnTo>
                      <a:pt x="30" y="62"/>
                    </a:lnTo>
                    <a:lnTo>
                      <a:pt x="30" y="62"/>
                    </a:lnTo>
                    <a:lnTo>
                      <a:pt x="30" y="60"/>
                    </a:lnTo>
                    <a:lnTo>
                      <a:pt x="30" y="60"/>
                    </a:lnTo>
                    <a:lnTo>
                      <a:pt x="34" y="52"/>
                    </a:lnTo>
                    <a:lnTo>
                      <a:pt x="38" y="46"/>
                    </a:lnTo>
                    <a:lnTo>
                      <a:pt x="38" y="46"/>
                    </a:lnTo>
                    <a:lnTo>
                      <a:pt x="58" y="22"/>
                    </a:lnTo>
                    <a:lnTo>
                      <a:pt x="58" y="22"/>
                    </a:lnTo>
                    <a:lnTo>
                      <a:pt x="62" y="20"/>
                    </a:lnTo>
                    <a:lnTo>
                      <a:pt x="66"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2" name="Freeform 264"/>
              <p:cNvSpPr>
                <a:spLocks/>
              </p:cNvSpPr>
              <p:nvPr/>
            </p:nvSpPr>
            <p:spPr bwMode="auto">
              <a:xfrm>
                <a:off x="2902" y="1766"/>
                <a:ext cx="188" cy="144"/>
              </a:xfrm>
              <a:custGeom>
                <a:avLst/>
                <a:gdLst>
                  <a:gd name="T0" fmla="*/ 106 w 188"/>
                  <a:gd name="T1" fmla="*/ 0 h 144"/>
                  <a:gd name="T2" fmla="*/ 84 w 188"/>
                  <a:gd name="T3" fmla="*/ 10 h 144"/>
                  <a:gd name="T4" fmla="*/ 76 w 188"/>
                  <a:gd name="T5" fmla="*/ 18 h 144"/>
                  <a:gd name="T6" fmla="*/ 70 w 188"/>
                  <a:gd name="T7" fmla="*/ 22 h 144"/>
                  <a:gd name="T8" fmla="*/ 54 w 188"/>
                  <a:gd name="T9" fmla="*/ 30 h 144"/>
                  <a:gd name="T10" fmla="*/ 34 w 188"/>
                  <a:gd name="T11" fmla="*/ 38 h 144"/>
                  <a:gd name="T12" fmla="*/ 18 w 188"/>
                  <a:gd name="T13" fmla="*/ 54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6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2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2 h 144"/>
                  <a:gd name="T68" fmla="*/ 120 w 188"/>
                  <a:gd name="T69" fmla="*/ 104 h 144"/>
                  <a:gd name="T70" fmla="*/ 118 w 188"/>
                  <a:gd name="T71" fmla="*/ 94 h 144"/>
                  <a:gd name="T72" fmla="*/ 124 w 188"/>
                  <a:gd name="T73" fmla="*/ 100 h 144"/>
                  <a:gd name="T74" fmla="*/ 134 w 188"/>
                  <a:gd name="T75" fmla="*/ 104 h 144"/>
                  <a:gd name="T76" fmla="*/ 144 w 188"/>
                  <a:gd name="T77" fmla="*/ 98 h 144"/>
                  <a:gd name="T78" fmla="*/ 148 w 188"/>
                  <a:gd name="T79" fmla="*/ 90 h 144"/>
                  <a:gd name="T80" fmla="*/ 154 w 188"/>
                  <a:gd name="T81" fmla="*/ 90 h 144"/>
                  <a:gd name="T82" fmla="*/ 158 w 188"/>
                  <a:gd name="T83" fmla="*/ 90 h 144"/>
                  <a:gd name="T84" fmla="*/ 180 w 188"/>
                  <a:gd name="T85" fmla="*/ 78 h 144"/>
                  <a:gd name="T86" fmla="*/ 188 w 188"/>
                  <a:gd name="T87" fmla="*/ 58 h 144"/>
                  <a:gd name="T88" fmla="*/ 186 w 188"/>
                  <a:gd name="T89" fmla="*/ 36 h 144"/>
                  <a:gd name="T90" fmla="*/ 180 w 188"/>
                  <a:gd name="T91" fmla="*/ 24 h 144"/>
                  <a:gd name="T92" fmla="*/ 174 w 188"/>
                  <a:gd name="T93" fmla="*/ 24 h 144"/>
                  <a:gd name="T94" fmla="*/ 166 w 188"/>
                  <a:gd name="T95" fmla="*/ 30 h 144"/>
                  <a:gd name="T96" fmla="*/ 162 w 188"/>
                  <a:gd name="T97" fmla="*/ 32 h 144"/>
                  <a:gd name="T98" fmla="*/ 156 w 188"/>
                  <a:gd name="T99" fmla="*/ 24 h 144"/>
                  <a:gd name="T100" fmla="*/ 138 w 188"/>
                  <a:gd name="T101" fmla="*/ 8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0"/>
                    </a:lnTo>
                    <a:lnTo>
                      <a:pt x="98" y="2"/>
                    </a:lnTo>
                    <a:lnTo>
                      <a:pt x="92" y="6"/>
                    </a:lnTo>
                    <a:lnTo>
                      <a:pt x="84" y="10"/>
                    </a:lnTo>
                    <a:lnTo>
                      <a:pt x="84" y="10"/>
                    </a:lnTo>
                    <a:lnTo>
                      <a:pt x="80" y="16"/>
                    </a:lnTo>
                    <a:lnTo>
                      <a:pt x="76" y="18"/>
                    </a:lnTo>
                    <a:lnTo>
                      <a:pt x="72" y="20"/>
                    </a:lnTo>
                    <a:lnTo>
                      <a:pt x="72" y="20"/>
                    </a:lnTo>
                    <a:lnTo>
                      <a:pt x="70" y="22"/>
                    </a:lnTo>
                    <a:lnTo>
                      <a:pt x="70" y="22"/>
                    </a:lnTo>
                    <a:lnTo>
                      <a:pt x="62" y="28"/>
                    </a:lnTo>
                    <a:lnTo>
                      <a:pt x="54" y="30"/>
                    </a:lnTo>
                    <a:lnTo>
                      <a:pt x="54" y="30"/>
                    </a:lnTo>
                    <a:lnTo>
                      <a:pt x="42" y="34"/>
                    </a:lnTo>
                    <a:lnTo>
                      <a:pt x="34" y="38"/>
                    </a:lnTo>
                    <a:lnTo>
                      <a:pt x="24" y="46"/>
                    </a:lnTo>
                    <a:lnTo>
                      <a:pt x="18" y="54"/>
                    </a:lnTo>
                    <a:lnTo>
                      <a:pt x="18" y="54"/>
                    </a:lnTo>
                    <a:lnTo>
                      <a:pt x="12" y="60"/>
                    </a:lnTo>
                    <a:lnTo>
                      <a:pt x="12" y="60"/>
                    </a:lnTo>
                    <a:lnTo>
                      <a:pt x="8" y="62"/>
                    </a:lnTo>
                    <a:lnTo>
                      <a:pt x="8" y="62"/>
                    </a:lnTo>
                    <a:lnTo>
                      <a:pt x="12" y="54"/>
                    </a:lnTo>
                    <a:lnTo>
                      <a:pt x="12" y="54"/>
                    </a:lnTo>
                    <a:lnTo>
                      <a:pt x="14" y="54"/>
                    </a:lnTo>
                    <a:lnTo>
                      <a:pt x="14" y="54"/>
                    </a:lnTo>
                    <a:lnTo>
                      <a:pt x="14" y="48"/>
                    </a:lnTo>
                    <a:lnTo>
                      <a:pt x="14" y="48"/>
                    </a:lnTo>
                    <a:lnTo>
                      <a:pt x="12" y="44"/>
                    </a:lnTo>
                    <a:lnTo>
                      <a:pt x="12" y="44"/>
                    </a:lnTo>
                    <a:lnTo>
                      <a:pt x="4" y="48"/>
                    </a:lnTo>
                    <a:lnTo>
                      <a:pt x="0" y="52"/>
                    </a:lnTo>
                    <a:lnTo>
                      <a:pt x="0" y="56"/>
                    </a:lnTo>
                    <a:lnTo>
                      <a:pt x="0" y="56"/>
                    </a:lnTo>
                    <a:lnTo>
                      <a:pt x="2" y="62"/>
                    </a:lnTo>
                    <a:lnTo>
                      <a:pt x="4" y="66"/>
                    </a:lnTo>
                    <a:lnTo>
                      <a:pt x="4" y="66"/>
                    </a:lnTo>
                    <a:lnTo>
                      <a:pt x="8" y="70"/>
                    </a:lnTo>
                    <a:lnTo>
                      <a:pt x="12" y="72"/>
                    </a:lnTo>
                    <a:lnTo>
                      <a:pt x="12" y="72"/>
                    </a:lnTo>
                    <a:lnTo>
                      <a:pt x="12" y="84"/>
                    </a:lnTo>
                    <a:lnTo>
                      <a:pt x="12" y="84"/>
                    </a:lnTo>
                    <a:lnTo>
                      <a:pt x="12" y="88"/>
                    </a:lnTo>
                    <a:lnTo>
                      <a:pt x="12" y="94"/>
                    </a:lnTo>
                    <a:lnTo>
                      <a:pt x="10" y="98"/>
                    </a:lnTo>
                    <a:lnTo>
                      <a:pt x="6" y="100"/>
                    </a:lnTo>
                    <a:lnTo>
                      <a:pt x="6" y="100"/>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4"/>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2"/>
                    </a:lnTo>
                    <a:lnTo>
                      <a:pt x="64" y="128"/>
                    </a:lnTo>
                    <a:lnTo>
                      <a:pt x="64" y="128"/>
                    </a:lnTo>
                    <a:lnTo>
                      <a:pt x="74" y="142"/>
                    </a:lnTo>
                    <a:lnTo>
                      <a:pt x="74" y="142"/>
                    </a:lnTo>
                    <a:lnTo>
                      <a:pt x="78" y="144"/>
                    </a:lnTo>
                    <a:lnTo>
                      <a:pt x="80" y="144"/>
                    </a:lnTo>
                    <a:lnTo>
                      <a:pt x="80" y="144"/>
                    </a:lnTo>
                    <a:lnTo>
                      <a:pt x="84"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6"/>
                    </a:lnTo>
                    <a:lnTo>
                      <a:pt x="124" y="122"/>
                    </a:lnTo>
                    <a:lnTo>
                      <a:pt x="124" y="122"/>
                    </a:lnTo>
                    <a:lnTo>
                      <a:pt x="122" y="114"/>
                    </a:lnTo>
                    <a:lnTo>
                      <a:pt x="122" y="114"/>
                    </a:lnTo>
                    <a:lnTo>
                      <a:pt x="120" y="104"/>
                    </a:lnTo>
                    <a:lnTo>
                      <a:pt x="120" y="104"/>
                    </a:lnTo>
                    <a:lnTo>
                      <a:pt x="118" y="94"/>
                    </a:lnTo>
                    <a:lnTo>
                      <a:pt x="118" y="94"/>
                    </a:lnTo>
                    <a:lnTo>
                      <a:pt x="118" y="94"/>
                    </a:lnTo>
                    <a:lnTo>
                      <a:pt x="118" y="94"/>
                    </a:lnTo>
                    <a:lnTo>
                      <a:pt x="124" y="100"/>
                    </a:lnTo>
                    <a:lnTo>
                      <a:pt x="124" y="100"/>
                    </a:lnTo>
                    <a:lnTo>
                      <a:pt x="128" y="102"/>
                    </a:lnTo>
                    <a:lnTo>
                      <a:pt x="134" y="104"/>
                    </a:lnTo>
                    <a:lnTo>
                      <a:pt x="134" y="104"/>
                    </a:lnTo>
                    <a:lnTo>
                      <a:pt x="140" y="102"/>
                    </a:lnTo>
                    <a:lnTo>
                      <a:pt x="144" y="98"/>
                    </a:lnTo>
                    <a:lnTo>
                      <a:pt x="146" y="94"/>
                    </a:lnTo>
                    <a:lnTo>
                      <a:pt x="146" y="94"/>
                    </a:lnTo>
                    <a:lnTo>
                      <a:pt x="148" y="90"/>
                    </a:lnTo>
                    <a:lnTo>
                      <a:pt x="152" y="90"/>
                    </a:lnTo>
                    <a:lnTo>
                      <a:pt x="152" y="90"/>
                    </a:lnTo>
                    <a:lnTo>
                      <a:pt x="154" y="90"/>
                    </a:lnTo>
                    <a:lnTo>
                      <a:pt x="154" y="90"/>
                    </a:lnTo>
                    <a:lnTo>
                      <a:pt x="158" y="90"/>
                    </a:lnTo>
                    <a:lnTo>
                      <a:pt x="158" y="90"/>
                    </a:lnTo>
                    <a:lnTo>
                      <a:pt x="166" y="88"/>
                    </a:lnTo>
                    <a:lnTo>
                      <a:pt x="174" y="86"/>
                    </a:lnTo>
                    <a:lnTo>
                      <a:pt x="180" y="78"/>
                    </a:lnTo>
                    <a:lnTo>
                      <a:pt x="184" y="70"/>
                    </a:lnTo>
                    <a:lnTo>
                      <a:pt x="184" y="70"/>
                    </a:lnTo>
                    <a:lnTo>
                      <a:pt x="188" y="58"/>
                    </a:lnTo>
                    <a:lnTo>
                      <a:pt x="188" y="46"/>
                    </a:lnTo>
                    <a:lnTo>
                      <a:pt x="188" y="46"/>
                    </a:lnTo>
                    <a:lnTo>
                      <a:pt x="186" y="36"/>
                    </a:lnTo>
                    <a:lnTo>
                      <a:pt x="182" y="28"/>
                    </a:lnTo>
                    <a:lnTo>
                      <a:pt x="182" y="28"/>
                    </a:lnTo>
                    <a:lnTo>
                      <a:pt x="180" y="24"/>
                    </a:lnTo>
                    <a:lnTo>
                      <a:pt x="176" y="22"/>
                    </a:lnTo>
                    <a:lnTo>
                      <a:pt x="176" y="22"/>
                    </a:lnTo>
                    <a:lnTo>
                      <a:pt x="174"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3" name="Freeform 265"/>
              <p:cNvSpPr>
                <a:spLocks/>
              </p:cNvSpPr>
              <p:nvPr/>
            </p:nvSpPr>
            <p:spPr bwMode="auto">
              <a:xfrm>
                <a:off x="2908" y="1864"/>
                <a:ext cx="18" cy="24"/>
              </a:xfrm>
              <a:custGeom>
                <a:avLst/>
                <a:gdLst>
                  <a:gd name="T0" fmla="*/ 8 w 18"/>
                  <a:gd name="T1" fmla="*/ 0 h 24"/>
                  <a:gd name="T2" fmla="*/ 8 w 18"/>
                  <a:gd name="T3" fmla="*/ 0 h 24"/>
                  <a:gd name="T4" fmla="*/ 2 w 18"/>
                  <a:gd name="T5" fmla="*/ 6 h 24"/>
                  <a:gd name="T6" fmla="*/ 2 w 18"/>
                  <a:gd name="T7" fmla="*/ 6 h 24"/>
                  <a:gd name="T8" fmla="*/ 0 w 18"/>
                  <a:gd name="T9" fmla="*/ 10 h 24"/>
                  <a:gd name="T10" fmla="*/ 0 w 18"/>
                  <a:gd name="T11" fmla="*/ 10 h 24"/>
                  <a:gd name="T12" fmla="*/ 0 w 18"/>
                  <a:gd name="T13" fmla="*/ 14 h 24"/>
                  <a:gd name="T14" fmla="*/ 4 w 18"/>
                  <a:gd name="T15" fmla="*/ 18 h 24"/>
                  <a:gd name="T16" fmla="*/ 8 w 18"/>
                  <a:gd name="T17" fmla="*/ 22 h 24"/>
                  <a:gd name="T18" fmla="*/ 14 w 18"/>
                  <a:gd name="T19" fmla="*/ 24 h 24"/>
                  <a:gd name="T20" fmla="*/ 14 w 18"/>
                  <a:gd name="T21" fmla="*/ 24 h 24"/>
                  <a:gd name="T22" fmla="*/ 14 w 18"/>
                  <a:gd name="T23" fmla="*/ 24 h 24"/>
                  <a:gd name="T24" fmla="*/ 14 w 18"/>
                  <a:gd name="T25" fmla="*/ 24 h 24"/>
                  <a:gd name="T26" fmla="*/ 14 w 18"/>
                  <a:gd name="T27" fmla="*/ 24 h 24"/>
                  <a:gd name="T28" fmla="*/ 14 w 18"/>
                  <a:gd name="T29" fmla="*/ 24 h 24"/>
                  <a:gd name="T30" fmla="*/ 18 w 18"/>
                  <a:gd name="T31" fmla="*/ 22 h 24"/>
                  <a:gd name="T32" fmla="*/ 16 w 18"/>
                  <a:gd name="T33" fmla="*/ 18 h 24"/>
                  <a:gd name="T34" fmla="*/ 16 w 18"/>
                  <a:gd name="T35" fmla="*/ 18 h 24"/>
                  <a:gd name="T36" fmla="*/ 8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8" y="0"/>
                    </a:moveTo>
                    <a:lnTo>
                      <a:pt x="8" y="0"/>
                    </a:lnTo>
                    <a:lnTo>
                      <a:pt x="2" y="6"/>
                    </a:lnTo>
                    <a:lnTo>
                      <a:pt x="2"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8"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4" name="Freeform 266"/>
              <p:cNvSpPr>
                <a:spLocks/>
              </p:cNvSpPr>
              <p:nvPr/>
            </p:nvSpPr>
            <p:spPr bwMode="auto">
              <a:xfrm>
                <a:off x="2908" y="1864"/>
                <a:ext cx="18" cy="24"/>
              </a:xfrm>
              <a:custGeom>
                <a:avLst/>
                <a:gdLst>
                  <a:gd name="T0" fmla="*/ 8 w 18"/>
                  <a:gd name="T1" fmla="*/ 0 h 24"/>
                  <a:gd name="T2" fmla="*/ 8 w 18"/>
                  <a:gd name="T3" fmla="*/ 0 h 24"/>
                  <a:gd name="T4" fmla="*/ 2 w 18"/>
                  <a:gd name="T5" fmla="*/ 6 h 24"/>
                  <a:gd name="T6" fmla="*/ 2 w 18"/>
                  <a:gd name="T7" fmla="*/ 6 h 24"/>
                  <a:gd name="T8" fmla="*/ 0 w 18"/>
                  <a:gd name="T9" fmla="*/ 10 h 24"/>
                  <a:gd name="T10" fmla="*/ 0 w 18"/>
                  <a:gd name="T11" fmla="*/ 10 h 24"/>
                  <a:gd name="T12" fmla="*/ 0 w 18"/>
                  <a:gd name="T13" fmla="*/ 14 h 24"/>
                  <a:gd name="T14" fmla="*/ 4 w 18"/>
                  <a:gd name="T15" fmla="*/ 18 h 24"/>
                  <a:gd name="T16" fmla="*/ 8 w 18"/>
                  <a:gd name="T17" fmla="*/ 22 h 24"/>
                  <a:gd name="T18" fmla="*/ 14 w 18"/>
                  <a:gd name="T19" fmla="*/ 24 h 24"/>
                  <a:gd name="T20" fmla="*/ 14 w 18"/>
                  <a:gd name="T21" fmla="*/ 24 h 24"/>
                  <a:gd name="T22" fmla="*/ 14 w 18"/>
                  <a:gd name="T23" fmla="*/ 24 h 24"/>
                  <a:gd name="T24" fmla="*/ 14 w 18"/>
                  <a:gd name="T25" fmla="*/ 24 h 24"/>
                  <a:gd name="T26" fmla="*/ 14 w 18"/>
                  <a:gd name="T27" fmla="*/ 24 h 24"/>
                  <a:gd name="T28" fmla="*/ 14 w 18"/>
                  <a:gd name="T29" fmla="*/ 24 h 24"/>
                  <a:gd name="T30" fmla="*/ 18 w 18"/>
                  <a:gd name="T31" fmla="*/ 22 h 24"/>
                  <a:gd name="T32" fmla="*/ 16 w 18"/>
                  <a:gd name="T33" fmla="*/ 18 h 24"/>
                  <a:gd name="T34" fmla="*/ 16 w 18"/>
                  <a:gd name="T35" fmla="*/ 18 h 24"/>
                  <a:gd name="T36" fmla="*/ 8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8" y="0"/>
                    </a:moveTo>
                    <a:lnTo>
                      <a:pt x="8" y="0"/>
                    </a:lnTo>
                    <a:lnTo>
                      <a:pt x="2" y="6"/>
                    </a:lnTo>
                    <a:lnTo>
                      <a:pt x="2"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8"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5" name="Freeform 267"/>
              <p:cNvSpPr>
                <a:spLocks/>
              </p:cNvSpPr>
              <p:nvPr/>
            </p:nvSpPr>
            <p:spPr bwMode="auto">
              <a:xfrm>
                <a:off x="2908" y="1864"/>
                <a:ext cx="14" cy="24"/>
              </a:xfrm>
              <a:custGeom>
                <a:avLst/>
                <a:gdLst>
                  <a:gd name="T0" fmla="*/ 8 w 14"/>
                  <a:gd name="T1" fmla="*/ 0 h 24"/>
                  <a:gd name="T2" fmla="*/ 8 w 14"/>
                  <a:gd name="T3" fmla="*/ 0 h 24"/>
                  <a:gd name="T4" fmla="*/ 0 w 14"/>
                  <a:gd name="T5" fmla="*/ 6 h 24"/>
                  <a:gd name="T6" fmla="*/ 0 w 14"/>
                  <a:gd name="T7" fmla="*/ 6 h 24"/>
                  <a:gd name="T8" fmla="*/ 0 w 14"/>
                  <a:gd name="T9" fmla="*/ 10 h 24"/>
                  <a:gd name="T10" fmla="*/ 0 w 14"/>
                  <a:gd name="T11" fmla="*/ 10 h 24"/>
                  <a:gd name="T12" fmla="*/ 0 w 14"/>
                  <a:gd name="T13" fmla="*/ 14 h 24"/>
                  <a:gd name="T14" fmla="*/ 4 w 14"/>
                  <a:gd name="T15" fmla="*/ 18 h 24"/>
                  <a:gd name="T16" fmla="*/ 8 w 14"/>
                  <a:gd name="T17" fmla="*/ 22 h 24"/>
                  <a:gd name="T18" fmla="*/ 14 w 14"/>
                  <a:gd name="T19" fmla="*/ 24 h 24"/>
                  <a:gd name="T20" fmla="*/ 14 w 14"/>
                  <a:gd name="T21" fmla="*/ 24 h 24"/>
                  <a:gd name="T22" fmla="*/ 14 w 14"/>
                  <a:gd name="T23" fmla="*/ 24 h 24"/>
                  <a:gd name="T24" fmla="*/ 14 w 14"/>
                  <a:gd name="T25" fmla="*/ 24 h 24"/>
                  <a:gd name="T26" fmla="*/ 14 w 14"/>
                  <a:gd name="T27" fmla="*/ 24 h 24"/>
                  <a:gd name="T28" fmla="*/ 14 w 14"/>
                  <a:gd name="T29" fmla="*/ 24 h 24"/>
                  <a:gd name="T30" fmla="*/ 14 w 14"/>
                  <a:gd name="T31" fmla="*/ 24 h 24"/>
                  <a:gd name="T32" fmla="*/ 14 w 14"/>
                  <a:gd name="T33" fmla="*/ 24 h 24"/>
                  <a:gd name="T34" fmla="*/ 14 w 14"/>
                  <a:gd name="T35" fmla="*/ 24 h 24"/>
                  <a:gd name="T36" fmla="*/ 14 w 14"/>
                  <a:gd name="T37" fmla="*/ 24 h 24"/>
                  <a:gd name="T38" fmla="*/ 8 w 14"/>
                  <a:gd name="T39" fmla="*/ 22 h 24"/>
                  <a:gd name="T40" fmla="*/ 4 w 14"/>
                  <a:gd name="T41" fmla="*/ 18 h 24"/>
                  <a:gd name="T42" fmla="*/ 0 w 14"/>
                  <a:gd name="T43" fmla="*/ 14 h 24"/>
                  <a:gd name="T44" fmla="*/ 0 w 14"/>
                  <a:gd name="T45" fmla="*/ 10 h 24"/>
                  <a:gd name="T46" fmla="*/ 0 w 14"/>
                  <a:gd name="T47" fmla="*/ 10 h 24"/>
                  <a:gd name="T48" fmla="*/ 2 w 14"/>
                  <a:gd name="T49" fmla="*/ 6 h 24"/>
                  <a:gd name="T50" fmla="*/ 2 w 14"/>
                  <a:gd name="T51" fmla="*/ 6 h 24"/>
                  <a:gd name="T52" fmla="*/ 8 w 14"/>
                  <a:gd name="T53" fmla="*/ 0 h 24"/>
                  <a:gd name="T54" fmla="*/ 8 w 14"/>
                  <a:gd name="T55" fmla="*/ 0 h 24"/>
                  <a:gd name="T56" fmla="*/ 8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8" y="0"/>
                    </a:moveTo>
                    <a:lnTo>
                      <a:pt x="8" y="0"/>
                    </a:lnTo>
                    <a:lnTo>
                      <a:pt x="0" y="6"/>
                    </a:lnTo>
                    <a:lnTo>
                      <a:pt x="0"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4" y="24"/>
                    </a:lnTo>
                    <a:lnTo>
                      <a:pt x="14" y="24"/>
                    </a:lnTo>
                    <a:lnTo>
                      <a:pt x="14" y="24"/>
                    </a:lnTo>
                    <a:lnTo>
                      <a:pt x="14" y="24"/>
                    </a:lnTo>
                    <a:lnTo>
                      <a:pt x="8" y="22"/>
                    </a:lnTo>
                    <a:lnTo>
                      <a:pt x="4" y="18"/>
                    </a:lnTo>
                    <a:lnTo>
                      <a:pt x="0"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6" name="Freeform 268"/>
              <p:cNvSpPr>
                <a:spLocks/>
              </p:cNvSpPr>
              <p:nvPr/>
            </p:nvSpPr>
            <p:spPr bwMode="auto">
              <a:xfrm>
                <a:off x="2908" y="1864"/>
                <a:ext cx="14" cy="24"/>
              </a:xfrm>
              <a:custGeom>
                <a:avLst/>
                <a:gdLst>
                  <a:gd name="T0" fmla="*/ 8 w 14"/>
                  <a:gd name="T1" fmla="*/ 0 h 24"/>
                  <a:gd name="T2" fmla="*/ 8 w 14"/>
                  <a:gd name="T3" fmla="*/ 0 h 24"/>
                  <a:gd name="T4" fmla="*/ 0 w 14"/>
                  <a:gd name="T5" fmla="*/ 6 h 24"/>
                  <a:gd name="T6" fmla="*/ 0 w 14"/>
                  <a:gd name="T7" fmla="*/ 6 h 24"/>
                  <a:gd name="T8" fmla="*/ 0 w 14"/>
                  <a:gd name="T9" fmla="*/ 10 h 24"/>
                  <a:gd name="T10" fmla="*/ 0 w 14"/>
                  <a:gd name="T11" fmla="*/ 10 h 24"/>
                  <a:gd name="T12" fmla="*/ 0 w 14"/>
                  <a:gd name="T13" fmla="*/ 14 h 24"/>
                  <a:gd name="T14" fmla="*/ 4 w 14"/>
                  <a:gd name="T15" fmla="*/ 18 h 24"/>
                  <a:gd name="T16" fmla="*/ 8 w 14"/>
                  <a:gd name="T17" fmla="*/ 22 h 24"/>
                  <a:gd name="T18" fmla="*/ 14 w 14"/>
                  <a:gd name="T19" fmla="*/ 24 h 24"/>
                  <a:gd name="T20" fmla="*/ 14 w 14"/>
                  <a:gd name="T21" fmla="*/ 24 h 24"/>
                  <a:gd name="T22" fmla="*/ 14 w 14"/>
                  <a:gd name="T23" fmla="*/ 24 h 24"/>
                  <a:gd name="T24" fmla="*/ 14 w 14"/>
                  <a:gd name="T25" fmla="*/ 24 h 24"/>
                  <a:gd name="T26" fmla="*/ 14 w 14"/>
                  <a:gd name="T27" fmla="*/ 24 h 24"/>
                  <a:gd name="T28" fmla="*/ 14 w 14"/>
                  <a:gd name="T29" fmla="*/ 24 h 24"/>
                  <a:gd name="T30" fmla="*/ 14 w 14"/>
                  <a:gd name="T31" fmla="*/ 24 h 24"/>
                  <a:gd name="T32" fmla="*/ 14 w 14"/>
                  <a:gd name="T33" fmla="*/ 24 h 24"/>
                  <a:gd name="T34" fmla="*/ 14 w 14"/>
                  <a:gd name="T35" fmla="*/ 24 h 24"/>
                  <a:gd name="T36" fmla="*/ 14 w 14"/>
                  <a:gd name="T37" fmla="*/ 24 h 24"/>
                  <a:gd name="T38" fmla="*/ 8 w 14"/>
                  <a:gd name="T39" fmla="*/ 22 h 24"/>
                  <a:gd name="T40" fmla="*/ 4 w 14"/>
                  <a:gd name="T41" fmla="*/ 18 h 24"/>
                  <a:gd name="T42" fmla="*/ 0 w 14"/>
                  <a:gd name="T43" fmla="*/ 14 h 24"/>
                  <a:gd name="T44" fmla="*/ 0 w 14"/>
                  <a:gd name="T45" fmla="*/ 10 h 24"/>
                  <a:gd name="T46" fmla="*/ 0 w 14"/>
                  <a:gd name="T47" fmla="*/ 10 h 24"/>
                  <a:gd name="T48" fmla="*/ 2 w 14"/>
                  <a:gd name="T49" fmla="*/ 6 h 24"/>
                  <a:gd name="T50" fmla="*/ 2 w 14"/>
                  <a:gd name="T51" fmla="*/ 6 h 24"/>
                  <a:gd name="T52" fmla="*/ 8 w 14"/>
                  <a:gd name="T53" fmla="*/ 0 h 24"/>
                  <a:gd name="T54" fmla="*/ 8 w 14"/>
                  <a:gd name="T55" fmla="*/ 0 h 24"/>
                  <a:gd name="T56" fmla="*/ 8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8" y="0"/>
                    </a:moveTo>
                    <a:lnTo>
                      <a:pt x="8" y="0"/>
                    </a:lnTo>
                    <a:lnTo>
                      <a:pt x="0" y="6"/>
                    </a:lnTo>
                    <a:lnTo>
                      <a:pt x="0"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4" y="24"/>
                    </a:lnTo>
                    <a:lnTo>
                      <a:pt x="14" y="24"/>
                    </a:lnTo>
                    <a:lnTo>
                      <a:pt x="14" y="24"/>
                    </a:lnTo>
                    <a:lnTo>
                      <a:pt x="14" y="24"/>
                    </a:lnTo>
                    <a:lnTo>
                      <a:pt x="8" y="22"/>
                    </a:lnTo>
                    <a:lnTo>
                      <a:pt x="4" y="18"/>
                    </a:lnTo>
                    <a:lnTo>
                      <a:pt x="0"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7" name="Freeform 269"/>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10 w 16"/>
                  <a:gd name="T9" fmla="*/ 28 h 28"/>
                  <a:gd name="T10" fmla="*/ 10 w 16"/>
                  <a:gd name="T11" fmla="*/ 28 h 28"/>
                  <a:gd name="T12" fmla="*/ 14 w 16"/>
                  <a:gd name="T13" fmla="*/ 28 h 28"/>
                  <a:gd name="T14" fmla="*/ 14 w 16"/>
                  <a:gd name="T15" fmla="*/ 28 h 28"/>
                  <a:gd name="T16" fmla="*/ 14 w 16"/>
                  <a:gd name="T17" fmla="*/ 26 h 28"/>
                  <a:gd name="T18" fmla="*/ 14 w 16"/>
                  <a:gd name="T19" fmla="*/ 26 h 28"/>
                  <a:gd name="T20" fmla="*/ 16 w 16"/>
                  <a:gd name="T21" fmla="*/ 24 h 28"/>
                  <a:gd name="T22" fmla="*/ 16 w 16"/>
                  <a:gd name="T23" fmla="*/ 24 h 28"/>
                  <a:gd name="T24" fmla="*/ 16 w 16"/>
                  <a:gd name="T25" fmla="*/ 10 h 28"/>
                  <a:gd name="T26" fmla="*/ 16 w 16"/>
                  <a:gd name="T27" fmla="*/ 10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0" y="26"/>
                    </a:lnTo>
                    <a:lnTo>
                      <a:pt x="0" y="26"/>
                    </a:lnTo>
                    <a:lnTo>
                      <a:pt x="10" y="28"/>
                    </a:lnTo>
                    <a:lnTo>
                      <a:pt x="10" y="28"/>
                    </a:lnTo>
                    <a:lnTo>
                      <a:pt x="14" y="28"/>
                    </a:lnTo>
                    <a:lnTo>
                      <a:pt x="14" y="28"/>
                    </a:lnTo>
                    <a:lnTo>
                      <a:pt x="14" y="26"/>
                    </a:lnTo>
                    <a:lnTo>
                      <a:pt x="14" y="26"/>
                    </a:lnTo>
                    <a:lnTo>
                      <a:pt x="16" y="24"/>
                    </a:lnTo>
                    <a:lnTo>
                      <a:pt x="16" y="24"/>
                    </a:lnTo>
                    <a:lnTo>
                      <a:pt x="16" y="10"/>
                    </a:lnTo>
                    <a:lnTo>
                      <a:pt x="16" y="10"/>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8" name="Freeform 270"/>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10 w 16"/>
                  <a:gd name="T9" fmla="*/ 28 h 28"/>
                  <a:gd name="T10" fmla="*/ 10 w 16"/>
                  <a:gd name="T11" fmla="*/ 28 h 28"/>
                  <a:gd name="T12" fmla="*/ 14 w 16"/>
                  <a:gd name="T13" fmla="*/ 28 h 28"/>
                  <a:gd name="T14" fmla="*/ 14 w 16"/>
                  <a:gd name="T15" fmla="*/ 28 h 28"/>
                  <a:gd name="T16" fmla="*/ 14 w 16"/>
                  <a:gd name="T17" fmla="*/ 26 h 28"/>
                  <a:gd name="T18" fmla="*/ 14 w 16"/>
                  <a:gd name="T19" fmla="*/ 26 h 28"/>
                  <a:gd name="T20" fmla="*/ 16 w 16"/>
                  <a:gd name="T21" fmla="*/ 24 h 28"/>
                  <a:gd name="T22" fmla="*/ 16 w 16"/>
                  <a:gd name="T23" fmla="*/ 24 h 28"/>
                  <a:gd name="T24" fmla="*/ 16 w 16"/>
                  <a:gd name="T25" fmla="*/ 10 h 28"/>
                  <a:gd name="T26" fmla="*/ 16 w 16"/>
                  <a:gd name="T27" fmla="*/ 10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0" y="26"/>
                    </a:lnTo>
                    <a:lnTo>
                      <a:pt x="0" y="26"/>
                    </a:lnTo>
                    <a:lnTo>
                      <a:pt x="10" y="28"/>
                    </a:lnTo>
                    <a:lnTo>
                      <a:pt x="10" y="28"/>
                    </a:lnTo>
                    <a:lnTo>
                      <a:pt x="14" y="28"/>
                    </a:lnTo>
                    <a:lnTo>
                      <a:pt x="14" y="28"/>
                    </a:lnTo>
                    <a:lnTo>
                      <a:pt x="14" y="26"/>
                    </a:lnTo>
                    <a:lnTo>
                      <a:pt x="14" y="26"/>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9" name="Freeform 271"/>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0 w 16"/>
                  <a:gd name="T9" fmla="*/ 26 h 28"/>
                  <a:gd name="T10" fmla="*/ 0 w 16"/>
                  <a:gd name="T11" fmla="*/ 26 h 28"/>
                  <a:gd name="T12" fmla="*/ 14 w 16"/>
                  <a:gd name="T13" fmla="*/ 0 h 28"/>
                  <a:gd name="T14" fmla="*/ 14 w 16"/>
                  <a:gd name="T15" fmla="*/ 0 h 28"/>
                  <a:gd name="T16" fmla="*/ 16 w 16"/>
                  <a:gd name="T17" fmla="*/ 10 h 28"/>
                  <a:gd name="T18" fmla="*/ 16 w 16"/>
                  <a:gd name="T19" fmla="*/ 10 h 28"/>
                  <a:gd name="T20" fmla="*/ 16 w 16"/>
                  <a:gd name="T21" fmla="*/ 24 h 28"/>
                  <a:gd name="T22" fmla="*/ 16 w 16"/>
                  <a:gd name="T23" fmla="*/ 24 h 28"/>
                  <a:gd name="T24" fmla="*/ 14 w 16"/>
                  <a:gd name="T25" fmla="*/ 26 h 28"/>
                  <a:gd name="T26" fmla="*/ 14 w 16"/>
                  <a:gd name="T27" fmla="*/ 26 h 28"/>
                  <a:gd name="T28" fmla="*/ 14 w 16"/>
                  <a:gd name="T29" fmla="*/ 28 h 28"/>
                  <a:gd name="T30" fmla="*/ 14 w 16"/>
                  <a:gd name="T31" fmla="*/ 28 h 28"/>
                  <a:gd name="T32" fmla="*/ 14 w 16"/>
                  <a:gd name="T33" fmla="*/ 26 h 28"/>
                  <a:gd name="T34" fmla="*/ 14 w 16"/>
                  <a:gd name="T35" fmla="*/ 26 h 28"/>
                  <a:gd name="T36" fmla="*/ 16 w 16"/>
                  <a:gd name="T37" fmla="*/ 24 h 28"/>
                  <a:gd name="T38" fmla="*/ 16 w 16"/>
                  <a:gd name="T39" fmla="*/ 24 h 28"/>
                  <a:gd name="T40" fmla="*/ 16 w 16"/>
                  <a:gd name="T41" fmla="*/ 8 h 28"/>
                  <a:gd name="T42" fmla="*/ 16 w 16"/>
                  <a:gd name="T43" fmla="*/ 8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6"/>
                    </a:lnTo>
                    <a:lnTo>
                      <a:pt x="0" y="26"/>
                    </a:lnTo>
                    <a:lnTo>
                      <a:pt x="0" y="26"/>
                    </a:lnTo>
                    <a:lnTo>
                      <a:pt x="0" y="26"/>
                    </a:lnTo>
                    <a:lnTo>
                      <a:pt x="14" y="0"/>
                    </a:lnTo>
                    <a:lnTo>
                      <a:pt x="14" y="0"/>
                    </a:lnTo>
                    <a:lnTo>
                      <a:pt x="16" y="10"/>
                    </a:lnTo>
                    <a:lnTo>
                      <a:pt x="16" y="10"/>
                    </a:lnTo>
                    <a:lnTo>
                      <a:pt x="16" y="24"/>
                    </a:lnTo>
                    <a:lnTo>
                      <a:pt x="16" y="24"/>
                    </a:lnTo>
                    <a:lnTo>
                      <a:pt x="14" y="26"/>
                    </a:lnTo>
                    <a:lnTo>
                      <a:pt x="14" y="26"/>
                    </a:lnTo>
                    <a:lnTo>
                      <a:pt x="14" y="28"/>
                    </a:lnTo>
                    <a:lnTo>
                      <a:pt x="14" y="28"/>
                    </a:lnTo>
                    <a:lnTo>
                      <a:pt x="14" y="26"/>
                    </a:lnTo>
                    <a:lnTo>
                      <a:pt x="14" y="26"/>
                    </a:lnTo>
                    <a:lnTo>
                      <a:pt x="16" y="24"/>
                    </a:lnTo>
                    <a:lnTo>
                      <a:pt x="16"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0" name="Freeform 272"/>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0 w 16"/>
                  <a:gd name="T9" fmla="*/ 26 h 28"/>
                  <a:gd name="T10" fmla="*/ 0 w 16"/>
                  <a:gd name="T11" fmla="*/ 26 h 28"/>
                  <a:gd name="T12" fmla="*/ 14 w 16"/>
                  <a:gd name="T13" fmla="*/ 0 h 28"/>
                  <a:gd name="T14" fmla="*/ 14 w 16"/>
                  <a:gd name="T15" fmla="*/ 0 h 28"/>
                  <a:gd name="T16" fmla="*/ 16 w 16"/>
                  <a:gd name="T17" fmla="*/ 10 h 28"/>
                  <a:gd name="T18" fmla="*/ 16 w 16"/>
                  <a:gd name="T19" fmla="*/ 10 h 28"/>
                  <a:gd name="T20" fmla="*/ 16 w 16"/>
                  <a:gd name="T21" fmla="*/ 24 h 28"/>
                  <a:gd name="T22" fmla="*/ 16 w 16"/>
                  <a:gd name="T23" fmla="*/ 24 h 28"/>
                  <a:gd name="T24" fmla="*/ 14 w 16"/>
                  <a:gd name="T25" fmla="*/ 26 h 28"/>
                  <a:gd name="T26" fmla="*/ 14 w 16"/>
                  <a:gd name="T27" fmla="*/ 26 h 28"/>
                  <a:gd name="T28" fmla="*/ 14 w 16"/>
                  <a:gd name="T29" fmla="*/ 28 h 28"/>
                  <a:gd name="T30" fmla="*/ 14 w 16"/>
                  <a:gd name="T31" fmla="*/ 28 h 28"/>
                  <a:gd name="T32" fmla="*/ 14 w 16"/>
                  <a:gd name="T33" fmla="*/ 26 h 28"/>
                  <a:gd name="T34" fmla="*/ 14 w 16"/>
                  <a:gd name="T35" fmla="*/ 26 h 28"/>
                  <a:gd name="T36" fmla="*/ 16 w 16"/>
                  <a:gd name="T37" fmla="*/ 24 h 28"/>
                  <a:gd name="T38" fmla="*/ 16 w 16"/>
                  <a:gd name="T39" fmla="*/ 24 h 28"/>
                  <a:gd name="T40" fmla="*/ 16 w 16"/>
                  <a:gd name="T41" fmla="*/ 8 h 28"/>
                  <a:gd name="T42" fmla="*/ 16 w 16"/>
                  <a:gd name="T43" fmla="*/ 8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6"/>
                    </a:lnTo>
                    <a:lnTo>
                      <a:pt x="0" y="26"/>
                    </a:lnTo>
                    <a:lnTo>
                      <a:pt x="0" y="26"/>
                    </a:lnTo>
                    <a:lnTo>
                      <a:pt x="0" y="26"/>
                    </a:lnTo>
                    <a:lnTo>
                      <a:pt x="14" y="0"/>
                    </a:lnTo>
                    <a:lnTo>
                      <a:pt x="14" y="0"/>
                    </a:lnTo>
                    <a:lnTo>
                      <a:pt x="16" y="10"/>
                    </a:lnTo>
                    <a:lnTo>
                      <a:pt x="16" y="10"/>
                    </a:lnTo>
                    <a:lnTo>
                      <a:pt x="16" y="24"/>
                    </a:lnTo>
                    <a:lnTo>
                      <a:pt x="16" y="24"/>
                    </a:lnTo>
                    <a:lnTo>
                      <a:pt x="14" y="26"/>
                    </a:lnTo>
                    <a:lnTo>
                      <a:pt x="14" y="26"/>
                    </a:lnTo>
                    <a:lnTo>
                      <a:pt x="14" y="28"/>
                    </a:lnTo>
                    <a:lnTo>
                      <a:pt x="14" y="28"/>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1" name="Freeform 273"/>
              <p:cNvSpPr>
                <a:spLocks/>
              </p:cNvSpPr>
              <p:nvPr/>
            </p:nvSpPr>
            <p:spPr bwMode="auto">
              <a:xfrm>
                <a:off x="2904" y="1814"/>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20 h 20"/>
                  <a:gd name="T16" fmla="*/ 4 w 12"/>
                  <a:gd name="T17" fmla="*/ 20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6 w 12"/>
                  <a:gd name="T43" fmla="*/ 16 h 20"/>
                  <a:gd name="T44" fmla="*/ 6 w 12"/>
                  <a:gd name="T45" fmla="*/ 16 h 20"/>
                  <a:gd name="T46" fmla="*/ 6 w 12"/>
                  <a:gd name="T47" fmla="*/ 16 h 20"/>
                  <a:gd name="T48" fmla="*/ 6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6"/>
                    </a:lnTo>
                    <a:lnTo>
                      <a:pt x="0" y="6"/>
                    </a:lnTo>
                    <a:lnTo>
                      <a:pt x="2" y="12"/>
                    </a:lnTo>
                    <a:lnTo>
                      <a:pt x="4" y="20"/>
                    </a:lnTo>
                    <a:lnTo>
                      <a:pt x="4" y="20"/>
                    </a:lnTo>
                    <a:lnTo>
                      <a:pt x="6" y="20"/>
                    </a:lnTo>
                    <a:lnTo>
                      <a:pt x="6" y="20"/>
                    </a:lnTo>
                    <a:lnTo>
                      <a:pt x="8" y="20"/>
                    </a:lnTo>
                    <a:lnTo>
                      <a:pt x="8" y="20"/>
                    </a:lnTo>
                    <a:lnTo>
                      <a:pt x="10" y="20"/>
                    </a:lnTo>
                    <a:lnTo>
                      <a:pt x="10" y="20"/>
                    </a:lnTo>
                    <a:lnTo>
                      <a:pt x="12" y="14"/>
                    </a:lnTo>
                    <a:lnTo>
                      <a:pt x="12" y="14"/>
                    </a:lnTo>
                    <a:lnTo>
                      <a:pt x="10" y="16"/>
                    </a:lnTo>
                    <a:lnTo>
                      <a:pt x="10" y="16"/>
                    </a:lnTo>
                    <a:lnTo>
                      <a:pt x="8" y="16"/>
                    </a:lnTo>
                    <a:lnTo>
                      <a:pt x="8" y="16"/>
                    </a:lnTo>
                    <a:lnTo>
                      <a:pt x="6" y="16"/>
                    </a:lnTo>
                    <a:lnTo>
                      <a:pt x="6" y="16"/>
                    </a:lnTo>
                    <a:lnTo>
                      <a:pt x="6" y="16"/>
                    </a:lnTo>
                    <a:lnTo>
                      <a:pt x="6" y="16"/>
                    </a:lnTo>
                    <a:lnTo>
                      <a:pt x="4" y="12"/>
                    </a:lnTo>
                    <a:lnTo>
                      <a:pt x="4" y="12"/>
                    </a:lnTo>
                    <a:lnTo>
                      <a:pt x="8" y="0"/>
                    </a:lnTo>
                    <a:lnTo>
                      <a:pt x="8" y="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2" name="Freeform 274"/>
              <p:cNvSpPr>
                <a:spLocks/>
              </p:cNvSpPr>
              <p:nvPr/>
            </p:nvSpPr>
            <p:spPr bwMode="auto">
              <a:xfrm>
                <a:off x="2904" y="1814"/>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20 h 20"/>
                  <a:gd name="T16" fmla="*/ 4 w 12"/>
                  <a:gd name="T17" fmla="*/ 20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6 w 12"/>
                  <a:gd name="T43" fmla="*/ 16 h 20"/>
                  <a:gd name="T44" fmla="*/ 6 w 12"/>
                  <a:gd name="T45" fmla="*/ 16 h 20"/>
                  <a:gd name="T46" fmla="*/ 6 w 12"/>
                  <a:gd name="T47" fmla="*/ 16 h 20"/>
                  <a:gd name="T48" fmla="*/ 6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6"/>
                    </a:lnTo>
                    <a:lnTo>
                      <a:pt x="0" y="6"/>
                    </a:lnTo>
                    <a:lnTo>
                      <a:pt x="2" y="12"/>
                    </a:lnTo>
                    <a:lnTo>
                      <a:pt x="4" y="20"/>
                    </a:lnTo>
                    <a:lnTo>
                      <a:pt x="4" y="20"/>
                    </a:lnTo>
                    <a:lnTo>
                      <a:pt x="6" y="20"/>
                    </a:lnTo>
                    <a:lnTo>
                      <a:pt x="6" y="20"/>
                    </a:lnTo>
                    <a:lnTo>
                      <a:pt x="8" y="20"/>
                    </a:lnTo>
                    <a:lnTo>
                      <a:pt x="8" y="20"/>
                    </a:lnTo>
                    <a:lnTo>
                      <a:pt x="10" y="20"/>
                    </a:lnTo>
                    <a:lnTo>
                      <a:pt x="10" y="20"/>
                    </a:lnTo>
                    <a:lnTo>
                      <a:pt x="12" y="14"/>
                    </a:lnTo>
                    <a:lnTo>
                      <a:pt x="12" y="14"/>
                    </a:lnTo>
                    <a:lnTo>
                      <a:pt x="10" y="16"/>
                    </a:lnTo>
                    <a:lnTo>
                      <a:pt x="10" y="16"/>
                    </a:lnTo>
                    <a:lnTo>
                      <a:pt x="8" y="16"/>
                    </a:lnTo>
                    <a:lnTo>
                      <a:pt x="8" y="16"/>
                    </a:lnTo>
                    <a:lnTo>
                      <a:pt x="6" y="16"/>
                    </a:lnTo>
                    <a:lnTo>
                      <a:pt x="6" y="16"/>
                    </a:lnTo>
                    <a:lnTo>
                      <a:pt x="6" y="16"/>
                    </a:lnTo>
                    <a:lnTo>
                      <a:pt x="6" y="16"/>
                    </a:lnTo>
                    <a:lnTo>
                      <a:pt x="4" y="12"/>
                    </a:lnTo>
                    <a:lnTo>
                      <a:pt x="4" y="1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3" name="Freeform 275"/>
              <p:cNvSpPr>
                <a:spLocks noEditPoints="1"/>
              </p:cNvSpPr>
              <p:nvPr/>
            </p:nvSpPr>
            <p:spPr bwMode="auto">
              <a:xfrm>
                <a:off x="2908" y="1814"/>
                <a:ext cx="8" cy="20"/>
              </a:xfrm>
              <a:custGeom>
                <a:avLst/>
                <a:gdLst>
                  <a:gd name="T0" fmla="*/ 6 w 8"/>
                  <a:gd name="T1" fmla="*/ 20 h 20"/>
                  <a:gd name="T2" fmla="*/ 6 w 8"/>
                  <a:gd name="T3" fmla="*/ 20 h 20"/>
                  <a:gd name="T4" fmla="*/ 4 w 8"/>
                  <a:gd name="T5" fmla="*/ 20 h 20"/>
                  <a:gd name="T6" fmla="*/ 4 w 8"/>
                  <a:gd name="T7" fmla="*/ 20 h 20"/>
                  <a:gd name="T8" fmla="*/ 2 w 8"/>
                  <a:gd name="T9" fmla="*/ 20 h 20"/>
                  <a:gd name="T10" fmla="*/ 2 w 8"/>
                  <a:gd name="T11" fmla="*/ 20 h 20"/>
                  <a:gd name="T12" fmla="*/ 0 w 8"/>
                  <a:gd name="T13" fmla="*/ 20 h 20"/>
                  <a:gd name="T14" fmla="*/ 0 w 8"/>
                  <a:gd name="T15" fmla="*/ 20 h 20"/>
                  <a:gd name="T16" fmla="*/ 2 w 8"/>
                  <a:gd name="T17" fmla="*/ 20 h 20"/>
                  <a:gd name="T18" fmla="*/ 2 w 8"/>
                  <a:gd name="T19" fmla="*/ 20 h 20"/>
                  <a:gd name="T20" fmla="*/ 4 w 8"/>
                  <a:gd name="T21" fmla="*/ 20 h 20"/>
                  <a:gd name="T22" fmla="*/ 4 w 8"/>
                  <a:gd name="T23" fmla="*/ 20 h 20"/>
                  <a:gd name="T24" fmla="*/ 6 w 8"/>
                  <a:gd name="T25" fmla="*/ 20 h 20"/>
                  <a:gd name="T26" fmla="*/ 8 w 8"/>
                  <a:gd name="T27" fmla="*/ 14 h 20"/>
                  <a:gd name="T28" fmla="*/ 8 w 8"/>
                  <a:gd name="T29" fmla="*/ 14 h 20"/>
                  <a:gd name="T30" fmla="*/ 6 w 8"/>
                  <a:gd name="T31" fmla="*/ 16 h 20"/>
                  <a:gd name="T32" fmla="*/ 6 w 8"/>
                  <a:gd name="T33" fmla="*/ 16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2 h 20"/>
                  <a:gd name="T46" fmla="*/ 0 w 8"/>
                  <a:gd name="T47" fmla="*/ 12 h 20"/>
                  <a:gd name="T48" fmla="*/ 2 w 8"/>
                  <a:gd name="T49" fmla="*/ 16 h 20"/>
                  <a:gd name="T50" fmla="*/ 2 w 8"/>
                  <a:gd name="T51" fmla="*/ 16 h 20"/>
                  <a:gd name="T52" fmla="*/ 2 w 8"/>
                  <a:gd name="T53" fmla="*/ 16 h 20"/>
                  <a:gd name="T54" fmla="*/ 2 w 8"/>
                  <a:gd name="T55" fmla="*/ 16 h 20"/>
                  <a:gd name="T56" fmla="*/ 2 w 8"/>
                  <a:gd name="T57" fmla="*/ 16 h 20"/>
                  <a:gd name="T58" fmla="*/ 2 w 8"/>
                  <a:gd name="T59" fmla="*/ 16 h 20"/>
                  <a:gd name="T60" fmla="*/ 0 w 8"/>
                  <a:gd name="T61" fmla="*/ 12 h 20"/>
                  <a:gd name="T62" fmla="*/ 0 w 8"/>
                  <a:gd name="T63" fmla="*/ 12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20"/>
                    </a:moveTo>
                    <a:lnTo>
                      <a:pt x="6" y="20"/>
                    </a:lnTo>
                    <a:lnTo>
                      <a:pt x="4" y="20"/>
                    </a:lnTo>
                    <a:lnTo>
                      <a:pt x="4" y="20"/>
                    </a:lnTo>
                    <a:lnTo>
                      <a:pt x="2" y="20"/>
                    </a:lnTo>
                    <a:lnTo>
                      <a:pt x="2" y="20"/>
                    </a:lnTo>
                    <a:lnTo>
                      <a:pt x="0" y="20"/>
                    </a:lnTo>
                    <a:lnTo>
                      <a:pt x="0" y="20"/>
                    </a:lnTo>
                    <a:lnTo>
                      <a:pt x="2" y="20"/>
                    </a:lnTo>
                    <a:lnTo>
                      <a:pt x="2" y="20"/>
                    </a:lnTo>
                    <a:lnTo>
                      <a:pt x="4" y="20"/>
                    </a:lnTo>
                    <a:lnTo>
                      <a:pt x="4" y="20"/>
                    </a:lnTo>
                    <a:lnTo>
                      <a:pt x="6" y="20"/>
                    </a:lnTo>
                    <a:close/>
                    <a:moveTo>
                      <a:pt x="8" y="14"/>
                    </a:moveTo>
                    <a:lnTo>
                      <a:pt x="8" y="14"/>
                    </a:lnTo>
                    <a:lnTo>
                      <a:pt x="6" y="16"/>
                    </a:lnTo>
                    <a:lnTo>
                      <a:pt x="6" y="16"/>
                    </a:lnTo>
                    <a:lnTo>
                      <a:pt x="8" y="14"/>
                    </a:lnTo>
                    <a:lnTo>
                      <a:pt x="8" y="14"/>
                    </a:lnTo>
                    <a:lnTo>
                      <a:pt x="8" y="14"/>
                    </a:lnTo>
                    <a:close/>
                    <a:moveTo>
                      <a:pt x="4" y="0"/>
                    </a:moveTo>
                    <a:lnTo>
                      <a:pt x="4" y="0"/>
                    </a:lnTo>
                    <a:lnTo>
                      <a:pt x="0" y="12"/>
                    </a:lnTo>
                    <a:lnTo>
                      <a:pt x="0" y="12"/>
                    </a:lnTo>
                    <a:lnTo>
                      <a:pt x="2" y="16"/>
                    </a:lnTo>
                    <a:lnTo>
                      <a:pt x="2" y="16"/>
                    </a:lnTo>
                    <a:lnTo>
                      <a:pt x="2" y="16"/>
                    </a:lnTo>
                    <a:lnTo>
                      <a:pt x="2" y="16"/>
                    </a:lnTo>
                    <a:lnTo>
                      <a:pt x="2" y="16"/>
                    </a:lnTo>
                    <a:lnTo>
                      <a:pt x="2" y="16"/>
                    </a:lnTo>
                    <a:lnTo>
                      <a:pt x="0" y="12"/>
                    </a:lnTo>
                    <a:lnTo>
                      <a:pt x="0" y="12"/>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4" name="Freeform 276"/>
              <p:cNvSpPr>
                <a:spLocks/>
              </p:cNvSpPr>
              <p:nvPr/>
            </p:nvSpPr>
            <p:spPr bwMode="auto">
              <a:xfrm>
                <a:off x="2908" y="1834"/>
                <a:ext cx="6" cy="0"/>
              </a:xfrm>
              <a:custGeom>
                <a:avLst/>
                <a:gdLst>
                  <a:gd name="T0" fmla="*/ 6 w 6"/>
                  <a:gd name="T1" fmla="*/ 6 w 6"/>
                  <a:gd name="T2" fmla="*/ 4 w 6"/>
                  <a:gd name="T3" fmla="*/ 4 w 6"/>
                  <a:gd name="T4" fmla="*/ 2 w 6"/>
                  <a:gd name="T5" fmla="*/ 2 w 6"/>
                  <a:gd name="T6" fmla="*/ 0 w 6"/>
                  <a:gd name="T7" fmla="*/ 0 w 6"/>
                  <a:gd name="T8" fmla="*/ 2 w 6"/>
                  <a:gd name="T9" fmla="*/ 2 w 6"/>
                  <a:gd name="T10" fmla="*/ 4 w 6"/>
                  <a:gd name="T11" fmla="*/ 4 w 6"/>
                  <a:gd name="T12"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6" y="0"/>
                    </a:moveTo>
                    <a:lnTo>
                      <a:pt x="6" y="0"/>
                    </a:lnTo>
                    <a:lnTo>
                      <a:pt x="4" y="0"/>
                    </a:lnTo>
                    <a:lnTo>
                      <a:pt x="4" y="0"/>
                    </a:lnTo>
                    <a:lnTo>
                      <a:pt x="2" y="0"/>
                    </a:lnTo>
                    <a:lnTo>
                      <a:pt x="2" y="0"/>
                    </a:lnTo>
                    <a:lnTo>
                      <a:pt x="0" y="0"/>
                    </a:lnTo>
                    <a:lnTo>
                      <a:pt x="0" y="0"/>
                    </a:lnTo>
                    <a:lnTo>
                      <a:pt x="2" y="0"/>
                    </a:lnTo>
                    <a:lnTo>
                      <a:pt x="2"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5" name="Freeform 277"/>
              <p:cNvSpPr>
                <a:spLocks/>
              </p:cNvSpPr>
              <p:nvPr/>
            </p:nvSpPr>
            <p:spPr bwMode="auto">
              <a:xfrm>
                <a:off x="2914" y="182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6" name="Freeform 278"/>
              <p:cNvSpPr>
                <a:spLocks/>
              </p:cNvSpPr>
              <p:nvPr/>
            </p:nvSpPr>
            <p:spPr bwMode="auto">
              <a:xfrm>
                <a:off x="2908" y="1814"/>
                <a:ext cx="4" cy="16"/>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0 w 4"/>
                  <a:gd name="T21" fmla="*/ 12 h 16"/>
                  <a:gd name="T22" fmla="*/ 0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7" name="Freeform 279"/>
              <p:cNvSpPr>
                <a:spLocks/>
              </p:cNvSpPr>
              <p:nvPr/>
            </p:nvSpPr>
            <p:spPr bwMode="auto">
              <a:xfrm>
                <a:off x="2910" y="18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8" name="Freeform 280"/>
              <p:cNvSpPr>
                <a:spLocks noEditPoints="1"/>
              </p:cNvSpPr>
              <p:nvPr/>
            </p:nvSpPr>
            <p:spPr bwMode="auto">
              <a:xfrm>
                <a:off x="3018" y="1802"/>
                <a:ext cx="20" cy="14"/>
              </a:xfrm>
              <a:custGeom>
                <a:avLst/>
                <a:gdLst>
                  <a:gd name="T0" fmla="*/ 6 w 20"/>
                  <a:gd name="T1" fmla="*/ 12 h 14"/>
                  <a:gd name="T2" fmla="*/ 6 w 20"/>
                  <a:gd name="T3" fmla="*/ 12 h 14"/>
                  <a:gd name="T4" fmla="*/ 6 w 20"/>
                  <a:gd name="T5" fmla="*/ 10 h 14"/>
                  <a:gd name="T6" fmla="*/ 6 w 20"/>
                  <a:gd name="T7" fmla="*/ 10 h 14"/>
                  <a:gd name="T8" fmla="*/ 8 w 20"/>
                  <a:gd name="T9" fmla="*/ 8 h 14"/>
                  <a:gd name="T10" fmla="*/ 8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4 h 14"/>
                  <a:gd name="T26" fmla="*/ 8 w 20"/>
                  <a:gd name="T27" fmla="*/ 14 h 14"/>
                  <a:gd name="T28" fmla="*/ 6 w 20"/>
                  <a:gd name="T29" fmla="*/ 12 h 14"/>
                  <a:gd name="T30" fmla="*/ 14 w 20"/>
                  <a:gd name="T31" fmla="*/ 0 h 14"/>
                  <a:gd name="T32" fmla="*/ 14 w 20"/>
                  <a:gd name="T33" fmla="*/ 0 h 14"/>
                  <a:gd name="T34" fmla="*/ 6 w 20"/>
                  <a:gd name="T35" fmla="*/ 4 h 14"/>
                  <a:gd name="T36" fmla="*/ 0 w 20"/>
                  <a:gd name="T37" fmla="*/ 10 h 14"/>
                  <a:gd name="T38" fmla="*/ 0 w 20"/>
                  <a:gd name="T39" fmla="*/ 10 h 14"/>
                  <a:gd name="T40" fmla="*/ 4 w 20"/>
                  <a:gd name="T41" fmla="*/ 10 h 14"/>
                  <a:gd name="T42" fmla="*/ 4 w 20"/>
                  <a:gd name="T43" fmla="*/ 10 h 14"/>
                  <a:gd name="T44" fmla="*/ 8 w 20"/>
                  <a:gd name="T45" fmla="*/ 14 h 14"/>
                  <a:gd name="T46" fmla="*/ 8 w 20"/>
                  <a:gd name="T47" fmla="*/ 14 h 14"/>
                  <a:gd name="T48" fmla="*/ 20 w 20"/>
                  <a:gd name="T49" fmla="*/ 6 h 14"/>
                  <a:gd name="T50" fmla="*/ 20 w 20"/>
                  <a:gd name="T51" fmla="*/ 6 h 14"/>
                  <a:gd name="T52" fmla="*/ 16 w 20"/>
                  <a:gd name="T53" fmla="*/ 6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6" y="10"/>
                    </a:lnTo>
                    <a:lnTo>
                      <a:pt x="6" y="10"/>
                    </a:lnTo>
                    <a:lnTo>
                      <a:pt x="8" y="8"/>
                    </a:lnTo>
                    <a:lnTo>
                      <a:pt x="8" y="8"/>
                    </a:lnTo>
                    <a:lnTo>
                      <a:pt x="12" y="10"/>
                    </a:lnTo>
                    <a:lnTo>
                      <a:pt x="12" y="10"/>
                    </a:lnTo>
                    <a:lnTo>
                      <a:pt x="12" y="10"/>
                    </a:lnTo>
                    <a:lnTo>
                      <a:pt x="12" y="10"/>
                    </a:lnTo>
                    <a:lnTo>
                      <a:pt x="12" y="10"/>
                    </a:lnTo>
                    <a:lnTo>
                      <a:pt x="12" y="10"/>
                    </a:lnTo>
                    <a:lnTo>
                      <a:pt x="8" y="14"/>
                    </a:lnTo>
                    <a:lnTo>
                      <a:pt x="8" y="14"/>
                    </a:lnTo>
                    <a:lnTo>
                      <a:pt x="6" y="12"/>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9" name="Freeform 281"/>
              <p:cNvSpPr>
                <a:spLocks/>
              </p:cNvSpPr>
              <p:nvPr/>
            </p:nvSpPr>
            <p:spPr bwMode="auto">
              <a:xfrm>
                <a:off x="3024" y="1810"/>
                <a:ext cx="6" cy="6"/>
              </a:xfrm>
              <a:custGeom>
                <a:avLst/>
                <a:gdLst>
                  <a:gd name="T0" fmla="*/ 0 w 6"/>
                  <a:gd name="T1" fmla="*/ 4 h 6"/>
                  <a:gd name="T2" fmla="*/ 0 w 6"/>
                  <a:gd name="T3" fmla="*/ 4 h 6"/>
                  <a:gd name="T4" fmla="*/ 0 w 6"/>
                  <a:gd name="T5" fmla="*/ 2 h 6"/>
                  <a:gd name="T6" fmla="*/ 0 w 6"/>
                  <a:gd name="T7" fmla="*/ 2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2"/>
                    </a:lnTo>
                    <a:lnTo>
                      <a:pt x="0" y="2"/>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0" name="Freeform 282"/>
              <p:cNvSpPr>
                <a:spLocks/>
              </p:cNvSpPr>
              <p:nvPr/>
            </p:nvSpPr>
            <p:spPr bwMode="auto">
              <a:xfrm>
                <a:off x="3018" y="1802"/>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1" name="Freeform 283"/>
              <p:cNvSpPr>
                <a:spLocks/>
              </p:cNvSpPr>
              <p:nvPr/>
            </p:nvSpPr>
            <p:spPr bwMode="auto">
              <a:xfrm>
                <a:off x="2972" y="17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4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2" name="Freeform 284"/>
              <p:cNvSpPr>
                <a:spLocks/>
              </p:cNvSpPr>
              <p:nvPr/>
            </p:nvSpPr>
            <p:spPr bwMode="auto">
              <a:xfrm>
                <a:off x="2972" y="17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4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3" name="Freeform 285"/>
              <p:cNvSpPr>
                <a:spLocks/>
              </p:cNvSpPr>
              <p:nvPr/>
            </p:nvSpPr>
            <p:spPr bwMode="auto">
              <a:xfrm>
                <a:off x="3068"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4" name="Freeform 286"/>
              <p:cNvSpPr>
                <a:spLocks/>
              </p:cNvSpPr>
              <p:nvPr/>
            </p:nvSpPr>
            <p:spPr bwMode="auto">
              <a:xfrm>
                <a:off x="3068"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5" name="Freeform 287"/>
              <p:cNvSpPr>
                <a:spLocks/>
              </p:cNvSpPr>
              <p:nvPr/>
            </p:nvSpPr>
            <p:spPr bwMode="auto">
              <a:xfrm>
                <a:off x="3012"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6" name="Freeform 288"/>
              <p:cNvSpPr>
                <a:spLocks/>
              </p:cNvSpPr>
              <p:nvPr/>
            </p:nvSpPr>
            <p:spPr bwMode="auto">
              <a:xfrm>
                <a:off x="3012"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7" name="Freeform 289"/>
              <p:cNvSpPr>
                <a:spLocks/>
              </p:cNvSpPr>
              <p:nvPr/>
            </p:nvSpPr>
            <p:spPr bwMode="auto">
              <a:xfrm>
                <a:off x="3028"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8" name="Freeform 290"/>
              <p:cNvSpPr>
                <a:spLocks/>
              </p:cNvSpPr>
              <p:nvPr/>
            </p:nvSpPr>
            <p:spPr bwMode="auto">
              <a:xfrm>
                <a:off x="3028"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9" name="Freeform 291"/>
              <p:cNvSpPr>
                <a:spLocks/>
              </p:cNvSpPr>
              <p:nvPr/>
            </p:nvSpPr>
            <p:spPr bwMode="auto">
              <a:xfrm>
                <a:off x="3024" y="1810"/>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2 w 6"/>
                  <a:gd name="T13" fmla="*/ 4 h 4"/>
                  <a:gd name="T14" fmla="*/ 2 w 6"/>
                  <a:gd name="T15" fmla="*/ 4 h 4"/>
                  <a:gd name="T16" fmla="*/ 6 w 6"/>
                  <a:gd name="T17" fmla="*/ 2 h 4"/>
                  <a:gd name="T18" fmla="*/ 6 w 6"/>
                  <a:gd name="T19" fmla="*/ 2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0" name="Freeform 292"/>
              <p:cNvSpPr>
                <a:spLocks/>
              </p:cNvSpPr>
              <p:nvPr/>
            </p:nvSpPr>
            <p:spPr bwMode="auto">
              <a:xfrm>
                <a:off x="3024" y="1810"/>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2 w 6"/>
                  <a:gd name="T13" fmla="*/ 4 h 4"/>
                  <a:gd name="T14" fmla="*/ 2 w 6"/>
                  <a:gd name="T15" fmla="*/ 4 h 4"/>
                  <a:gd name="T16" fmla="*/ 6 w 6"/>
                  <a:gd name="T17" fmla="*/ 2 h 4"/>
                  <a:gd name="T18" fmla="*/ 6 w 6"/>
                  <a:gd name="T19" fmla="*/ 2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1" name="Freeform 293"/>
              <p:cNvSpPr>
                <a:spLocks/>
              </p:cNvSpPr>
              <p:nvPr/>
            </p:nvSpPr>
            <p:spPr bwMode="auto">
              <a:xfrm>
                <a:off x="3024" y="1812"/>
                <a:ext cx="6" cy="4"/>
              </a:xfrm>
              <a:custGeom>
                <a:avLst/>
                <a:gdLst>
                  <a:gd name="T0" fmla="*/ 6 w 6"/>
                  <a:gd name="T1" fmla="*/ 0 h 4"/>
                  <a:gd name="T2" fmla="*/ 6 w 6"/>
                  <a:gd name="T3" fmla="*/ 0 h 4"/>
                  <a:gd name="T4" fmla="*/ 2 w 6"/>
                  <a:gd name="T5" fmla="*/ 2 h 4"/>
                  <a:gd name="T6" fmla="*/ 2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2"/>
                    </a:lnTo>
                    <a:lnTo>
                      <a:pt x="2" y="2"/>
                    </a:lnTo>
                    <a:lnTo>
                      <a:pt x="0" y="2"/>
                    </a:lnTo>
                    <a:lnTo>
                      <a:pt x="0" y="2"/>
                    </a:lnTo>
                    <a:lnTo>
                      <a:pt x="2" y="4"/>
                    </a:lnTo>
                    <a:lnTo>
                      <a:pt x="2" y="4"/>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2" name="Freeform 294"/>
              <p:cNvSpPr>
                <a:spLocks/>
              </p:cNvSpPr>
              <p:nvPr/>
            </p:nvSpPr>
            <p:spPr bwMode="auto">
              <a:xfrm>
                <a:off x="3024" y="1812"/>
                <a:ext cx="6" cy="4"/>
              </a:xfrm>
              <a:custGeom>
                <a:avLst/>
                <a:gdLst>
                  <a:gd name="T0" fmla="*/ 6 w 6"/>
                  <a:gd name="T1" fmla="*/ 0 h 4"/>
                  <a:gd name="T2" fmla="*/ 6 w 6"/>
                  <a:gd name="T3" fmla="*/ 0 h 4"/>
                  <a:gd name="T4" fmla="*/ 2 w 6"/>
                  <a:gd name="T5" fmla="*/ 2 h 4"/>
                  <a:gd name="T6" fmla="*/ 2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2"/>
                    </a:lnTo>
                    <a:lnTo>
                      <a:pt x="2" y="2"/>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3" name="Freeform 295"/>
              <p:cNvSpPr>
                <a:spLocks/>
              </p:cNvSpPr>
              <p:nvPr/>
            </p:nvSpPr>
            <p:spPr bwMode="auto">
              <a:xfrm>
                <a:off x="209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4" name="Freeform 296"/>
              <p:cNvSpPr>
                <a:spLocks/>
              </p:cNvSpPr>
              <p:nvPr/>
            </p:nvSpPr>
            <p:spPr bwMode="auto">
              <a:xfrm>
                <a:off x="218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5" name="Freeform 297"/>
              <p:cNvSpPr>
                <a:spLocks/>
              </p:cNvSpPr>
              <p:nvPr/>
            </p:nvSpPr>
            <p:spPr bwMode="auto">
              <a:xfrm>
                <a:off x="227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6" name="Freeform 298"/>
              <p:cNvSpPr>
                <a:spLocks/>
              </p:cNvSpPr>
              <p:nvPr/>
            </p:nvSpPr>
            <p:spPr bwMode="auto">
              <a:xfrm>
                <a:off x="2594"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7" name="Freeform 299"/>
              <p:cNvSpPr>
                <a:spLocks/>
              </p:cNvSpPr>
              <p:nvPr/>
            </p:nvSpPr>
            <p:spPr bwMode="auto">
              <a:xfrm>
                <a:off x="2594"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8" name="Freeform 300"/>
              <p:cNvSpPr>
                <a:spLocks/>
              </p:cNvSpPr>
              <p:nvPr/>
            </p:nvSpPr>
            <p:spPr bwMode="auto">
              <a:xfrm>
                <a:off x="2654"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9" name="Freeform 301"/>
              <p:cNvSpPr>
                <a:spLocks/>
              </p:cNvSpPr>
              <p:nvPr/>
            </p:nvSpPr>
            <p:spPr bwMode="auto">
              <a:xfrm>
                <a:off x="2654"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0" name="Freeform 302"/>
              <p:cNvSpPr>
                <a:spLocks/>
              </p:cNvSpPr>
              <p:nvPr/>
            </p:nvSpPr>
            <p:spPr bwMode="auto">
              <a:xfrm>
                <a:off x="274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1" name="Freeform 303"/>
              <p:cNvSpPr>
                <a:spLocks/>
              </p:cNvSpPr>
              <p:nvPr/>
            </p:nvSpPr>
            <p:spPr bwMode="auto">
              <a:xfrm>
                <a:off x="283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2" name="Freeform 304"/>
              <p:cNvSpPr>
                <a:spLocks/>
              </p:cNvSpPr>
              <p:nvPr/>
            </p:nvSpPr>
            <p:spPr bwMode="auto">
              <a:xfrm>
                <a:off x="292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3" name="Freeform 305"/>
              <p:cNvSpPr>
                <a:spLocks noEditPoints="1"/>
              </p:cNvSpPr>
              <p:nvPr/>
            </p:nvSpPr>
            <p:spPr bwMode="auto">
              <a:xfrm>
                <a:off x="2366" y="1576"/>
                <a:ext cx="188" cy="146"/>
              </a:xfrm>
              <a:custGeom>
                <a:avLst/>
                <a:gdLst>
                  <a:gd name="T0" fmla="*/ 120 w 188"/>
                  <a:gd name="T1" fmla="*/ 112 h 146"/>
                  <a:gd name="T2" fmla="*/ 112 w 188"/>
                  <a:gd name="T3" fmla="*/ 132 h 146"/>
                  <a:gd name="T4" fmla="*/ 6 w 188"/>
                  <a:gd name="T5" fmla="*/ 114 h 146"/>
                  <a:gd name="T6" fmla="*/ 14 w 188"/>
                  <a:gd name="T7" fmla="*/ 100 h 146"/>
                  <a:gd name="T8" fmla="*/ 20 w 188"/>
                  <a:gd name="T9" fmla="*/ 124 h 146"/>
                  <a:gd name="T10" fmla="*/ 8 w 188"/>
                  <a:gd name="T11" fmla="*/ 50 h 146"/>
                  <a:gd name="T12" fmla="*/ 6 w 188"/>
                  <a:gd name="T13" fmla="*/ 62 h 146"/>
                  <a:gd name="T14" fmla="*/ 12 w 188"/>
                  <a:gd name="T15" fmla="*/ 66 h 146"/>
                  <a:gd name="T16" fmla="*/ 12 w 188"/>
                  <a:gd name="T17" fmla="*/ 68 h 146"/>
                  <a:gd name="T18" fmla="*/ 2 w 188"/>
                  <a:gd name="T19" fmla="*/ 58 h 146"/>
                  <a:gd name="T20" fmla="*/ 8 w 188"/>
                  <a:gd name="T21" fmla="*/ 50 h 146"/>
                  <a:gd name="T22" fmla="*/ 114 w 188"/>
                  <a:gd name="T23" fmla="*/ 4 h 146"/>
                  <a:gd name="T24" fmla="*/ 144 w 188"/>
                  <a:gd name="T25" fmla="*/ 22 h 146"/>
                  <a:gd name="T26" fmla="*/ 154 w 188"/>
                  <a:gd name="T27" fmla="*/ 42 h 146"/>
                  <a:gd name="T28" fmla="*/ 144 w 188"/>
                  <a:gd name="T29" fmla="*/ 54 h 146"/>
                  <a:gd name="T30" fmla="*/ 150 w 188"/>
                  <a:gd name="T31" fmla="*/ 56 h 146"/>
                  <a:gd name="T32" fmla="*/ 158 w 188"/>
                  <a:gd name="T33" fmla="*/ 60 h 146"/>
                  <a:gd name="T34" fmla="*/ 168 w 188"/>
                  <a:gd name="T35" fmla="*/ 34 h 146"/>
                  <a:gd name="T36" fmla="*/ 182 w 188"/>
                  <a:gd name="T37" fmla="*/ 42 h 146"/>
                  <a:gd name="T38" fmla="*/ 158 w 188"/>
                  <a:gd name="T39" fmla="*/ 88 h 146"/>
                  <a:gd name="T40" fmla="*/ 128 w 188"/>
                  <a:gd name="T41" fmla="*/ 96 h 146"/>
                  <a:gd name="T42" fmla="*/ 140 w 188"/>
                  <a:gd name="T43" fmla="*/ 96 h 146"/>
                  <a:gd name="T44" fmla="*/ 136 w 188"/>
                  <a:gd name="T45" fmla="*/ 102 h 146"/>
                  <a:gd name="T46" fmla="*/ 106 w 188"/>
                  <a:gd name="T47" fmla="*/ 88 h 146"/>
                  <a:gd name="T48" fmla="*/ 98 w 188"/>
                  <a:gd name="T49" fmla="*/ 128 h 146"/>
                  <a:gd name="T50" fmla="*/ 80 w 188"/>
                  <a:gd name="T51" fmla="*/ 142 h 146"/>
                  <a:gd name="T52" fmla="*/ 78 w 188"/>
                  <a:gd name="T53" fmla="*/ 120 h 146"/>
                  <a:gd name="T54" fmla="*/ 66 w 188"/>
                  <a:gd name="T55" fmla="*/ 116 h 146"/>
                  <a:gd name="T56" fmla="*/ 52 w 188"/>
                  <a:gd name="T57" fmla="*/ 112 h 146"/>
                  <a:gd name="T58" fmla="*/ 46 w 188"/>
                  <a:gd name="T59" fmla="*/ 138 h 146"/>
                  <a:gd name="T60" fmla="*/ 24 w 188"/>
                  <a:gd name="T61" fmla="*/ 130 h 146"/>
                  <a:gd name="T62" fmla="*/ 20 w 188"/>
                  <a:gd name="T63" fmla="*/ 106 h 146"/>
                  <a:gd name="T64" fmla="*/ 30 w 188"/>
                  <a:gd name="T65" fmla="*/ 46 h 146"/>
                  <a:gd name="T66" fmla="*/ 46 w 188"/>
                  <a:gd name="T67" fmla="*/ 50 h 146"/>
                  <a:gd name="T68" fmla="*/ 48 w 188"/>
                  <a:gd name="T69" fmla="*/ 80 h 146"/>
                  <a:gd name="T70" fmla="*/ 62 w 188"/>
                  <a:gd name="T71" fmla="*/ 100 h 146"/>
                  <a:gd name="T72" fmla="*/ 94 w 188"/>
                  <a:gd name="T73" fmla="*/ 86 h 146"/>
                  <a:gd name="T74" fmla="*/ 92 w 188"/>
                  <a:gd name="T75" fmla="*/ 62 h 146"/>
                  <a:gd name="T76" fmla="*/ 72 w 188"/>
                  <a:gd name="T77" fmla="*/ 94 h 146"/>
                  <a:gd name="T78" fmla="*/ 52 w 188"/>
                  <a:gd name="T79" fmla="*/ 84 h 146"/>
                  <a:gd name="T80" fmla="*/ 44 w 188"/>
                  <a:gd name="T81" fmla="*/ 66 h 146"/>
                  <a:gd name="T82" fmla="*/ 72 w 188"/>
                  <a:gd name="T83" fmla="*/ 26 h 146"/>
                  <a:gd name="T84" fmla="*/ 112 w 188"/>
                  <a:gd name="T85" fmla="*/ 0 h 146"/>
                  <a:gd name="T86" fmla="*/ 76 w 188"/>
                  <a:gd name="T87" fmla="*/ 20 h 146"/>
                  <a:gd name="T88" fmla="*/ 42 w 188"/>
                  <a:gd name="T89" fmla="*/ 36 h 146"/>
                  <a:gd name="T90" fmla="*/ 8 w 188"/>
                  <a:gd name="T91" fmla="*/ 64 h 146"/>
                  <a:gd name="T92" fmla="*/ 12 w 188"/>
                  <a:gd name="T93" fmla="*/ 46 h 146"/>
                  <a:gd name="T94" fmla="*/ 8 w 188"/>
                  <a:gd name="T95" fmla="*/ 72 h 146"/>
                  <a:gd name="T96" fmla="*/ 6 w 188"/>
                  <a:gd name="T97" fmla="*/ 102 h 146"/>
                  <a:gd name="T98" fmla="*/ 16 w 188"/>
                  <a:gd name="T99" fmla="*/ 126 h 146"/>
                  <a:gd name="T100" fmla="*/ 24 w 188"/>
                  <a:gd name="T101" fmla="*/ 140 h 146"/>
                  <a:gd name="T102" fmla="*/ 50 w 188"/>
                  <a:gd name="T103" fmla="*/ 136 h 146"/>
                  <a:gd name="T104" fmla="*/ 64 w 188"/>
                  <a:gd name="T105" fmla="*/ 124 h 146"/>
                  <a:gd name="T106" fmla="*/ 84 w 188"/>
                  <a:gd name="T107" fmla="*/ 146 h 146"/>
                  <a:gd name="T108" fmla="*/ 116 w 188"/>
                  <a:gd name="T109" fmla="*/ 134 h 146"/>
                  <a:gd name="T110" fmla="*/ 120 w 188"/>
                  <a:gd name="T111" fmla="*/ 106 h 146"/>
                  <a:gd name="T112" fmla="*/ 128 w 188"/>
                  <a:gd name="T113" fmla="*/ 104 h 146"/>
                  <a:gd name="T114" fmla="*/ 150 w 188"/>
                  <a:gd name="T115" fmla="*/ 92 h 146"/>
                  <a:gd name="T116" fmla="*/ 180 w 188"/>
                  <a:gd name="T117" fmla="*/ 80 h 146"/>
                  <a:gd name="T118" fmla="*/ 182 w 188"/>
                  <a:gd name="T119" fmla="*/ 28 h 146"/>
                  <a:gd name="T120" fmla="*/ 164 w 188"/>
                  <a:gd name="T121" fmla="*/ 32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2" y="130"/>
                    </a:moveTo>
                    <a:lnTo>
                      <a:pt x="102" y="130"/>
                    </a:lnTo>
                    <a:lnTo>
                      <a:pt x="102" y="130"/>
                    </a:lnTo>
                    <a:lnTo>
                      <a:pt x="102" y="130"/>
                    </a:lnTo>
                    <a:lnTo>
                      <a:pt x="116" y="104"/>
                    </a:lnTo>
                    <a:lnTo>
                      <a:pt x="116" y="104"/>
                    </a:lnTo>
                    <a:lnTo>
                      <a:pt x="120" y="112"/>
                    </a:lnTo>
                    <a:lnTo>
                      <a:pt x="120"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4" y="100"/>
                    </a:lnTo>
                    <a:lnTo>
                      <a:pt x="14"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50"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2"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8"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6"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8" y="72"/>
                    </a:lnTo>
                    <a:lnTo>
                      <a:pt x="12" y="74"/>
                    </a:lnTo>
                    <a:lnTo>
                      <a:pt x="12" y="74"/>
                    </a:lnTo>
                    <a:lnTo>
                      <a:pt x="12" y="84"/>
                    </a:lnTo>
                    <a:lnTo>
                      <a:pt x="12" y="84"/>
                    </a:lnTo>
                    <a:lnTo>
                      <a:pt x="12" y="90"/>
                    </a:lnTo>
                    <a:lnTo>
                      <a:pt x="10" y="96"/>
                    </a:lnTo>
                    <a:lnTo>
                      <a:pt x="8" y="100"/>
                    </a:lnTo>
                    <a:lnTo>
                      <a:pt x="6" y="102"/>
                    </a:lnTo>
                    <a:lnTo>
                      <a:pt x="6"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4"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4"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4" name="Freeform 306"/>
              <p:cNvSpPr>
                <a:spLocks/>
              </p:cNvSpPr>
              <p:nvPr/>
            </p:nvSpPr>
            <p:spPr bwMode="auto">
              <a:xfrm>
                <a:off x="2468" y="1680"/>
                <a:ext cx="18" cy="28"/>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8 w 18"/>
                  <a:gd name="T13" fmla="*/ 8 h 28"/>
                  <a:gd name="T14" fmla="*/ 18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8" y="8"/>
                    </a:lnTo>
                    <a:lnTo>
                      <a:pt x="18"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5" name="Freeform 307"/>
              <p:cNvSpPr>
                <a:spLocks/>
              </p:cNvSpPr>
              <p:nvPr/>
            </p:nvSpPr>
            <p:spPr bwMode="auto">
              <a:xfrm>
                <a:off x="2370" y="1676"/>
                <a:ext cx="18" cy="24"/>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10 w 18"/>
                  <a:gd name="T19" fmla="*/ 0 h 24"/>
                  <a:gd name="T20" fmla="*/ 10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10" y="0"/>
                    </a:lnTo>
                    <a:lnTo>
                      <a:pt x="10"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6" name="Freeform 308"/>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7" name="Freeform 309"/>
              <p:cNvSpPr>
                <a:spLocks/>
              </p:cNvSpPr>
              <p:nvPr/>
            </p:nvSpPr>
            <p:spPr bwMode="auto">
              <a:xfrm>
                <a:off x="2380" y="1580"/>
                <a:ext cx="170" cy="138"/>
              </a:xfrm>
              <a:custGeom>
                <a:avLst/>
                <a:gdLst>
                  <a:gd name="T0" fmla="*/ 74 w 170"/>
                  <a:gd name="T1" fmla="*/ 10 h 138"/>
                  <a:gd name="T2" fmla="*/ 100 w 170"/>
                  <a:gd name="T3" fmla="*/ 0 h 138"/>
                  <a:gd name="T4" fmla="*/ 130 w 170"/>
                  <a:gd name="T5" fmla="*/ 16 h 138"/>
                  <a:gd name="T6" fmla="*/ 136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8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6"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8"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4"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2"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8" name="Freeform 310"/>
              <p:cNvSpPr>
                <a:spLocks/>
              </p:cNvSpPr>
              <p:nvPr/>
            </p:nvSpPr>
            <p:spPr bwMode="auto">
              <a:xfrm>
                <a:off x="2366" y="1576"/>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8 w 188"/>
                  <a:gd name="T13" fmla="*/ 56 h 146"/>
                  <a:gd name="T14" fmla="*/ 8 w 188"/>
                  <a:gd name="T15" fmla="*/ 64 h 146"/>
                  <a:gd name="T16" fmla="*/ 10 w 188"/>
                  <a:gd name="T17" fmla="*/ 56 h 146"/>
                  <a:gd name="T18" fmla="*/ 12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8 w 188"/>
                  <a:gd name="T31" fmla="*/ 100 h 146"/>
                  <a:gd name="T32" fmla="*/ 2 w 188"/>
                  <a:gd name="T33" fmla="*/ 108 h 146"/>
                  <a:gd name="T34" fmla="*/ 6 w 188"/>
                  <a:gd name="T35" fmla="*/ 118 h 146"/>
                  <a:gd name="T36" fmla="*/ 16 w 188"/>
                  <a:gd name="T37" fmla="*/ 126 h 146"/>
                  <a:gd name="T38" fmla="*/ 20 w 188"/>
                  <a:gd name="T39" fmla="*/ 132 h 146"/>
                  <a:gd name="T40" fmla="*/ 22 w 188"/>
                  <a:gd name="T41" fmla="*/ 138 h 146"/>
                  <a:gd name="T42" fmla="*/ 34 w 188"/>
                  <a:gd name="T43" fmla="*/ 142 h 146"/>
                  <a:gd name="T44" fmla="*/ 44 w 188"/>
                  <a:gd name="T45" fmla="*/ 144 h 146"/>
                  <a:gd name="T46" fmla="*/ 48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6 h 146"/>
                  <a:gd name="T70" fmla="*/ 116 w 188"/>
                  <a:gd name="T71" fmla="*/ 96 h 146"/>
                  <a:gd name="T72" fmla="*/ 124 w 188"/>
                  <a:gd name="T73" fmla="*/ 102 h 146"/>
                  <a:gd name="T74" fmla="*/ 132 w 188"/>
                  <a:gd name="T75" fmla="*/ 106 h 146"/>
                  <a:gd name="T76" fmla="*/ 142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4 w 188"/>
                  <a:gd name="T89" fmla="*/ 38 h 146"/>
                  <a:gd name="T90" fmla="*/ 180 w 188"/>
                  <a:gd name="T91" fmla="*/ 26 h 146"/>
                  <a:gd name="T92" fmla="*/ 172 w 188"/>
                  <a:gd name="T93" fmla="*/ 26 h 146"/>
                  <a:gd name="T94" fmla="*/ 164 w 188"/>
                  <a:gd name="T95" fmla="*/ 32 h 146"/>
                  <a:gd name="T96" fmla="*/ 162 w 188"/>
                  <a:gd name="T97" fmla="*/ 34 h 146"/>
                  <a:gd name="T98" fmla="*/ 156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8" y="72"/>
                    </a:lnTo>
                    <a:lnTo>
                      <a:pt x="12" y="74"/>
                    </a:lnTo>
                    <a:lnTo>
                      <a:pt x="12" y="74"/>
                    </a:lnTo>
                    <a:lnTo>
                      <a:pt x="12" y="84"/>
                    </a:lnTo>
                    <a:lnTo>
                      <a:pt x="12" y="84"/>
                    </a:lnTo>
                    <a:lnTo>
                      <a:pt x="12" y="90"/>
                    </a:lnTo>
                    <a:lnTo>
                      <a:pt x="10" y="96"/>
                    </a:lnTo>
                    <a:lnTo>
                      <a:pt x="8" y="100"/>
                    </a:lnTo>
                    <a:lnTo>
                      <a:pt x="6" y="102"/>
                    </a:lnTo>
                    <a:lnTo>
                      <a:pt x="6"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4"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4"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9" name="Freeform 311"/>
              <p:cNvSpPr>
                <a:spLocks/>
              </p:cNvSpPr>
              <p:nvPr/>
            </p:nvSpPr>
            <p:spPr bwMode="auto">
              <a:xfrm>
                <a:off x="2372" y="1676"/>
                <a:ext cx="16" cy="24"/>
              </a:xfrm>
              <a:custGeom>
                <a:avLst/>
                <a:gdLst>
                  <a:gd name="T0" fmla="*/ 8 w 16"/>
                  <a:gd name="T1" fmla="*/ 0 h 24"/>
                  <a:gd name="T2" fmla="*/ 8 w 16"/>
                  <a:gd name="T3" fmla="*/ 0 h 24"/>
                  <a:gd name="T4" fmla="*/ 0 w 16"/>
                  <a:gd name="T5" fmla="*/ 6 h 24"/>
                  <a:gd name="T6" fmla="*/ 0 w 16"/>
                  <a:gd name="T7" fmla="*/ 6 h 24"/>
                  <a:gd name="T8" fmla="*/ 0 w 16"/>
                  <a:gd name="T9" fmla="*/ 10 h 24"/>
                  <a:gd name="T10" fmla="*/ 0 w 16"/>
                  <a:gd name="T11" fmla="*/ 10 h 24"/>
                  <a:gd name="T12" fmla="*/ 0 w 16"/>
                  <a:gd name="T13" fmla="*/ 14 h 24"/>
                  <a:gd name="T14" fmla="*/ 4 w 16"/>
                  <a:gd name="T15" fmla="*/ 18 h 24"/>
                  <a:gd name="T16" fmla="*/ 8 w 16"/>
                  <a:gd name="T17" fmla="*/ 22 h 24"/>
                  <a:gd name="T18" fmla="*/ 12 w 16"/>
                  <a:gd name="T19" fmla="*/ 24 h 24"/>
                  <a:gd name="T20" fmla="*/ 12 w 16"/>
                  <a:gd name="T21" fmla="*/ 24 h 24"/>
                  <a:gd name="T22" fmla="*/ 14 w 16"/>
                  <a:gd name="T23" fmla="*/ 22 h 24"/>
                  <a:gd name="T24" fmla="*/ 14 w 16"/>
                  <a:gd name="T25" fmla="*/ 22 h 24"/>
                  <a:gd name="T26" fmla="*/ 14 w 16"/>
                  <a:gd name="T27" fmla="*/ 22 h 24"/>
                  <a:gd name="T28" fmla="*/ 14 w 16"/>
                  <a:gd name="T29" fmla="*/ 22 h 24"/>
                  <a:gd name="T30" fmla="*/ 16 w 16"/>
                  <a:gd name="T31" fmla="*/ 22 h 24"/>
                  <a:gd name="T32" fmla="*/ 16 w 16"/>
                  <a:gd name="T33" fmla="*/ 18 h 24"/>
                  <a:gd name="T34" fmla="*/ 16 w 16"/>
                  <a:gd name="T35" fmla="*/ 18 h 24"/>
                  <a:gd name="T36" fmla="*/ 8 w 16"/>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8" y="0"/>
                    </a:moveTo>
                    <a:lnTo>
                      <a:pt x="8" y="0"/>
                    </a:lnTo>
                    <a:lnTo>
                      <a:pt x="0" y="6"/>
                    </a:lnTo>
                    <a:lnTo>
                      <a:pt x="0" y="6"/>
                    </a:lnTo>
                    <a:lnTo>
                      <a:pt x="0" y="10"/>
                    </a:lnTo>
                    <a:lnTo>
                      <a:pt x="0" y="10"/>
                    </a:lnTo>
                    <a:lnTo>
                      <a:pt x="0" y="14"/>
                    </a:lnTo>
                    <a:lnTo>
                      <a:pt x="4" y="18"/>
                    </a:lnTo>
                    <a:lnTo>
                      <a:pt x="8" y="22"/>
                    </a:lnTo>
                    <a:lnTo>
                      <a:pt x="12" y="24"/>
                    </a:lnTo>
                    <a:lnTo>
                      <a:pt x="12" y="24"/>
                    </a:lnTo>
                    <a:lnTo>
                      <a:pt x="14" y="22"/>
                    </a:lnTo>
                    <a:lnTo>
                      <a:pt x="14" y="22"/>
                    </a:lnTo>
                    <a:lnTo>
                      <a:pt x="14" y="22"/>
                    </a:lnTo>
                    <a:lnTo>
                      <a:pt x="14" y="22"/>
                    </a:lnTo>
                    <a:lnTo>
                      <a:pt x="16"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0" name="Freeform 312"/>
              <p:cNvSpPr>
                <a:spLocks/>
              </p:cNvSpPr>
              <p:nvPr/>
            </p:nvSpPr>
            <p:spPr bwMode="auto">
              <a:xfrm>
                <a:off x="2372" y="1676"/>
                <a:ext cx="16" cy="24"/>
              </a:xfrm>
              <a:custGeom>
                <a:avLst/>
                <a:gdLst>
                  <a:gd name="T0" fmla="*/ 8 w 16"/>
                  <a:gd name="T1" fmla="*/ 0 h 24"/>
                  <a:gd name="T2" fmla="*/ 8 w 16"/>
                  <a:gd name="T3" fmla="*/ 0 h 24"/>
                  <a:gd name="T4" fmla="*/ 0 w 16"/>
                  <a:gd name="T5" fmla="*/ 6 h 24"/>
                  <a:gd name="T6" fmla="*/ 0 w 16"/>
                  <a:gd name="T7" fmla="*/ 6 h 24"/>
                  <a:gd name="T8" fmla="*/ 0 w 16"/>
                  <a:gd name="T9" fmla="*/ 10 h 24"/>
                  <a:gd name="T10" fmla="*/ 0 w 16"/>
                  <a:gd name="T11" fmla="*/ 10 h 24"/>
                  <a:gd name="T12" fmla="*/ 0 w 16"/>
                  <a:gd name="T13" fmla="*/ 14 h 24"/>
                  <a:gd name="T14" fmla="*/ 4 w 16"/>
                  <a:gd name="T15" fmla="*/ 18 h 24"/>
                  <a:gd name="T16" fmla="*/ 8 w 16"/>
                  <a:gd name="T17" fmla="*/ 22 h 24"/>
                  <a:gd name="T18" fmla="*/ 12 w 16"/>
                  <a:gd name="T19" fmla="*/ 24 h 24"/>
                  <a:gd name="T20" fmla="*/ 12 w 16"/>
                  <a:gd name="T21" fmla="*/ 24 h 24"/>
                  <a:gd name="T22" fmla="*/ 14 w 16"/>
                  <a:gd name="T23" fmla="*/ 22 h 24"/>
                  <a:gd name="T24" fmla="*/ 14 w 16"/>
                  <a:gd name="T25" fmla="*/ 22 h 24"/>
                  <a:gd name="T26" fmla="*/ 14 w 16"/>
                  <a:gd name="T27" fmla="*/ 22 h 24"/>
                  <a:gd name="T28" fmla="*/ 14 w 16"/>
                  <a:gd name="T29" fmla="*/ 22 h 24"/>
                  <a:gd name="T30" fmla="*/ 16 w 16"/>
                  <a:gd name="T31" fmla="*/ 22 h 24"/>
                  <a:gd name="T32" fmla="*/ 16 w 16"/>
                  <a:gd name="T33" fmla="*/ 18 h 24"/>
                  <a:gd name="T34" fmla="*/ 16 w 16"/>
                  <a:gd name="T35" fmla="*/ 18 h 24"/>
                  <a:gd name="T36" fmla="*/ 8 w 16"/>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8" y="0"/>
                    </a:moveTo>
                    <a:lnTo>
                      <a:pt x="8" y="0"/>
                    </a:lnTo>
                    <a:lnTo>
                      <a:pt x="0" y="6"/>
                    </a:lnTo>
                    <a:lnTo>
                      <a:pt x="0" y="6"/>
                    </a:lnTo>
                    <a:lnTo>
                      <a:pt x="0" y="10"/>
                    </a:lnTo>
                    <a:lnTo>
                      <a:pt x="0" y="10"/>
                    </a:lnTo>
                    <a:lnTo>
                      <a:pt x="0" y="14"/>
                    </a:lnTo>
                    <a:lnTo>
                      <a:pt x="4" y="18"/>
                    </a:lnTo>
                    <a:lnTo>
                      <a:pt x="8" y="22"/>
                    </a:lnTo>
                    <a:lnTo>
                      <a:pt x="12" y="24"/>
                    </a:lnTo>
                    <a:lnTo>
                      <a:pt x="12" y="24"/>
                    </a:lnTo>
                    <a:lnTo>
                      <a:pt x="14" y="22"/>
                    </a:lnTo>
                    <a:lnTo>
                      <a:pt x="14" y="22"/>
                    </a:lnTo>
                    <a:lnTo>
                      <a:pt x="14" y="22"/>
                    </a:lnTo>
                    <a:lnTo>
                      <a:pt x="14" y="22"/>
                    </a:lnTo>
                    <a:lnTo>
                      <a:pt x="16"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1" name="Freeform 313"/>
              <p:cNvSpPr>
                <a:spLocks/>
              </p:cNvSpPr>
              <p:nvPr/>
            </p:nvSpPr>
            <p:spPr bwMode="auto">
              <a:xfrm>
                <a:off x="2370" y="1676"/>
                <a:ext cx="16" cy="24"/>
              </a:xfrm>
              <a:custGeom>
                <a:avLst/>
                <a:gdLst>
                  <a:gd name="T0" fmla="*/ 10 w 16"/>
                  <a:gd name="T1" fmla="*/ 0 h 24"/>
                  <a:gd name="T2" fmla="*/ 10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2 w 16"/>
                  <a:gd name="T45" fmla="*/ 10 h 24"/>
                  <a:gd name="T46" fmla="*/ 2 w 16"/>
                  <a:gd name="T47" fmla="*/ 10 h 24"/>
                  <a:gd name="T48" fmla="*/ 2 w 16"/>
                  <a:gd name="T49" fmla="*/ 6 h 24"/>
                  <a:gd name="T50" fmla="*/ 2 w 16"/>
                  <a:gd name="T51" fmla="*/ 6 h 24"/>
                  <a:gd name="T52" fmla="*/ 10 w 16"/>
                  <a:gd name="T53" fmla="*/ 0 h 24"/>
                  <a:gd name="T54" fmla="*/ 10 w 16"/>
                  <a:gd name="T55" fmla="*/ 0 h 24"/>
                  <a:gd name="T56" fmla="*/ 10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10" y="0"/>
                    </a:moveTo>
                    <a:lnTo>
                      <a:pt x="10"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2" y="10"/>
                    </a:lnTo>
                    <a:lnTo>
                      <a:pt x="2" y="10"/>
                    </a:lnTo>
                    <a:lnTo>
                      <a:pt x="2" y="6"/>
                    </a:lnTo>
                    <a:lnTo>
                      <a:pt x="2" y="6"/>
                    </a:lnTo>
                    <a:lnTo>
                      <a:pt x="10" y="0"/>
                    </a:lnTo>
                    <a:lnTo>
                      <a:pt x="10" y="0"/>
                    </a:lnTo>
                    <a:lnTo>
                      <a:pt x="1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2" name="Freeform 314"/>
              <p:cNvSpPr>
                <a:spLocks/>
              </p:cNvSpPr>
              <p:nvPr/>
            </p:nvSpPr>
            <p:spPr bwMode="auto">
              <a:xfrm>
                <a:off x="2370" y="1676"/>
                <a:ext cx="16" cy="24"/>
              </a:xfrm>
              <a:custGeom>
                <a:avLst/>
                <a:gdLst>
                  <a:gd name="T0" fmla="*/ 10 w 16"/>
                  <a:gd name="T1" fmla="*/ 0 h 24"/>
                  <a:gd name="T2" fmla="*/ 10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2 w 16"/>
                  <a:gd name="T45" fmla="*/ 10 h 24"/>
                  <a:gd name="T46" fmla="*/ 2 w 16"/>
                  <a:gd name="T47" fmla="*/ 10 h 24"/>
                  <a:gd name="T48" fmla="*/ 2 w 16"/>
                  <a:gd name="T49" fmla="*/ 6 h 24"/>
                  <a:gd name="T50" fmla="*/ 2 w 16"/>
                  <a:gd name="T51" fmla="*/ 6 h 24"/>
                  <a:gd name="T52" fmla="*/ 10 w 16"/>
                  <a:gd name="T53" fmla="*/ 0 h 24"/>
                  <a:gd name="T54" fmla="*/ 10 w 16"/>
                  <a:gd name="T55" fmla="*/ 0 h 24"/>
                  <a:gd name="T56" fmla="*/ 10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10" y="0"/>
                    </a:moveTo>
                    <a:lnTo>
                      <a:pt x="10"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2" y="10"/>
                    </a:lnTo>
                    <a:lnTo>
                      <a:pt x="2" y="10"/>
                    </a:lnTo>
                    <a:lnTo>
                      <a:pt x="2" y="6"/>
                    </a:lnTo>
                    <a:lnTo>
                      <a:pt x="2" y="6"/>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3" name="Freeform 315"/>
              <p:cNvSpPr>
                <a:spLocks/>
              </p:cNvSpPr>
              <p:nvPr/>
            </p:nvSpPr>
            <p:spPr bwMode="auto">
              <a:xfrm>
                <a:off x="2468"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4" name="Freeform 316"/>
              <p:cNvSpPr>
                <a:spLocks/>
              </p:cNvSpPr>
              <p:nvPr/>
            </p:nvSpPr>
            <p:spPr bwMode="auto">
              <a:xfrm>
                <a:off x="2468"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5" name="Freeform 317"/>
              <p:cNvSpPr>
                <a:spLocks/>
              </p:cNvSpPr>
              <p:nvPr/>
            </p:nvSpPr>
            <p:spPr bwMode="auto">
              <a:xfrm>
                <a:off x="2468"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8 w 18"/>
                  <a:gd name="T41" fmla="*/ 8 h 26"/>
                  <a:gd name="T42" fmla="*/ 18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8" y="8"/>
                    </a:lnTo>
                    <a:lnTo>
                      <a:pt x="18"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6" name="Freeform 318"/>
              <p:cNvSpPr>
                <a:spLocks/>
              </p:cNvSpPr>
              <p:nvPr/>
            </p:nvSpPr>
            <p:spPr bwMode="auto">
              <a:xfrm>
                <a:off x="2468"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8 w 18"/>
                  <a:gd name="T41" fmla="*/ 8 h 26"/>
                  <a:gd name="T42" fmla="*/ 18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8" y="8"/>
                    </a:lnTo>
                    <a:lnTo>
                      <a:pt x="18"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7" name="Freeform 319"/>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2"/>
                    </a:lnTo>
                    <a:lnTo>
                      <a:pt x="4" y="12"/>
                    </a:lnTo>
                    <a:lnTo>
                      <a:pt x="6" y="0"/>
                    </a:lnTo>
                    <a:lnTo>
                      <a:pt x="6" y="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8" name="Freeform 320"/>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2"/>
                    </a:lnTo>
                    <a:lnTo>
                      <a:pt x="4"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9" name="Freeform 321"/>
              <p:cNvSpPr>
                <a:spLocks noEditPoints="1"/>
              </p:cNvSpPr>
              <p:nvPr/>
            </p:nvSpPr>
            <p:spPr bwMode="auto">
              <a:xfrm>
                <a:off x="2372" y="1626"/>
                <a:ext cx="8" cy="20"/>
              </a:xfrm>
              <a:custGeom>
                <a:avLst/>
                <a:gdLst>
                  <a:gd name="T0" fmla="*/ 6 w 8"/>
                  <a:gd name="T1" fmla="*/ 18 h 20"/>
                  <a:gd name="T2" fmla="*/ 6 w 8"/>
                  <a:gd name="T3" fmla="*/ 18 h 20"/>
                  <a:gd name="T4" fmla="*/ 2 w 8"/>
                  <a:gd name="T5" fmla="*/ 20 h 20"/>
                  <a:gd name="T6" fmla="*/ 2 w 8"/>
                  <a:gd name="T7" fmla="*/ 20 h 20"/>
                  <a:gd name="T8" fmla="*/ 0 w 8"/>
                  <a:gd name="T9" fmla="*/ 20 h 20"/>
                  <a:gd name="T10" fmla="*/ 0 w 8"/>
                  <a:gd name="T11" fmla="*/ 20 h 20"/>
                  <a:gd name="T12" fmla="*/ 0 w 8"/>
                  <a:gd name="T13" fmla="*/ 20 h 20"/>
                  <a:gd name="T14" fmla="*/ 0 w 8"/>
                  <a:gd name="T15" fmla="*/ 20 h 20"/>
                  <a:gd name="T16" fmla="*/ 0 w 8"/>
                  <a:gd name="T17" fmla="*/ 20 h 20"/>
                  <a:gd name="T18" fmla="*/ 0 w 8"/>
                  <a:gd name="T19" fmla="*/ 20 h 20"/>
                  <a:gd name="T20" fmla="*/ 2 w 8"/>
                  <a:gd name="T21" fmla="*/ 20 h 20"/>
                  <a:gd name="T22" fmla="*/ 2 w 8"/>
                  <a:gd name="T23" fmla="*/ 20 h 20"/>
                  <a:gd name="T24" fmla="*/ 6 w 8"/>
                  <a:gd name="T25" fmla="*/ 18 h 20"/>
                  <a:gd name="T26" fmla="*/ 8 w 8"/>
                  <a:gd name="T27" fmla="*/ 14 h 20"/>
                  <a:gd name="T28" fmla="*/ 8 w 8"/>
                  <a:gd name="T29" fmla="*/ 14 h 20"/>
                  <a:gd name="T30" fmla="*/ 6 w 8"/>
                  <a:gd name="T31" fmla="*/ 16 h 20"/>
                  <a:gd name="T32" fmla="*/ 6 w 8"/>
                  <a:gd name="T33" fmla="*/ 16 h 20"/>
                  <a:gd name="T34" fmla="*/ 8 w 8"/>
                  <a:gd name="T35" fmla="*/ 14 h 20"/>
                  <a:gd name="T36" fmla="*/ 8 w 8"/>
                  <a:gd name="T37" fmla="*/ 14 h 20"/>
                  <a:gd name="T38" fmla="*/ 8 w 8"/>
                  <a:gd name="T39" fmla="*/ 14 h 20"/>
                  <a:gd name="T40" fmla="*/ 2 w 8"/>
                  <a:gd name="T41" fmla="*/ 0 h 20"/>
                  <a:gd name="T42" fmla="*/ 2 w 8"/>
                  <a:gd name="T43" fmla="*/ 0 h 20"/>
                  <a:gd name="T44" fmla="*/ 0 w 8"/>
                  <a:gd name="T45" fmla="*/ 12 h 20"/>
                  <a:gd name="T46" fmla="*/ 0 w 8"/>
                  <a:gd name="T47" fmla="*/ 12 h 20"/>
                  <a:gd name="T48" fmla="*/ 0 w 8"/>
                  <a:gd name="T49" fmla="*/ 16 h 20"/>
                  <a:gd name="T50" fmla="*/ 0 w 8"/>
                  <a:gd name="T51" fmla="*/ 16 h 20"/>
                  <a:gd name="T52" fmla="*/ 0 w 8"/>
                  <a:gd name="T53" fmla="*/ 16 h 20"/>
                  <a:gd name="T54" fmla="*/ 0 w 8"/>
                  <a:gd name="T55" fmla="*/ 16 h 20"/>
                  <a:gd name="T56" fmla="*/ 0 w 8"/>
                  <a:gd name="T57" fmla="*/ 16 h 20"/>
                  <a:gd name="T58" fmla="*/ 0 w 8"/>
                  <a:gd name="T59" fmla="*/ 16 h 20"/>
                  <a:gd name="T60" fmla="*/ 0 w 8"/>
                  <a:gd name="T61" fmla="*/ 12 h 20"/>
                  <a:gd name="T62" fmla="*/ 0 w 8"/>
                  <a:gd name="T63" fmla="*/ 12 h 20"/>
                  <a:gd name="T64" fmla="*/ 2 w 8"/>
                  <a:gd name="T65" fmla="*/ 0 h 20"/>
                  <a:gd name="T66" fmla="*/ 2 w 8"/>
                  <a:gd name="T67" fmla="*/ 0 h 20"/>
                  <a:gd name="T68" fmla="*/ 2 w 8"/>
                  <a:gd name="T69" fmla="*/ 0 h 20"/>
                  <a:gd name="T70" fmla="*/ 2 w 8"/>
                  <a:gd name="T71" fmla="*/ 0 h 20"/>
                  <a:gd name="T72" fmla="*/ 2 w 8"/>
                  <a:gd name="T73" fmla="*/ 0 h 20"/>
                  <a:gd name="T74" fmla="*/ 2 w 8"/>
                  <a:gd name="T75" fmla="*/ 0 h 20"/>
                  <a:gd name="T76" fmla="*/ 2 w 8"/>
                  <a:gd name="T77" fmla="*/ 0 h 20"/>
                  <a:gd name="T78" fmla="*/ 2 w 8"/>
                  <a:gd name="T79" fmla="*/ 0 h 20"/>
                  <a:gd name="T80" fmla="*/ 2 w 8"/>
                  <a:gd name="T81" fmla="*/ 0 h 20"/>
                  <a:gd name="T82" fmla="*/ 2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2" y="20"/>
                    </a:lnTo>
                    <a:lnTo>
                      <a:pt x="2" y="20"/>
                    </a:lnTo>
                    <a:lnTo>
                      <a:pt x="0" y="20"/>
                    </a:lnTo>
                    <a:lnTo>
                      <a:pt x="0" y="20"/>
                    </a:lnTo>
                    <a:lnTo>
                      <a:pt x="0" y="20"/>
                    </a:lnTo>
                    <a:lnTo>
                      <a:pt x="0" y="20"/>
                    </a:lnTo>
                    <a:lnTo>
                      <a:pt x="0" y="20"/>
                    </a:lnTo>
                    <a:lnTo>
                      <a:pt x="0" y="20"/>
                    </a:lnTo>
                    <a:lnTo>
                      <a:pt x="2" y="20"/>
                    </a:lnTo>
                    <a:lnTo>
                      <a:pt x="2" y="20"/>
                    </a:lnTo>
                    <a:lnTo>
                      <a:pt x="6" y="18"/>
                    </a:lnTo>
                    <a:close/>
                    <a:moveTo>
                      <a:pt x="8" y="14"/>
                    </a:moveTo>
                    <a:lnTo>
                      <a:pt x="8" y="14"/>
                    </a:lnTo>
                    <a:lnTo>
                      <a:pt x="6" y="16"/>
                    </a:lnTo>
                    <a:lnTo>
                      <a:pt x="6" y="16"/>
                    </a:lnTo>
                    <a:lnTo>
                      <a:pt x="8" y="14"/>
                    </a:lnTo>
                    <a:lnTo>
                      <a:pt x="8" y="14"/>
                    </a:lnTo>
                    <a:lnTo>
                      <a:pt x="8" y="14"/>
                    </a:lnTo>
                    <a:close/>
                    <a:moveTo>
                      <a:pt x="2" y="0"/>
                    </a:moveTo>
                    <a:lnTo>
                      <a:pt x="2" y="0"/>
                    </a:lnTo>
                    <a:lnTo>
                      <a:pt x="0" y="12"/>
                    </a:lnTo>
                    <a:lnTo>
                      <a:pt x="0" y="12"/>
                    </a:lnTo>
                    <a:lnTo>
                      <a:pt x="0" y="16"/>
                    </a:lnTo>
                    <a:lnTo>
                      <a:pt x="0" y="16"/>
                    </a:lnTo>
                    <a:lnTo>
                      <a:pt x="0" y="16"/>
                    </a:lnTo>
                    <a:lnTo>
                      <a:pt x="0" y="16"/>
                    </a:lnTo>
                    <a:lnTo>
                      <a:pt x="0" y="16"/>
                    </a:lnTo>
                    <a:lnTo>
                      <a:pt x="0" y="16"/>
                    </a:lnTo>
                    <a:lnTo>
                      <a:pt x="0" y="12"/>
                    </a:lnTo>
                    <a:lnTo>
                      <a:pt x="0" y="12"/>
                    </a:lnTo>
                    <a:lnTo>
                      <a:pt x="2" y="0"/>
                    </a:lnTo>
                    <a:close/>
                    <a:moveTo>
                      <a:pt x="2" y="0"/>
                    </a:moveTo>
                    <a:lnTo>
                      <a:pt x="2" y="0"/>
                    </a:lnTo>
                    <a:lnTo>
                      <a:pt x="2" y="0"/>
                    </a:lnTo>
                    <a:lnTo>
                      <a:pt x="2" y="0"/>
                    </a:lnTo>
                    <a:lnTo>
                      <a:pt x="2" y="0"/>
                    </a:lnTo>
                    <a:lnTo>
                      <a:pt x="2" y="0"/>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0" name="Freeform 322"/>
              <p:cNvSpPr>
                <a:spLocks/>
              </p:cNvSpPr>
              <p:nvPr/>
            </p:nvSpPr>
            <p:spPr bwMode="auto">
              <a:xfrm>
                <a:off x="2372" y="1644"/>
                <a:ext cx="6" cy="2"/>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1" name="Freeform 323"/>
              <p:cNvSpPr>
                <a:spLocks/>
              </p:cNvSpPr>
              <p:nvPr/>
            </p:nvSpPr>
            <p:spPr bwMode="auto">
              <a:xfrm>
                <a:off x="2378"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2" name="Freeform 324"/>
              <p:cNvSpPr>
                <a:spLocks/>
              </p:cNvSpPr>
              <p:nvPr/>
            </p:nvSpPr>
            <p:spPr bwMode="auto">
              <a:xfrm>
                <a:off x="2372" y="1626"/>
                <a:ext cx="2" cy="16"/>
              </a:xfrm>
              <a:custGeom>
                <a:avLst/>
                <a:gdLst>
                  <a:gd name="T0" fmla="*/ 2 w 2"/>
                  <a:gd name="T1" fmla="*/ 0 h 16"/>
                  <a:gd name="T2" fmla="*/ 2 w 2"/>
                  <a:gd name="T3" fmla="*/ 0 h 16"/>
                  <a:gd name="T4" fmla="*/ 0 w 2"/>
                  <a:gd name="T5" fmla="*/ 12 h 16"/>
                  <a:gd name="T6" fmla="*/ 0 w 2"/>
                  <a:gd name="T7" fmla="*/ 12 h 16"/>
                  <a:gd name="T8" fmla="*/ 0 w 2"/>
                  <a:gd name="T9" fmla="*/ 16 h 16"/>
                  <a:gd name="T10" fmla="*/ 0 w 2"/>
                  <a:gd name="T11" fmla="*/ 16 h 16"/>
                  <a:gd name="T12" fmla="*/ 0 w 2"/>
                  <a:gd name="T13" fmla="*/ 16 h 16"/>
                  <a:gd name="T14" fmla="*/ 0 w 2"/>
                  <a:gd name="T15" fmla="*/ 16 h 16"/>
                  <a:gd name="T16" fmla="*/ 0 w 2"/>
                  <a:gd name="T17" fmla="*/ 16 h 16"/>
                  <a:gd name="T18" fmla="*/ 0 w 2"/>
                  <a:gd name="T19" fmla="*/ 16 h 16"/>
                  <a:gd name="T20" fmla="*/ 0 w 2"/>
                  <a:gd name="T21" fmla="*/ 12 h 16"/>
                  <a:gd name="T22" fmla="*/ 0 w 2"/>
                  <a:gd name="T23" fmla="*/ 12 h 16"/>
                  <a:gd name="T24" fmla="*/ 2 w 2"/>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6">
                    <a:moveTo>
                      <a:pt x="2" y="0"/>
                    </a:moveTo>
                    <a:lnTo>
                      <a:pt x="2" y="0"/>
                    </a:lnTo>
                    <a:lnTo>
                      <a:pt x="0" y="12"/>
                    </a:lnTo>
                    <a:lnTo>
                      <a:pt x="0" y="12"/>
                    </a:lnTo>
                    <a:lnTo>
                      <a:pt x="0" y="16"/>
                    </a:lnTo>
                    <a:lnTo>
                      <a:pt x="0" y="16"/>
                    </a:lnTo>
                    <a:lnTo>
                      <a:pt x="0" y="16"/>
                    </a:lnTo>
                    <a:lnTo>
                      <a:pt x="0" y="16"/>
                    </a:lnTo>
                    <a:lnTo>
                      <a:pt x="0" y="16"/>
                    </a:lnTo>
                    <a:lnTo>
                      <a:pt x="0" y="16"/>
                    </a:lnTo>
                    <a:lnTo>
                      <a:pt x="0" y="12"/>
                    </a:lnTo>
                    <a:lnTo>
                      <a:pt x="0" y="1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3" name="Freeform 325"/>
              <p:cNvSpPr>
                <a:spLocks/>
              </p:cNvSpPr>
              <p:nvPr/>
            </p:nvSpPr>
            <p:spPr bwMode="auto">
              <a:xfrm>
                <a:off x="2374" y="16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4" name="Freeform 326"/>
              <p:cNvSpPr>
                <a:spLocks noEditPoints="1"/>
              </p:cNvSpPr>
              <p:nvPr/>
            </p:nvSpPr>
            <p:spPr bwMode="auto">
              <a:xfrm>
                <a:off x="2482" y="1616"/>
                <a:ext cx="20" cy="12"/>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4 w 20"/>
                  <a:gd name="T55" fmla="*/ 8 h 12"/>
                  <a:gd name="T56" fmla="*/ 4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4" y="8"/>
                    </a:lnTo>
                    <a:lnTo>
                      <a:pt x="4" y="8"/>
                    </a:lnTo>
                    <a:lnTo>
                      <a:pt x="6" y="12"/>
                    </a:lnTo>
                    <a:lnTo>
                      <a:pt x="6"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5" name="Freeform 327"/>
              <p:cNvSpPr>
                <a:spLocks/>
              </p:cNvSpPr>
              <p:nvPr/>
            </p:nvSpPr>
            <p:spPr bwMode="auto">
              <a:xfrm>
                <a:off x="2488" y="1622"/>
                <a:ext cx="6" cy="4"/>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6" name="Freeform 328"/>
              <p:cNvSpPr>
                <a:spLocks/>
              </p:cNvSpPr>
              <p:nvPr/>
            </p:nvSpPr>
            <p:spPr bwMode="auto">
              <a:xfrm>
                <a:off x="2482" y="1616"/>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4 w 20"/>
                  <a:gd name="T11" fmla="*/ 8 h 12"/>
                  <a:gd name="T12" fmla="*/ 4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4" y="8"/>
                    </a:lnTo>
                    <a:lnTo>
                      <a:pt x="4"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7" name="Freeform 329"/>
              <p:cNvSpPr>
                <a:spLocks/>
              </p:cNvSpPr>
              <p:nvPr/>
            </p:nvSpPr>
            <p:spPr bwMode="auto">
              <a:xfrm>
                <a:off x="2436" y="160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6 w 22"/>
                  <a:gd name="T15" fmla="*/ 6 h 20"/>
                  <a:gd name="T16" fmla="*/ 8 w 22"/>
                  <a:gd name="T17" fmla="*/ 6 h 20"/>
                  <a:gd name="T18" fmla="*/ 8 w 22"/>
                  <a:gd name="T19" fmla="*/ 6 h 20"/>
                  <a:gd name="T20" fmla="*/ 8 w 22"/>
                  <a:gd name="T21" fmla="*/ 12 h 20"/>
                  <a:gd name="T22" fmla="*/ 8 w 22"/>
                  <a:gd name="T23" fmla="*/ 12 h 20"/>
                  <a:gd name="T24" fmla="*/ 12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6" y="6"/>
                    </a:lnTo>
                    <a:lnTo>
                      <a:pt x="8" y="6"/>
                    </a:lnTo>
                    <a:lnTo>
                      <a:pt x="8" y="6"/>
                    </a:lnTo>
                    <a:lnTo>
                      <a:pt x="8" y="12"/>
                    </a:lnTo>
                    <a:lnTo>
                      <a:pt x="8" y="12"/>
                    </a:lnTo>
                    <a:lnTo>
                      <a:pt x="12"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8" name="Freeform 330"/>
              <p:cNvSpPr>
                <a:spLocks/>
              </p:cNvSpPr>
              <p:nvPr/>
            </p:nvSpPr>
            <p:spPr bwMode="auto">
              <a:xfrm>
                <a:off x="2436" y="160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6 w 22"/>
                  <a:gd name="T15" fmla="*/ 6 h 20"/>
                  <a:gd name="T16" fmla="*/ 8 w 22"/>
                  <a:gd name="T17" fmla="*/ 6 h 20"/>
                  <a:gd name="T18" fmla="*/ 8 w 22"/>
                  <a:gd name="T19" fmla="*/ 6 h 20"/>
                  <a:gd name="T20" fmla="*/ 8 w 22"/>
                  <a:gd name="T21" fmla="*/ 12 h 20"/>
                  <a:gd name="T22" fmla="*/ 8 w 22"/>
                  <a:gd name="T23" fmla="*/ 12 h 20"/>
                  <a:gd name="T24" fmla="*/ 12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6" y="6"/>
                    </a:lnTo>
                    <a:lnTo>
                      <a:pt x="8" y="6"/>
                    </a:lnTo>
                    <a:lnTo>
                      <a:pt x="8" y="6"/>
                    </a:lnTo>
                    <a:lnTo>
                      <a:pt x="8" y="12"/>
                    </a:lnTo>
                    <a:lnTo>
                      <a:pt x="8" y="12"/>
                    </a:lnTo>
                    <a:lnTo>
                      <a:pt x="12"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9" name="Freeform 331"/>
              <p:cNvSpPr>
                <a:spLocks/>
              </p:cNvSpPr>
              <p:nvPr/>
            </p:nvSpPr>
            <p:spPr bwMode="auto">
              <a:xfrm>
                <a:off x="2530"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0" name="Freeform 332"/>
              <p:cNvSpPr>
                <a:spLocks/>
              </p:cNvSpPr>
              <p:nvPr/>
            </p:nvSpPr>
            <p:spPr bwMode="auto">
              <a:xfrm>
                <a:off x="2530"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1" name="Freeform 333"/>
              <p:cNvSpPr>
                <a:spLocks/>
              </p:cNvSpPr>
              <p:nvPr/>
            </p:nvSpPr>
            <p:spPr bwMode="auto">
              <a:xfrm>
                <a:off x="2476" y="1604"/>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2" name="Freeform 334"/>
              <p:cNvSpPr>
                <a:spLocks/>
              </p:cNvSpPr>
              <p:nvPr/>
            </p:nvSpPr>
            <p:spPr bwMode="auto">
              <a:xfrm>
                <a:off x="2476" y="1604"/>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3" name="Freeform 335"/>
              <p:cNvSpPr>
                <a:spLocks/>
              </p:cNvSpPr>
              <p:nvPr/>
            </p:nvSpPr>
            <p:spPr bwMode="auto">
              <a:xfrm>
                <a:off x="2490"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4" name="Freeform 336"/>
              <p:cNvSpPr>
                <a:spLocks/>
              </p:cNvSpPr>
              <p:nvPr/>
            </p:nvSpPr>
            <p:spPr bwMode="auto">
              <a:xfrm>
                <a:off x="2490"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5" name="Freeform 337"/>
              <p:cNvSpPr>
                <a:spLocks/>
              </p:cNvSpPr>
              <p:nvPr/>
            </p:nvSpPr>
            <p:spPr bwMode="auto">
              <a:xfrm>
                <a:off x="2488"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6" name="Freeform 338"/>
              <p:cNvSpPr>
                <a:spLocks/>
              </p:cNvSpPr>
              <p:nvPr/>
            </p:nvSpPr>
            <p:spPr bwMode="auto">
              <a:xfrm>
                <a:off x="2488"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7" name="Freeform 339"/>
              <p:cNvSpPr>
                <a:spLocks noEditPoints="1"/>
              </p:cNvSpPr>
              <p:nvPr/>
            </p:nvSpPr>
            <p:spPr bwMode="auto">
              <a:xfrm>
                <a:off x="2488" y="1622"/>
                <a:ext cx="6" cy="4"/>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8" name="Freeform 340"/>
              <p:cNvSpPr>
                <a:spLocks/>
              </p:cNvSpPr>
              <p:nvPr/>
            </p:nvSpPr>
            <p:spPr bwMode="auto">
              <a:xfrm>
                <a:off x="2488" y="1624"/>
                <a:ext cx="6" cy="2"/>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9" name="Freeform 341"/>
              <p:cNvSpPr>
                <a:spLocks/>
              </p:cNvSpPr>
              <p:nvPr/>
            </p:nvSpPr>
            <p:spPr bwMode="auto">
              <a:xfrm>
                <a:off x="2490"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0" name="Freeform 342"/>
              <p:cNvSpPr>
                <a:spLocks/>
              </p:cNvSpPr>
              <p:nvPr/>
            </p:nvSpPr>
            <p:spPr bwMode="auto">
              <a:xfrm>
                <a:off x="301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1" name="Freeform 343"/>
              <p:cNvSpPr>
                <a:spLocks/>
              </p:cNvSpPr>
              <p:nvPr/>
            </p:nvSpPr>
            <p:spPr bwMode="auto">
              <a:xfrm>
                <a:off x="3250"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2" name="Freeform 344"/>
              <p:cNvSpPr>
                <a:spLocks/>
              </p:cNvSpPr>
              <p:nvPr/>
            </p:nvSpPr>
            <p:spPr bwMode="auto">
              <a:xfrm>
                <a:off x="334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3" name="Freeform 345"/>
              <p:cNvSpPr>
                <a:spLocks/>
              </p:cNvSpPr>
              <p:nvPr/>
            </p:nvSpPr>
            <p:spPr bwMode="auto">
              <a:xfrm>
                <a:off x="3434"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4" name="Freeform 346"/>
              <p:cNvSpPr>
                <a:spLocks/>
              </p:cNvSpPr>
              <p:nvPr/>
            </p:nvSpPr>
            <p:spPr bwMode="auto">
              <a:xfrm>
                <a:off x="3104" y="1578"/>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5" name="Freeform 347"/>
              <p:cNvSpPr>
                <a:spLocks/>
              </p:cNvSpPr>
              <p:nvPr/>
            </p:nvSpPr>
            <p:spPr bwMode="auto">
              <a:xfrm>
                <a:off x="3104" y="1578"/>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6" name="Freeform 348"/>
              <p:cNvSpPr>
                <a:spLocks/>
              </p:cNvSpPr>
              <p:nvPr/>
            </p:nvSpPr>
            <p:spPr bwMode="auto">
              <a:xfrm>
                <a:off x="316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7" name="Freeform 349"/>
              <p:cNvSpPr>
                <a:spLocks/>
              </p:cNvSpPr>
              <p:nvPr/>
            </p:nvSpPr>
            <p:spPr bwMode="auto">
              <a:xfrm>
                <a:off x="316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8" name="Freeform 350"/>
              <p:cNvSpPr>
                <a:spLocks noEditPoints="1"/>
              </p:cNvSpPr>
              <p:nvPr/>
            </p:nvSpPr>
            <p:spPr bwMode="auto">
              <a:xfrm>
                <a:off x="3524" y="157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9" name="Freeform 351"/>
              <p:cNvSpPr>
                <a:spLocks noEditPoints="1"/>
              </p:cNvSpPr>
              <p:nvPr/>
            </p:nvSpPr>
            <p:spPr bwMode="auto">
              <a:xfrm>
                <a:off x="3660"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0" name="Freeform 352"/>
              <p:cNvSpPr>
                <a:spLocks/>
              </p:cNvSpPr>
              <p:nvPr/>
            </p:nvSpPr>
            <p:spPr bwMode="auto">
              <a:xfrm>
                <a:off x="2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1" name="Freeform 353"/>
              <p:cNvSpPr>
                <a:spLocks/>
              </p:cNvSpPr>
              <p:nvPr/>
            </p:nvSpPr>
            <p:spPr bwMode="auto">
              <a:xfrm>
                <a:off x="11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2" name="Freeform 354"/>
              <p:cNvSpPr>
                <a:spLocks/>
              </p:cNvSpPr>
              <p:nvPr/>
            </p:nvSpPr>
            <p:spPr bwMode="auto">
              <a:xfrm>
                <a:off x="20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3" name="Freeform 355"/>
              <p:cNvSpPr>
                <a:spLocks noEditPoints="1"/>
              </p:cNvSpPr>
              <p:nvPr/>
            </p:nvSpPr>
            <p:spPr bwMode="auto">
              <a:xfrm>
                <a:off x="298" y="17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4" name="Freeform 356"/>
              <p:cNvSpPr>
                <a:spLocks noEditPoints="1"/>
              </p:cNvSpPr>
              <p:nvPr/>
            </p:nvSpPr>
            <p:spPr bwMode="auto">
              <a:xfrm>
                <a:off x="438" y="17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5" name="Freeform 357"/>
              <p:cNvSpPr>
                <a:spLocks noEditPoints="1"/>
              </p:cNvSpPr>
              <p:nvPr/>
            </p:nvSpPr>
            <p:spPr bwMode="auto">
              <a:xfrm>
                <a:off x="854" y="17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6" name="Freeform 358"/>
              <p:cNvSpPr>
                <a:spLocks noEditPoints="1"/>
              </p:cNvSpPr>
              <p:nvPr/>
            </p:nvSpPr>
            <p:spPr bwMode="auto">
              <a:xfrm>
                <a:off x="1086" y="17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7" name="Freeform 359"/>
              <p:cNvSpPr>
                <a:spLocks/>
              </p:cNvSpPr>
              <p:nvPr/>
            </p:nvSpPr>
            <p:spPr bwMode="auto">
              <a:xfrm>
                <a:off x="99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8" name="Freeform 360"/>
              <p:cNvSpPr>
                <a:spLocks noEditPoints="1"/>
              </p:cNvSpPr>
              <p:nvPr/>
            </p:nvSpPr>
            <p:spPr bwMode="auto">
              <a:xfrm>
                <a:off x="1226" y="17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9" name="Freeform 361"/>
              <p:cNvSpPr>
                <a:spLocks/>
              </p:cNvSpPr>
              <p:nvPr/>
            </p:nvSpPr>
            <p:spPr bwMode="auto">
              <a:xfrm>
                <a:off x="1364"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0" name="Freeform 362"/>
              <p:cNvSpPr>
                <a:spLocks/>
              </p:cNvSpPr>
              <p:nvPr/>
            </p:nvSpPr>
            <p:spPr bwMode="auto">
              <a:xfrm>
                <a:off x="1364"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1" name="Freeform 363"/>
              <p:cNvSpPr>
                <a:spLocks/>
              </p:cNvSpPr>
              <p:nvPr/>
            </p:nvSpPr>
            <p:spPr bwMode="auto">
              <a:xfrm>
                <a:off x="1426"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2" name="Freeform 364"/>
              <p:cNvSpPr>
                <a:spLocks/>
              </p:cNvSpPr>
              <p:nvPr/>
            </p:nvSpPr>
            <p:spPr bwMode="auto">
              <a:xfrm>
                <a:off x="1426"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3" name="Freeform 365"/>
              <p:cNvSpPr>
                <a:spLocks noEditPoints="1"/>
              </p:cNvSpPr>
              <p:nvPr/>
            </p:nvSpPr>
            <p:spPr bwMode="auto">
              <a:xfrm>
                <a:off x="1660" y="1762"/>
                <a:ext cx="100" cy="150"/>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4" name="Freeform 366"/>
              <p:cNvSpPr>
                <a:spLocks/>
              </p:cNvSpPr>
              <p:nvPr/>
            </p:nvSpPr>
            <p:spPr bwMode="auto">
              <a:xfrm>
                <a:off x="180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5" name="Freeform 367"/>
              <p:cNvSpPr>
                <a:spLocks noEditPoints="1"/>
              </p:cNvSpPr>
              <p:nvPr/>
            </p:nvSpPr>
            <p:spPr bwMode="auto">
              <a:xfrm>
                <a:off x="1512" y="1770"/>
                <a:ext cx="108" cy="142"/>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6" name="Freeform 368"/>
              <p:cNvSpPr>
                <a:spLocks/>
              </p:cNvSpPr>
              <p:nvPr/>
            </p:nvSpPr>
            <p:spPr bwMode="auto">
              <a:xfrm>
                <a:off x="1556" y="1830"/>
                <a:ext cx="22" cy="2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7" name="Freeform 369"/>
              <p:cNvSpPr>
                <a:spLocks/>
              </p:cNvSpPr>
              <p:nvPr/>
            </p:nvSpPr>
            <p:spPr bwMode="auto">
              <a:xfrm>
                <a:off x="1512" y="1770"/>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8" name="Freeform 370"/>
              <p:cNvSpPr>
                <a:spLocks/>
              </p:cNvSpPr>
              <p:nvPr/>
            </p:nvSpPr>
            <p:spPr bwMode="auto">
              <a:xfrm>
                <a:off x="576"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9" name="Freeform 371"/>
              <p:cNvSpPr>
                <a:spLocks/>
              </p:cNvSpPr>
              <p:nvPr/>
            </p:nvSpPr>
            <p:spPr bwMode="auto">
              <a:xfrm>
                <a:off x="67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0" name="Freeform 372"/>
              <p:cNvSpPr>
                <a:spLocks/>
              </p:cNvSpPr>
              <p:nvPr/>
            </p:nvSpPr>
            <p:spPr bwMode="auto">
              <a:xfrm>
                <a:off x="76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1" name="Freeform 373"/>
              <p:cNvSpPr>
                <a:spLocks/>
              </p:cNvSpPr>
              <p:nvPr/>
            </p:nvSpPr>
            <p:spPr bwMode="auto">
              <a:xfrm>
                <a:off x="1166" y="1580"/>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2" name="Freeform 374"/>
              <p:cNvSpPr>
                <a:spLocks/>
              </p:cNvSpPr>
              <p:nvPr/>
            </p:nvSpPr>
            <p:spPr bwMode="auto">
              <a:xfrm>
                <a:off x="125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3" name="Freeform 375"/>
              <p:cNvSpPr>
                <a:spLocks/>
              </p:cNvSpPr>
              <p:nvPr/>
            </p:nvSpPr>
            <p:spPr bwMode="auto">
              <a:xfrm>
                <a:off x="135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4" name="Freeform 376"/>
              <p:cNvSpPr>
                <a:spLocks/>
              </p:cNvSpPr>
              <p:nvPr/>
            </p:nvSpPr>
            <p:spPr bwMode="auto">
              <a:xfrm>
                <a:off x="144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5" name="Freeform 377"/>
              <p:cNvSpPr>
                <a:spLocks/>
              </p:cNvSpPr>
              <p:nvPr/>
            </p:nvSpPr>
            <p:spPr bwMode="auto">
              <a:xfrm>
                <a:off x="167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6" name="Freeform 378"/>
              <p:cNvSpPr>
                <a:spLocks/>
              </p:cNvSpPr>
              <p:nvPr/>
            </p:nvSpPr>
            <p:spPr bwMode="auto">
              <a:xfrm>
                <a:off x="177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7" name="Freeform 379"/>
              <p:cNvSpPr>
                <a:spLocks/>
              </p:cNvSpPr>
              <p:nvPr/>
            </p:nvSpPr>
            <p:spPr bwMode="auto">
              <a:xfrm>
                <a:off x="1532"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8" name="Freeform 380"/>
              <p:cNvSpPr>
                <a:spLocks/>
              </p:cNvSpPr>
              <p:nvPr/>
            </p:nvSpPr>
            <p:spPr bwMode="auto">
              <a:xfrm>
                <a:off x="1532"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9" name="Freeform 381"/>
              <p:cNvSpPr>
                <a:spLocks/>
              </p:cNvSpPr>
              <p:nvPr/>
            </p:nvSpPr>
            <p:spPr bwMode="auto">
              <a:xfrm>
                <a:off x="159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0" name="Freeform 382"/>
              <p:cNvSpPr>
                <a:spLocks/>
              </p:cNvSpPr>
              <p:nvPr/>
            </p:nvSpPr>
            <p:spPr bwMode="auto">
              <a:xfrm>
                <a:off x="159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1" name="Freeform 383"/>
              <p:cNvSpPr>
                <a:spLocks noEditPoints="1"/>
              </p:cNvSpPr>
              <p:nvPr/>
            </p:nvSpPr>
            <p:spPr bwMode="auto">
              <a:xfrm>
                <a:off x="390" y="157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2" name="Freeform 384"/>
              <p:cNvSpPr>
                <a:spLocks noEditPoints="1"/>
              </p:cNvSpPr>
              <p:nvPr/>
            </p:nvSpPr>
            <p:spPr bwMode="auto">
              <a:xfrm>
                <a:off x="526"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3" name="Freeform 385"/>
              <p:cNvSpPr>
                <a:spLocks noEditPoints="1"/>
              </p:cNvSpPr>
              <p:nvPr/>
            </p:nvSpPr>
            <p:spPr bwMode="auto">
              <a:xfrm>
                <a:off x="938"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4" name="Freeform 386"/>
              <p:cNvSpPr>
                <a:spLocks/>
              </p:cNvSpPr>
              <p:nvPr/>
            </p:nvSpPr>
            <p:spPr bwMode="auto">
              <a:xfrm>
                <a:off x="107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5" name="Freeform 387"/>
              <p:cNvSpPr>
                <a:spLocks/>
              </p:cNvSpPr>
              <p:nvPr/>
            </p:nvSpPr>
            <p:spPr bwMode="auto">
              <a:xfrm>
                <a:off x="66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6" name="Freeform 388"/>
              <p:cNvSpPr>
                <a:spLocks/>
              </p:cNvSpPr>
              <p:nvPr/>
            </p:nvSpPr>
            <p:spPr bwMode="auto">
              <a:xfrm>
                <a:off x="75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7" name="Freeform 389"/>
              <p:cNvSpPr>
                <a:spLocks/>
              </p:cNvSpPr>
              <p:nvPr/>
            </p:nvSpPr>
            <p:spPr bwMode="auto">
              <a:xfrm>
                <a:off x="848"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8" name="Freeform 390"/>
              <p:cNvSpPr>
                <a:spLocks noEditPoints="1"/>
              </p:cNvSpPr>
              <p:nvPr/>
            </p:nvSpPr>
            <p:spPr bwMode="auto">
              <a:xfrm>
                <a:off x="0"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9" name="Freeform 391"/>
              <p:cNvSpPr>
                <a:spLocks/>
              </p:cNvSpPr>
              <p:nvPr/>
            </p:nvSpPr>
            <p:spPr bwMode="auto">
              <a:xfrm>
                <a:off x="114" y="1580"/>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0" name="Freeform 392"/>
              <p:cNvSpPr>
                <a:spLocks/>
              </p:cNvSpPr>
              <p:nvPr/>
            </p:nvSpPr>
            <p:spPr bwMode="auto">
              <a:xfrm>
                <a:off x="20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1" name="Freeform 393"/>
              <p:cNvSpPr>
                <a:spLocks/>
              </p:cNvSpPr>
              <p:nvPr/>
            </p:nvSpPr>
            <p:spPr bwMode="auto">
              <a:xfrm>
                <a:off x="29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2" name="Freeform 394"/>
              <p:cNvSpPr>
                <a:spLocks noEditPoints="1"/>
              </p:cNvSpPr>
              <p:nvPr/>
            </p:nvSpPr>
            <p:spPr bwMode="auto">
              <a:xfrm>
                <a:off x="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3" name="Freeform 395"/>
              <p:cNvSpPr>
                <a:spLocks noEditPoints="1"/>
              </p:cNvSpPr>
              <p:nvPr/>
            </p:nvSpPr>
            <p:spPr bwMode="auto">
              <a:xfrm>
                <a:off x="4"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4" name="Freeform 396"/>
              <p:cNvSpPr>
                <a:spLocks noEditPoints="1"/>
              </p:cNvSpPr>
              <p:nvPr/>
            </p:nvSpPr>
            <p:spPr bwMode="auto">
              <a:xfrm>
                <a:off x="136" y="1364"/>
                <a:ext cx="98" cy="148"/>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5" name="Freeform 397"/>
              <p:cNvSpPr>
                <a:spLocks/>
              </p:cNvSpPr>
              <p:nvPr/>
            </p:nvSpPr>
            <p:spPr bwMode="auto">
              <a:xfrm>
                <a:off x="27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6" name="Freeform 398"/>
              <p:cNvSpPr>
                <a:spLocks/>
              </p:cNvSpPr>
              <p:nvPr/>
            </p:nvSpPr>
            <p:spPr bwMode="auto">
              <a:xfrm>
                <a:off x="36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7" name="Freeform 399"/>
              <p:cNvSpPr>
                <a:spLocks/>
              </p:cNvSpPr>
              <p:nvPr/>
            </p:nvSpPr>
            <p:spPr bwMode="auto">
              <a:xfrm>
                <a:off x="460"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8" name="Freeform 400"/>
              <p:cNvSpPr>
                <a:spLocks/>
              </p:cNvSpPr>
              <p:nvPr/>
            </p:nvSpPr>
            <p:spPr bwMode="auto">
              <a:xfrm>
                <a:off x="552"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9" name="Freeform 401"/>
              <p:cNvSpPr>
                <a:spLocks/>
              </p:cNvSpPr>
              <p:nvPr/>
            </p:nvSpPr>
            <p:spPr bwMode="auto">
              <a:xfrm>
                <a:off x="79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0" name="Freeform 402"/>
              <p:cNvSpPr>
                <a:spLocks/>
              </p:cNvSpPr>
              <p:nvPr/>
            </p:nvSpPr>
            <p:spPr bwMode="auto">
              <a:xfrm>
                <a:off x="886"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1" name="Freeform 403"/>
              <p:cNvSpPr>
                <a:spLocks/>
              </p:cNvSpPr>
              <p:nvPr/>
            </p:nvSpPr>
            <p:spPr bwMode="auto">
              <a:xfrm>
                <a:off x="97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2" name="Freeform 404"/>
              <p:cNvSpPr>
                <a:spLocks/>
              </p:cNvSpPr>
              <p:nvPr/>
            </p:nvSpPr>
            <p:spPr bwMode="auto">
              <a:xfrm>
                <a:off x="1072"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3" name="Freeform 405"/>
              <p:cNvSpPr>
                <a:spLocks/>
              </p:cNvSpPr>
              <p:nvPr/>
            </p:nvSpPr>
            <p:spPr bwMode="auto">
              <a:xfrm>
                <a:off x="64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5" name="Group 607"/>
            <p:cNvGrpSpPr>
              <a:grpSpLocks/>
            </p:cNvGrpSpPr>
            <p:nvPr/>
          </p:nvGrpSpPr>
          <p:grpSpPr bwMode="auto">
            <a:xfrm>
              <a:off x="215900" y="1212850"/>
              <a:ext cx="5797529" cy="869950"/>
              <a:chOff x="136" y="964"/>
              <a:chExt cx="3652" cy="548"/>
            </a:xfrm>
          </p:grpSpPr>
          <p:sp>
            <p:nvSpPr>
              <p:cNvPr id="2394" name="Freeform 407"/>
              <p:cNvSpPr>
                <a:spLocks/>
              </p:cNvSpPr>
              <p:nvPr/>
            </p:nvSpPr>
            <p:spPr bwMode="auto">
              <a:xfrm>
                <a:off x="64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5" name="Freeform 408"/>
              <p:cNvSpPr>
                <a:spLocks/>
              </p:cNvSpPr>
              <p:nvPr/>
            </p:nvSpPr>
            <p:spPr bwMode="auto">
              <a:xfrm>
                <a:off x="706" y="1366"/>
                <a:ext cx="46" cy="146"/>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6" name="Freeform 409"/>
              <p:cNvSpPr>
                <a:spLocks/>
              </p:cNvSpPr>
              <p:nvPr/>
            </p:nvSpPr>
            <p:spPr bwMode="auto">
              <a:xfrm>
                <a:off x="706" y="1366"/>
                <a:ext cx="46" cy="146"/>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7" name="Freeform 410"/>
              <p:cNvSpPr>
                <a:spLocks/>
              </p:cNvSpPr>
              <p:nvPr/>
            </p:nvSpPr>
            <p:spPr bwMode="auto">
              <a:xfrm>
                <a:off x="1392" y="13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8" name="Freeform 411"/>
              <p:cNvSpPr>
                <a:spLocks/>
              </p:cNvSpPr>
              <p:nvPr/>
            </p:nvSpPr>
            <p:spPr bwMode="auto">
              <a:xfrm>
                <a:off x="1392" y="13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9" name="Freeform 412"/>
              <p:cNvSpPr>
                <a:spLocks/>
              </p:cNvSpPr>
              <p:nvPr/>
            </p:nvSpPr>
            <p:spPr bwMode="auto">
              <a:xfrm>
                <a:off x="1452"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0" name="Freeform 413"/>
              <p:cNvSpPr>
                <a:spLocks/>
              </p:cNvSpPr>
              <p:nvPr/>
            </p:nvSpPr>
            <p:spPr bwMode="auto">
              <a:xfrm>
                <a:off x="1452"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1" name="Freeform 414"/>
              <p:cNvSpPr>
                <a:spLocks/>
              </p:cNvSpPr>
              <p:nvPr/>
            </p:nvSpPr>
            <p:spPr bwMode="auto">
              <a:xfrm>
                <a:off x="154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2" name="Freeform 415"/>
              <p:cNvSpPr>
                <a:spLocks/>
              </p:cNvSpPr>
              <p:nvPr/>
            </p:nvSpPr>
            <p:spPr bwMode="auto">
              <a:xfrm>
                <a:off x="163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3" name="Freeform 416"/>
              <p:cNvSpPr>
                <a:spLocks/>
              </p:cNvSpPr>
              <p:nvPr/>
            </p:nvSpPr>
            <p:spPr bwMode="auto">
              <a:xfrm>
                <a:off x="1726"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4" name="Freeform 417"/>
              <p:cNvSpPr>
                <a:spLocks/>
              </p:cNvSpPr>
              <p:nvPr/>
            </p:nvSpPr>
            <p:spPr bwMode="auto">
              <a:xfrm>
                <a:off x="1964" y="13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5" name="Freeform 418"/>
              <p:cNvSpPr>
                <a:spLocks/>
              </p:cNvSpPr>
              <p:nvPr/>
            </p:nvSpPr>
            <p:spPr bwMode="auto">
              <a:xfrm>
                <a:off x="205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6" name="Freeform 419"/>
              <p:cNvSpPr>
                <a:spLocks/>
              </p:cNvSpPr>
              <p:nvPr/>
            </p:nvSpPr>
            <p:spPr bwMode="auto">
              <a:xfrm>
                <a:off x="2150"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7" name="Freeform 420"/>
              <p:cNvSpPr>
                <a:spLocks noEditPoints="1"/>
              </p:cNvSpPr>
              <p:nvPr/>
            </p:nvSpPr>
            <p:spPr bwMode="auto">
              <a:xfrm>
                <a:off x="2242" y="1364"/>
                <a:ext cx="98" cy="148"/>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8" name="Freeform 421"/>
              <p:cNvSpPr>
                <a:spLocks noEditPoints="1"/>
              </p:cNvSpPr>
              <p:nvPr/>
            </p:nvSpPr>
            <p:spPr bwMode="auto">
              <a:xfrm>
                <a:off x="2382" y="1364"/>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9" name="Freeform 422"/>
              <p:cNvSpPr>
                <a:spLocks/>
              </p:cNvSpPr>
              <p:nvPr/>
            </p:nvSpPr>
            <p:spPr bwMode="auto">
              <a:xfrm>
                <a:off x="1816" y="13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0" name="Freeform 423"/>
              <p:cNvSpPr>
                <a:spLocks/>
              </p:cNvSpPr>
              <p:nvPr/>
            </p:nvSpPr>
            <p:spPr bwMode="auto">
              <a:xfrm>
                <a:off x="1816" y="13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1" name="Freeform 424"/>
              <p:cNvSpPr>
                <a:spLocks/>
              </p:cNvSpPr>
              <p:nvPr/>
            </p:nvSpPr>
            <p:spPr bwMode="auto">
              <a:xfrm>
                <a:off x="1878" y="1366"/>
                <a:ext cx="48" cy="146"/>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2" name="Freeform 425"/>
              <p:cNvSpPr>
                <a:spLocks/>
              </p:cNvSpPr>
              <p:nvPr/>
            </p:nvSpPr>
            <p:spPr bwMode="auto">
              <a:xfrm>
                <a:off x="1878" y="1366"/>
                <a:ext cx="48" cy="146"/>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3" name="Freeform 426"/>
              <p:cNvSpPr>
                <a:spLocks noEditPoints="1"/>
              </p:cNvSpPr>
              <p:nvPr/>
            </p:nvSpPr>
            <p:spPr bwMode="auto">
              <a:xfrm>
                <a:off x="2798" y="1364"/>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4" name="Freeform 427"/>
              <p:cNvSpPr>
                <a:spLocks noEditPoints="1"/>
              </p:cNvSpPr>
              <p:nvPr/>
            </p:nvSpPr>
            <p:spPr bwMode="auto">
              <a:xfrm>
                <a:off x="3030" y="1364"/>
                <a:ext cx="98" cy="148"/>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5" name="Freeform 428"/>
              <p:cNvSpPr>
                <a:spLocks/>
              </p:cNvSpPr>
              <p:nvPr/>
            </p:nvSpPr>
            <p:spPr bwMode="auto">
              <a:xfrm>
                <a:off x="2938"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6" name="Freeform 429"/>
              <p:cNvSpPr>
                <a:spLocks noEditPoints="1"/>
              </p:cNvSpPr>
              <p:nvPr/>
            </p:nvSpPr>
            <p:spPr bwMode="auto">
              <a:xfrm>
                <a:off x="3168" y="1364"/>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7" name="Freeform 430"/>
              <p:cNvSpPr>
                <a:spLocks/>
              </p:cNvSpPr>
              <p:nvPr/>
            </p:nvSpPr>
            <p:spPr bwMode="auto">
              <a:xfrm>
                <a:off x="3308" y="1366"/>
                <a:ext cx="46" cy="146"/>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8" name="Freeform 431"/>
              <p:cNvSpPr>
                <a:spLocks/>
              </p:cNvSpPr>
              <p:nvPr/>
            </p:nvSpPr>
            <p:spPr bwMode="auto">
              <a:xfrm>
                <a:off x="3308" y="1366"/>
                <a:ext cx="46" cy="146"/>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9" name="Freeform 432"/>
              <p:cNvSpPr>
                <a:spLocks/>
              </p:cNvSpPr>
              <p:nvPr/>
            </p:nvSpPr>
            <p:spPr bwMode="auto">
              <a:xfrm>
                <a:off x="3368"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0" name="Freeform 433"/>
              <p:cNvSpPr>
                <a:spLocks/>
              </p:cNvSpPr>
              <p:nvPr/>
            </p:nvSpPr>
            <p:spPr bwMode="auto">
              <a:xfrm>
                <a:off x="3368"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1" name="Freeform 434"/>
              <p:cNvSpPr>
                <a:spLocks noEditPoints="1"/>
              </p:cNvSpPr>
              <p:nvPr/>
            </p:nvSpPr>
            <p:spPr bwMode="auto">
              <a:xfrm>
                <a:off x="3604" y="1364"/>
                <a:ext cx="98" cy="148"/>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2" name="Freeform 435"/>
              <p:cNvSpPr>
                <a:spLocks/>
              </p:cNvSpPr>
              <p:nvPr/>
            </p:nvSpPr>
            <p:spPr bwMode="auto">
              <a:xfrm>
                <a:off x="373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3" name="Freeform 436"/>
              <p:cNvSpPr>
                <a:spLocks noEditPoints="1"/>
              </p:cNvSpPr>
              <p:nvPr/>
            </p:nvSpPr>
            <p:spPr bwMode="auto">
              <a:xfrm>
                <a:off x="136" y="1160"/>
                <a:ext cx="186" cy="144"/>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4" name="Freeform 437"/>
              <p:cNvSpPr>
                <a:spLocks/>
              </p:cNvSpPr>
              <p:nvPr/>
            </p:nvSpPr>
            <p:spPr bwMode="auto">
              <a:xfrm>
                <a:off x="238" y="1264"/>
                <a:ext cx="18" cy="26"/>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5" name="Freeform 438"/>
              <p:cNvSpPr>
                <a:spLocks/>
              </p:cNvSpPr>
              <p:nvPr/>
            </p:nvSpPr>
            <p:spPr bwMode="auto">
              <a:xfrm>
                <a:off x="140" y="1260"/>
                <a:ext cx="18" cy="22"/>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6" name="Freeform 439"/>
              <p:cNvSpPr>
                <a:spLocks/>
              </p:cNvSpPr>
              <p:nvPr/>
            </p:nvSpPr>
            <p:spPr bwMode="auto">
              <a:xfrm>
                <a:off x="136" y="1208"/>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7" name="Freeform 440"/>
              <p:cNvSpPr>
                <a:spLocks/>
              </p:cNvSpPr>
              <p:nvPr/>
            </p:nvSpPr>
            <p:spPr bwMode="auto">
              <a:xfrm>
                <a:off x="150" y="1164"/>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8" name="Freeform 441"/>
              <p:cNvSpPr>
                <a:spLocks/>
              </p:cNvSpPr>
              <p:nvPr/>
            </p:nvSpPr>
            <p:spPr bwMode="auto">
              <a:xfrm>
                <a:off x="136" y="1160"/>
                <a:ext cx="186" cy="144"/>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9" name="Freeform 442"/>
              <p:cNvSpPr>
                <a:spLocks/>
              </p:cNvSpPr>
              <p:nvPr/>
            </p:nvSpPr>
            <p:spPr bwMode="auto">
              <a:xfrm>
                <a:off x="140" y="1260"/>
                <a:ext cx="18" cy="22"/>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0" name="Freeform 443"/>
              <p:cNvSpPr>
                <a:spLocks/>
              </p:cNvSpPr>
              <p:nvPr/>
            </p:nvSpPr>
            <p:spPr bwMode="auto">
              <a:xfrm>
                <a:off x="140" y="1260"/>
                <a:ext cx="18" cy="22"/>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1" name="Freeform 444"/>
              <p:cNvSpPr>
                <a:spLocks/>
              </p:cNvSpPr>
              <p:nvPr/>
            </p:nvSpPr>
            <p:spPr bwMode="auto">
              <a:xfrm>
                <a:off x="140" y="1260"/>
                <a:ext cx="14" cy="22"/>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2" name="Freeform 445"/>
              <p:cNvSpPr>
                <a:spLocks/>
              </p:cNvSpPr>
              <p:nvPr/>
            </p:nvSpPr>
            <p:spPr bwMode="auto">
              <a:xfrm>
                <a:off x="140" y="1260"/>
                <a:ext cx="14" cy="22"/>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3" name="Freeform 446"/>
              <p:cNvSpPr>
                <a:spLocks/>
              </p:cNvSpPr>
              <p:nvPr/>
            </p:nvSpPr>
            <p:spPr bwMode="auto">
              <a:xfrm>
                <a:off x="238" y="1264"/>
                <a:ext cx="18" cy="26"/>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4" name="Freeform 447"/>
              <p:cNvSpPr>
                <a:spLocks/>
              </p:cNvSpPr>
              <p:nvPr/>
            </p:nvSpPr>
            <p:spPr bwMode="auto">
              <a:xfrm>
                <a:off x="238" y="1264"/>
                <a:ext cx="18" cy="26"/>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5" name="Freeform 448"/>
              <p:cNvSpPr>
                <a:spLocks noEditPoints="1"/>
              </p:cNvSpPr>
              <p:nvPr/>
            </p:nvSpPr>
            <p:spPr bwMode="auto">
              <a:xfrm>
                <a:off x="238" y="1264"/>
                <a:ext cx="18" cy="26"/>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6" name="Freeform 449"/>
              <p:cNvSpPr>
                <a:spLocks/>
              </p:cNvSpPr>
              <p:nvPr/>
            </p:nvSpPr>
            <p:spPr bwMode="auto">
              <a:xfrm>
                <a:off x="238"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7" name="Freeform 450"/>
              <p:cNvSpPr>
                <a:spLocks/>
              </p:cNvSpPr>
              <p:nvPr/>
            </p:nvSpPr>
            <p:spPr bwMode="auto">
              <a:xfrm>
                <a:off x="252" y="1264"/>
                <a:ext cx="4" cy="26"/>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8" name="Freeform 451"/>
              <p:cNvSpPr>
                <a:spLocks/>
              </p:cNvSpPr>
              <p:nvPr/>
            </p:nvSpPr>
            <p:spPr bwMode="auto">
              <a:xfrm>
                <a:off x="138"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9" name="Freeform 452"/>
              <p:cNvSpPr>
                <a:spLocks/>
              </p:cNvSpPr>
              <p:nvPr/>
            </p:nvSpPr>
            <p:spPr bwMode="auto">
              <a:xfrm>
                <a:off x="138"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0" name="Freeform 453"/>
              <p:cNvSpPr>
                <a:spLocks noEditPoints="1"/>
              </p:cNvSpPr>
              <p:nvPr/>
            </p:nvSpPr>
            <p:spPr bwMode="auto">
              <a:xfrm>
                <a:off x="136" y="1208"/>
                <a:ext cx="14" cy="2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1" name="Freeform 454"/>
              <p:cNvSpPr>
                <a:spLocks/>
              </p:cNvSpPr>
              <p:nvPr/>
            </p:nvSpPr>
            <p:spPr bwMode="auto">
              <a:xfrm>
                <a:off x="142" y="1224"/>
                <a:ext cx="8" cy="2"/>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2" name="Freeform 455"/>
              <p:cNvSpPr>
                <a:spLocks/>
              </p:cNvSpPr>
              <p:nvPr/>
            </p:nvSpPr>
            <p:spPr bwMode="auto">
              <a:xfrm>
                <a:off x="136" y="1208"/>
                <a:ext cx="8" cy="2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3" name="Freeform 456"/>
              <p:cNvSpPr>
                <a:spLocks noEditPoints="1"/>
              </p:cNvSpPr>
              <p:nvPr/>
            </p:nvSpPr>
            <p:spPr bwMode="auto">
              <a:xfrm>
                <a:off x="252" y="1198"/>
                <a:ext cx="20" cy="14"/>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4" name="Freeform 457"/>
              <p:cNvSpPr>
                <a:spLocks/>
              </p:cNvSpPr>
              <p:nvPr/>
            </p:nvSpPr>
            <p:spPr bwMode="auto">
              <a:xfrm>
                <a:off x="256" y="1204"/>
                <a:ext cx="8" cy="6"/>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5" name="Freeform 458"/>
              <p:cNvSpPr>
                <a:spLocks/>
              </p:cNvSpPr>
              <p:nvPr/>
            </p:nvSpPr>
            <p:spPr bwMode="auto">
              <a:xfrm>
                <a:off x="252" y="1198"/>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6" name="Freeform 459"/>
              <p:cNvSpPr>
                <a:spLocks/>
              </p:cNvSpPr>
              <p:nvPr/>
            </p:nvSpPr>
            <p:spPr bwMode="auto">
              <a:xfrm>
                <a:off x="204" y="1188"/>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7" name="Freeform 460"/>
              <p:cNvSpPr>
                <a:spLocks/>
              </p:cNvSpPr>
              <p:nvPr/>
            </p:nvSpPr>
            <p:spPr bwMode="auto">
              <a:xfrm>
                <a:off x="204" y="1188"/>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8" name="Freeform 461"/>
              <p:cNvSpPr>
                <a:spLocks/>
              </p:cNvSpPr>
              <p:nvPr/>
            </p:nvSpPr>
            <p:spPr bwMode="auto">
              <a:xfrm>
                <a:off x="300" y="1192"/>
                <a:ext cx="12" cy="8"/>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9" name="Freeform 462"/>
              <p:cNvSpPr>
                <a:spLocks/>
              </p:cNvSpPr>
              <p:nvPr/>
            </p:nvSpPr>
            <p:spPr bwMode="auto">
              <a:xfrm>
                <a:off x="300" y="1192"/>
                <a:ext cx="12" cy="8"/>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0" name="Freeform 463"/>
              <p:cNvSpPr>
                <a:spLocks/>
              </p:cNvSpPr>
              <p:nvPr/>
            </p:nvSpPr>
            <p:spPr bwMode="auto">
              <a:xfrm>
                <a:off x="246"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1" name="Freeform 464"/>
              <p:cNvSpPr>
                <a:spLocks/>
              </p:cNvSpPr>
              <p:nvPr/>
            </p:nvSpPr>
            <p:spPr bwMode="auto">
              <a:xfrm>
                <a:off x="246"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2" name="Freeform 465"/>
              <p:cNvSpPr>
                <a:spLocks/>
              </p:cNvSpPr>
              <p:nvPr/>
            </p:nvSpPr>
            <p:spPr bwMode="auto">
              <a:xfrm>
                <a:off x="260" y="1238"/>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3" name="Freeform 466"/>
              <p:cNvSpPr>
                <a:spLocks/>
              </p:cNvSpPr>
              <p:nvPr/>
            </p:nvSpPr>
            <p:spPr bwMode="auto">
              <a:xfrm>
                <a:off x="260" y="1238"/>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4" name="Freeform 467"/>
              <p:cNvSpPr>
                <a:spLocks/>
              </p:cNvSpPr>
              <p:nvPr/>
            </p:nvSpPr>
            <p:spPr bwMode="auto">
              <a:xfrm>
                <a:off x="258" y="1204"/>
                <a:ext cx="6" cy="6"/>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5" name="Freeform 468"/>
              <p:cNvSpPr>
                <a:spLocks/>
              </p:cNvSpPr>
              <p:nvPr/>
            </p:nvSpPr>
            <p:spPr bwMode="auto">
              <a:xfrm>
                <a:off x="258" y="1204"/>
                <a:ext cx="6" cy="6"/>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6" name="Freeform 469"/>
              <p:cNvSpPr>
                <a:spLocks/>
              </p:cNvSpPr>
              <p:nvPr/>
            </p:nvSpPr>
            <p:spPr bwMode="auto">
              <a:xfrm>
                <a:off x="256" y="1204"/>
                <a:ext cx="8" cy="6"/>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7" name="Freeform 470"/>
              <p:cNvSpPr>
                <a:spLocks/>
              </p:cNvSpPr>
              <p:nvPr/>
            </p:nvSpPr>
            <p:spPr bwMode="auto">
              <a:xfrm>
                <a:off x="256" y="1204"/>
                <a:ext cx="8" cy="6"/>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8" name="Freeform 471"/>
              <p:cNvSpPr>
                <a:spLocks noEditPoints="1"/>
              </p:cNvSpPr>
              <p:nvPr/>
            </p:nvSpPr>
            <p:spPr bwMode="auto">
              <a:xfrm>
                <a:off x="3456" y="1370"/>
                <a:ext cx="106" cy="142"/>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9" name="Freeform 472"/>
              <p:cNvSpPr>
                <a:spLocks/>
              </p:cNvSpPr>
              <p:nvPr/>
            </p:nvSpPr>
            <p:spPr bwMode="auto">
              <a:xfrm>
                <a:off x="3498" y="1430"/>
                <a:ext cx="22" cy="22"/>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0" name="Freeform 473"/>
              <p:cNvSpPr>
                <a:spLocks/>
              </p:cNvSpPr>
              <p:nvPr/>
            </p:nvSpPr>
            <p:spPr bwMode="auto">
              <a:xfrm>
                <a:off x="3456" y="1370"/>
                <a:ext cx="106" cy="142"/>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1" name="Freeform 474"/>
              <p:cNvSpPr>
                <a:spLocks noEditPoints="1"/>
              </p:cNvSpPr>
              <p:nvPr/>
            </p:nvSpPr>
            <p:spPr bwMode="auto">
              <a:xfrm>
                <a:off x="1164" y="1366"/>
                <a:ext cx="188" cy="146"/>
              </a:xfrm>
              <a:custGeom>
                <a:avLst/>
                <a:gdLst>
                  <a:gd name="T0" fmla="*/ 116 w 188"/>
                  <a:gd name="T1" fmla="*/ 104 h 146"/>
                  <a:gd name="T2" fmla="*/ 114 w 188"/>
                  <a:gd name="T3" fmla="*/ 130 h 146"/>
                  <a:gd name="T4" fmla="*/ 102 w 188"/>
                  <a:gd name="T5" fmla="*/ 130 h 146"/>
                  <a:gd name="T6" fmla="*/ 6 w 188"/>
                  <a:gd name="T7" fmla="*/ 104 h 146"/>
                  <a:gd name="T8" fmla="*/ 20 w 188"/>
                  <a:gd name="T9" fmla="*/ 122 h 146"/>
                  <a:gd name="T10" fmla="*/ 8 w 188"/>
                  <a:gd name="T11" fmla="*/ 48 h 146"/>
                  <a:gd name="T12" fmla="*/ 8 w 188"/>
                  <a:gd name="T13" fmla="*/ 50 h 146"/>
                  <a:gd name="T14" fmla="*/ 10 w 188"/>
                  <a:gd name="T15" fmla="*/ 66 h 146"/>
                  <a:gd name="T16" fmla="*/ 14 w 188"/>
                  <a:gd name="T17" fmla="*/ 64 h 146"/>
                  <a:gd name="T18" fmla="*/ 6 w 188"/>
                  <a:gd name="T19" fmla="*/ 68 h 146"/>
                  <a:gd name="T20" fmla="*/ 8 w 188"/>
                  <a:gd name="T21" fmla="*/ 48 h 146"/>
                  <a:gd name="T22" fmla="*/ 96 w 188"/>
                  <a:gd name="T23" fmla="*/ 8 h 146"/>
                  <a:gd name="T24" fmla="*/ 144 w 188"/>
                  <a:gd name="T25" fmla="*/ 20 h 146"/>
                  <a:gd name="T26" fmla="*/ 148 w 188"/>
                  <a:gd name="T27" fmla="*/ 34 h 146"/>
                  <a:gd name="T28" fmla="*/ 148 w 188"/>
                  <a:gd name="T29" fmla="*/ 46 h 146"/>
                  <a:gd name="T30" fmla="*/ 150 w 188"/>
                  <a:gd name="T31" fmla="*/ 54 h 146"/>
                  <a:gd name="T32" fmla="*/ 158 w 188"/>
                  <a:gd name="T33" fmla="*/ 48 h 146"/>
                  <a:gd name="T34" fmla="*/ 162 w 188"/>
                  <a:gd name="T35" fmla="*/ 36 h 146"/>
                  <a:gd name="T36" fmla="*/ 178 w 188"/>
                  <a:gd name="T37" fmla="*/ 30 h 146"/>
                  <a:gd name="T38" fmla="*/ 172 w 188"/>
                  <a:gd name="T39" fmla="*/ 84 h 146"/>
                  <a:gd name="T40" fmla="*/ 130 w 188"/>
                  <a:gd name="T41" fmla="*/ 82 h 146"/>
                  <a:gd name="T42" fmla="*/ 138 w 188"/>
                  <a:gd name="T43" fmla="*/ 98 h 146"/>
                  <a:gd name="T44" fmla="*/ 142 w 188"/>
                  <a:gd name="T45" fmla="*/ 96 h 146"/>
                  <a:gd name="T46" fmla="*/ 126 w 188"/>
                  <a:gd name="T47" fmla="*/ 98 h 146"/>
                  <a:gd name="T48" fmla="*/ 108 w 188"/>
                  <a:gd name="T49" fmla="*/ 112 h 146"/>
                  <a:gd name="T50" fmla="*/ 82 w 188"/>
                  <a:gd name="T51" fmla="*/ 142 h 146"/>
                  <a:gd name="T52" fmla="*/ 70 w 188"/>
                  <a:gd name="T53" fmla="*/ 122 h 146"/>
                  <a:gd name="T54" fmla="*/ 70 w 188"/>
                  <a:gd name="T55" fmla="*/ 116 h 146"/>
                  <a:gd name="T56" fmla="*/ 52 w 188"/>
                  <a:gd name="T57" fmla="*/ 110 h 146"/>
                  <a:gd name="T58" fmla="*/ 48 w 188"/>
                  <a:gd name="T59" fmla="*/ 130 h 146"/>
                  <a:gd name="T60" fmla="*/ 26 w 188"/>
                  <a:gd name="T61" fmla="*/ 136 h 146"/>
                  <a:gd name="T62" fmla="*/ 26 w 188"/>
                  <a:gd name="T63" fmla="*/ 114 h 146"/>
                  <a:gd name="T64" fmla="*/ 18 w 188"/>
                  <a:gd name="T65" fmla="*/ 60 h 146"/>
                  <a:gd name="T66" fmla="*/ 58 w 188"/>
                  <a:gd name="T67" fmla="*/ 34 h 146"/>
                  <a:gd name="T68" fmla="*/ 46 w 188"/>
                  <a:gd name="T69" fmla="*/ 74 h 146"/>
                  <a:gd name="T70" fmla="*/ 56 w 188"/>
                  <a:gd name="T71" fmla="*/ 96 h 146"/>
                  <a:gd name="T72" fmla="*/ 92 w 188"/>
                  <a:gd name="T73" fmla="*/ 88 h 146"/>
                  <a:gd name="T74" fmla="*/ 92 w 188"/>
                  <a:gd name="T75" fmla="*/ 42 h 146"/>
                  <a:gd name="T76" fmla="*/ 86 w 188"/>
                  <a:gd name="T77" fmla="*/ 86 h 146"/>
                  <a:gd name="T78" fmla="*/ 52 w 188"/>
                  <a:gd name="T79" fmla="*/ 90 h 146"/>
                  <a:gd name="T80" fmla="*/ 52 w 188"/>
                  <a:gd name="T81" fmla="*/ 76 h 146"/>
                  <a:gd name="T82" fmla="*/ 50 w 188"/>
                  <a:gd name="T83" fmla="*/ 48 h 146"/>
                  <a:gd name="T84" fmla="*/ 90 w 188"/>
                  <a:gd name="T85" fmla="*/ 20 h 146"/>
                  <a:gd name="T86" fmla="*/ 84 w 188"/>
                  <a:gd name="T87" fmla="*/ 12 h 146"/>
                  <a:gd name="T88" fmla="*/ 52 w 188"/>
                  <a:gd name="T89" fmla="*/ 30 h 146"/>
                  <a:gd name="T90" fmla="*/ 12 w 188"/>
                  <a:gd name="T91" fmla="*/ 62 h 146"/>
                  <a:gd name="T92" fmla="*/ 12 w 188"/>
                  <a:gd name="T93" fmla="*/ 48 h 146"/>
                  <a:gd name="T94" fmla="*/ 4 w 188"/>
                  <a:gd name="T95" fmla="*/ 68 h 146"/>
                  <a:gd name="T96" fmla="*/ 12 w 188"/>
                  <a:gd name="T97" fmla="*/ 94 h 146"/>
                  <a:gd name="T98" fmla="*/ 8 w 188"/>
                  <a:gd name="T99" fmla="*/ 120 h 146"/>
                  <a:gd name="T100" fmla="*/ 22 w 188"/>
                  <a:gd name="T101" fmla="*/ 138 h 146"/>
                  <a:gd name="T102" fmla="*/ 48 w 188"/>
                  <a:gd name="T103" fmla="*/ 142 h 146"/>
                  <a:gd name="T104" fmla="*/ 68 w 188"/>
                  <a:gd name="T105" fmla="*/ 118 h 146"/>
                  <a:gd name="T106" fmla="*/ 80 w 188"/>
                  <a:gd name="T107" fmla="*/ 146 h 146"/>
                  <a:gd name="T108" fmla="*/ 100 w 188"/>
                  <a:gd name="T109" fmla="*/ 132 h 146"/>
                  <a:gd name="T110" fmla="*/ 122 w 188"/>
                  <a:gd name="T111" fmla="*/ 114 h 146"/>
                  <a:gd name="T112" fmla="*/ 124 w 188"/>
                  <a:gd name="T113" fmla="*/ 100 h 146"/>
                  <a:gd name="T114" fmla="*/ 146 w 188"/>
                  <a:gd name="T115" fmla="*/ 96 h 146"/>
                  <a:gd name="T116" fmla="*/ 166 w 188"/>
                  <a:gd name="T117" fmla="*/ 90 h 146"/>
                  <a:gd name="T118" fmla="*/ 184 w 188"/>
                  <a:gd name="T119" fmla="*/ 36 h 146"/>
                  <a:gd name="T120" fmla="*/ 170 w 188"/>
                  <a:gd name="T121" fmla="*/ 28 h 146"/>
                  <a:gd name="T122" fmla="*/ 152 w 188"/>
                  <a:gd name="T12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6" y="124"/>
                    </a:moveTo>
                    <a:lnTo>
                      <a:pt x="106" y="124"/>
                    </a:lnTo>
                    <a:lnTo>
                      <a:pt x="116" y="104"/>
                    </a:lnTo>
                    <a:lnTo>
                      <a:pt x="116" y="104"/>
                    </a:lnTo>
                    <a:lnTo>
                      <a:pt x="116" y="104"/>
                    </a:ln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14" y="130"/>
                    </a:lnTo>
                    <a:lnTo>
                      <a:pt x="114" y="130"/>
                    </a:lnTo>
                    <a:lnTo>
                      <a:pt x="112" y="130"/>
                    </a:lnTo>
                    <a:lnTo>
                      <a:pt x="112" y="130"/>
                    </a:lnTo>
                    <a:lnTo>
                      <a:pt x="110" y="130"/>
                    </a:lnTo>
                    <a:lnTo>
                      <a:pt x="110" y="130"/>
                    </a:lnTo>
                    <a:lnTo>
                      <a:pt x="102" y="130"/>
                    </a:lnTo>
                    <a:lnTo>
                      <a:pt x="102" y="130"/>
                    </a:lnTo>
                    <a:lnTo>
                      <a:pt x="106" y="124"/>
                    </a:lnTo>
                    <a:close/>
                    <a:moveTo>
                      <a:pt x="12" y="120"/>
                    </a:moveTo>
                    <a:lnTo>
                      <a:pt x="12" y="120"/>
                    </a:lnTo>
                    <a:lnTo>
                      <a:pt x="8" y="114"/>
                    </a:lnTo>
                    <a:lnTo>
                      <a:pt x="6" y="108"/>
                    </a:lnTo>
                    <a:lnTo>
                      <a:pt x="6" y="108"/>
                    </a:lnTo>
                    <a:lnTo>
                      <a:pt x="6" y="104"/>
                    </a:lnTo>
                    <a:lnTo>
                      <a:pt x="6" y="104"/>
                    </a:lnTo>
                    <a:lnTo>
                      <a:pt x="14" y="100"/>
                    </a:lnTo>
                    <a:lnTo>
                      <a:pt x="14" y="100"/>
                    </a:lnTo>
                    <a:lnTo>
                      <a:pt x="22" y="116"/>
                    </a:lnTo>
                    <a:lnTo>
                      <a:pt x="22" y="116"/>
                    </a:lnTo>
                    <a:lnTo>
                      <a:pt x="24" y="120"/>
                    </a:lnTo>
                    <a:lnTo>
                      <a:pt x="22" y="122"/>
                    </a:lnTo>
                    <a:lnTo>
                      <a:pt x="22" y="122"/>
                    </a:lnTo>
                    <a:lnTo>
                      <a:pt x="20" y="122"/>
                    </a:lnTo>
                    <a:lnTo>
                      <a:pt x="20" y="122"/>
                    </a:lnTo>
                    <a:lnTo>
                      <a:pt x="18" y="122"/>
                    </a:lnTo>
                    <a:lnTo>
                      <a:pt x="18" y="122"/>
                    </a:lnTo>
                    <a:lnTo>
                      <a:pt x="12" y="120"/>
                    </a:lnTo>
                    <a:close/>
                    <a:moveTo>
                      <a:pt x="8" y="48"/>
                    </a:moveTo>
                    <a:lnTo>
                      <a:pt x="8" y="48"/>
                    </a:lnTo>
                    <a:lnTo>
                      <a:pt x="8" y="48"/>
                    </a:lnTo>
                    <a:lnTo>
                      <a:pt x="8" y="48"/>
                    </a:lnTo>
                    <a:lnTo>
                      <a:pt x="8" y="48"/>
                    </a:lnTo>
                    <a:lnTo>
                      <a:pt x="8" y="48"/>
                    </a:lnTo>
                    <a:lnTo>
                      <a:pt x="8" y="48"/>
                    </a:lnTo>
                    <a:lnTo>
                      <a:pt x="8" y="48"/>
                    </a:lnTo>
                    <a:lnTo>
                      <a:pt x="8" y="48"/>
                    </a:lnTo>
                    <a:lnTo>
                      <a:pt x="8" y="48"/>
                    </a:lnTo>
                    <a:lnTo>
                      <a:pt x="8" y="50"/>
                    </a:lnTo>
                    <a:lnTo>
                      <a:pt x="8" y="50"/>
                    </a:lnTo>
                    <a:lnTo>
                      <a:pt x="6" y="60"/>
                    </a:lnTo>
                    <a:lnTo>
                      <a:pt x="6" y="60"/>
                    </a:lnTo>
                    <a:lnTo>
                      <a:pt x="6" y="64"/>
                    </a:lnTo>
                    <a:lnTo>
                      <a:pt x="6" y="64"/>
                    </a:lnTo>
                    <a:lnTo>
                      <a:pt x="6" y="64"/>
                    </a:lnTo>
                    <a:lnTo>
                      <a:pt x="6" y="64"/>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8" y="68"/>
                    </a:lnTo>
                    <a:lnTo>
                      <a:pt x="8" y="68"/>
                    </a:lnTo>
                    <a:lnTo>
                      <a:pt x="6" y="68"/>
                    </a:lnTo>
                    <a:lnTo>
                      <a:pt x="6" y="68"/>
                    </a:lnTo>
                    <a:lnTo>
                      <a:pt x="6" y="68"/>
                    </a:lnTo>
                    <a:lnTo>
                      <a:pt x="6" y="68"/>
                    </a:lnTo>
                    <a:lnTo>
                      <a:pt x="2" y="62"/>
                    </a:lnTo>
                    <a:lnTo>
                      <a:pt x="2" y="56"/>
                    </a:lnTo>
                    <a:lnTo>
                      <a:pt x="2" y="54"/>
                    </a:lnTo>
                    <a:lnTo>
                      <a:pt x="2" y="54"/>
                    </a:lnTo>
                    <a:lnTo>
                      <a:pt x="8" y="48"/>
                    </a:lnTo>
                    <a:lnTo>
                      <a:pt x="8" y="48"/>
                    </a:lnTo>
                    <a:lnTo>
                      <a:pt x="8" y="48"/>
                    </a:lnTo>
                    <a:lnTo>
                      <a:pt x="8" y="48"/>
                    </a:lnTo>
                    <a:lnTo>
                      <a:pt x="8" y="48"/>
                    </a:lnTo>
                    <a:lnTo>
                      <a:pt x="8" y="48"/>
                    </a:lnTo>
                    <a:lnTo>
                      <a:pt x="8" y="48"/>
                    </a:lnTo>
                    <a:close/>
                    <a:moveTo>
                      <a:pt x="82" y="20"/>
                    </a:moveTo>
                    <a:lnTo>
                      <a:pt x="82" y="20"/>
                    </a:lnTo>
                    <a:lnTo>
                      <a:pt x="84" y="16"/>
                    </a:lnTo>
                    <a:lnTo>
                      <a:pt x="88" y="12"/>
                    </a:lnTo>
                    <a:lnTo>
                      <a:pt x="96" y="8"/>
                    </a:lnTo>
                    <a:lnTo>
                      <a:pt x="96" y="8"/>
                    </a:lnTo>
                    <a:lnTo>
                      <a:pt x="114" y="2"/>
                    </a:lnTo>
                    <a:lnTo>
                      <a:pt x="114" y="2"/>
                    </a:lnTo>
                    <a:lnTo>
                      <a:pt x="122" y="4"/>
                    </a:lnTo>
                    <a:lnTo>
                      <a:pt x="128" y="6"/>
                    </a:lnTo>
                    <a:lnTo>
                      <a:pt x="128" y="6"/>
                    </a:lnTo>
                    <a:lnTo>
                      <a:pt x="144" y="20"/>
                    </a:lnTo>
                    <a:lnTo>
                      <a:pt x="144" y="20"/>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4" y="48"/>
                    </a:lnTo>
                    <a:lnTo>
                      <a:pt x="154" y="48"/>
                    </a:lnTo>
                    <a:lnTo>
                      <a:pt x="158" y="46"/>
                    </a:lnTo>
                    <a:lnTo>
                      <a:pt x="158" y="46"/>
                    </a:lnTo>
                    <a:lnTo>
                      <a:pt x="158" y="48"/>
                    </a:lnTo>
                    <a:lnTo>
                      <a:pt x="158" y="48"/>
                    </a:lnTo>
                    <a:lnTo>
                      <a:pt x="158" y="60"/>
                    </a:lnTo>
                    <a:lnTo>
                      <a:pt x="158" y="60"/>
                    </a:lnTo>
                    <a:lnTo>
                      <a:pt x="160" y="50"/>
                    </a:lnTo>
                    <a:lnTo>
                      <a:pt x="160" y="40"/>
                    </a:lnTo>
                    <a:lnTo>
                      <a:pt x="160" y="40"/>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4"/>
                    </a:lnTo>
                    <a:lnTo>
                      <a:pt x="184" y="62"/>
                    </a:lnTo>
                    <a:lnTo>
                      <a:pt x="182" y="68"/>
                    </a:lnTo>
                    <a:lnTo>
                      <a:pt x="182" y="68"/>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6" y="98"/>
                    </a:lnTo>
                    <a:lnTo>
                      <a:pt x="126" y="98"/>
                    </a:lnTo>
                    <a:lnTo>
                      <a:pt x="116" y="92"/>
                    </a:lnTo>
                    <a:lnTo>
                      <a:pt x="106" y="86"/>
                    </a:lnTo>
                    <a:lnTo>
                      <a:pt x="106" y="86"/>
                    </a:lnTo>
                    <a:lnTo>
                      <a:pt x="112" y="92"/>
                    </a:lnTo>
                    <a:lnTo>
                      <a:pt x="112" y="92"/>
                    </a:lnTo>
                    <a:lnTo>
                      <a:pt x="114" y="96"/>
                    </a:lnTo>
                    <a:lnTo>
                      <a:pt x="114" y="96"/>
                    </a:lnTo>
                    <a:lnTo>
                      <a:pt x="108" y="112"/>
                    </a:lnTo>
                    <a:lnTo>
                      <a:pt x="104" y="120"/>
                    </a:lnTo>
                    <a:lnTo>
                      <a:pt x="98" y="128"/>
                    </a:lnTo>
                    <a:lnTo>
                      <a:pt x="98" y="128"/>
                    </a:lnTo>
                    <a:lnTo>
                      <a:pt x="90" y="136"/>
                    </a:lnTo>
                    <a:lnTo>
                      <a:pt x="90" y="136"/>
                    </a:lnTo>
                    <a:lnTo>
                      <a:pt x="86" y="138"/>
                    </a:lnTo>
                    <a:lnTo>
                      <a:pt x="86" y="138"/>
                    </a:lnTo>
                    <a:lnTo>
                      <a:pt x="82" y="142"/>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2"/>
                    </a:lnTo>
                    <a:lnTo>
                      <a:pt x="48" y="86"/>
                    </a:lnTo>
                    <a:lnTo>
                      <a:pt x="48" y="86"/>
                    </a:lnTo>
                    <a:lnTo>
                      <a:pt x="48" y="90"/>
                    </a:lnTo>
                    <a:lnTo>
                      <a:pt x="48" y="90"/>
                    </a:lnTo>
                    <a:lnTo>
                      <a:pt x="56" y="96"/>
                    </a:lnTo>
                    <a:lnTo>
                      <a:pt x="58" y="98"/>
                    </a:lnTo>
                    <a:lnTo>
                      <a:pt x="62" y="98"/>
                    </a:lnTo>
                    <a:lnTo>
                      <a:pt x="62" y="98"/>
                    </a:lnTo>
                    <a:lnTo>
                      <a:pt x="68" y="98"/>
                    </a:lnTo>
                    <a:lnTo>
                      <a:pt x="72" y="96"/>
                    </a:lnTo>
                    <a:lnTo>
                      <a:pt x="72" y="96"/>
                    </a:lnTo>
                    <a:lnTo>
                      <a:pt x="82" y="90"/>
                    </a:lnTo>
                    <a:lnTo>
                      <a:pt x="92" y="88"/>
                    </a:lnTo>
                    <a:lnTo>
                      <a:pt x="92" y="88"/>
                    </a:lnTo>
                    <a:lnTo>
                      <a:pt x="94" y="84"/>
                    </a:lnTo>
                    <a:lnTo>
                      <a:pt x="94" y="84"/>
                    </a:lnTo>
                    <a:lnTo>
                      <a:pt x="96" y="78"/>
                    </a:lnTo>
                    <a:lnTo>
                      <a:pt x="96" y="72"/>
                    </a:lnTo>
                    <a:lnTo>
                      <a:pt x="96" y="58"/>
                    </a:lnTo>
                    <a:lnTo>
                      <a:pt x="96"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8"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6" y="22"/>
                    </a:lnTo>
                    <a:lnTo>
                      <a:pt x="78" y="22"/>
                    </a:lnTo>
                    <a:lnTo>
                      <a:pt x="86" y="20"/>
                    </a:lnTo>
                    <a:lnTo>
                      <a:pt x="86" y="20"/>
                    </a:lnTo>
                    <a:lnTo>
                      <a:pt x="90" y="20"/>
                    </a:lnTo>
                    <a:lnTo>
                      <a:pt x="90" y="20"/>
                    </a:lnTo>
                    <a:lnTo>
                      <a:pt x="82" y="20"/>
                    </a:lnTo>
                    <a:close/>
                    <a:moveTo>
                      <a:pt x="112" y="0"/>
                    </a:moveTo>
                    <a:lnTo>
                      <a:pt x="112" y="0"/>
                    </a:lnTo>
                    <a:lnTo>
                      <a:pt x="104" y="0"/>
                    </a:lnTo>
                    <a:lnTo>
                      <a:pt x="98" y="2"/>
                    </a:lnTo>
                    <a:lnTo>
                      <a:pt x="90" y="6"/>
                    </a:lnTo>
                    <a:lnTo>
                      <a:pt x="84" y="12"/>
                    </a:lnTo>
                    <a:lnTo>
                      <a:pt x="84" y="12"/>
                    </a:lnTo>
                    <a:lnTo>
                      <a:pt x="78" y="18"/>
                    </a:lnTo>
                    <a:lnTo>
                      <a:pt x="76" y="20"/>
                    </a:lnTo>
                    <a:lnTo>
                      <a:pt x="72" y="20"/>
                    </a:lnTo>
                    <a:lnTo>
                      <a:pt x="72" y="20"/>
                    </a:lnTo>
                    <a:lnTo>
                      <a:pt x="70" y="22"/>
                    </a:lnTo>
                    <a:lnTo>
                      <a:pt x="70" y="22"/>
                    </a:lnTo>
                    <a:lnTo>
                      <a:pt x="62" y="28"/>
                    </a:lnTo>
                    <a:lnTo>
                      <a:pt x="52" y="30"/>
                    </a:lnTo>
                    <a:lnTo>
                      <a:pt x="52" y="30"/>
                    </a:lnTo>
                    <a:lnTo>
                      <a:pt x="42" y="34"/>
                    </a:lnTo>
                    <a:lnTo>
                      <a:pt x="32" y="40"/>
                    </a:lnTo>
                    <a:lnTo>
                      <a:pt x="24" y="46"/>
                    </a:lnTo>
                    <a:lnTo>
                      <a:pt x="18" y="54"/>
                    </a:lnTo>
                    <a:lnTo>
                      <a:pt x="18" y="54"/>
                    </a:lnTo>
                    <a:lnTo>
                      <a:pt x="12" y="62"/>
                    </a:lnTo>
                    <a:lnTo>
                      <a:pt x="12" y="62"/>
                    </a:lnTo>
                    <a:lnTo>
                      <a:pt x="8" y="62"/>
                    </a:lnTo>
                    <a:lnTo>
                      <a:pt x="8" y="62"/>
                    </a:lnTo>
                    <a:lnTo>
                      <a:pt x="10" y="54"/>
                    </a:lnTo>
                    <a:lnTo>
                      <a:pt x="10" y="54"/>
                    </a:lnTo>
                    <a:lnTo>
                      <a:pt x="14" y="54"/>
                    </a:lnTo>
                    <a:lnTo>
                      <a:pt x="14" y="54"/>
                    </a:lnTo>
                    <a:lnTo>
                      <a:pt x="12" y="48"/>
                    </a:lnTo>
                    <a:lnTo>
                      <a:pt x="12" y="48"/>
                    </a:lnTo>
                    <a:lnTo>
                      <a:pt x="12" y="44"/>
                    </a:lnTo>
                    <a:lnTo>
                      <a:pt x="12" y="44"/>
                    </a:lnTo>
                    <a:lnTo>
                      <a:pt x="4" y="48"/>
                    </a:lnTo>
                    <a:lnTo>
                      <a:pt x="0" y="52"/>
                    </a:lnTo>
                    <a:lnTo>
                      <a:pt x="0" y="56"/>
                    </a:lnTo>
                    <a:lnTo>
                      <a:pt x="0" y="56"/>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6"/>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2"/>
                    </a:lnTo>
                    <a:lnTo>
                      <a:pt x="42" y="142"/>
                    </a:lnTo>
                    <a:lnTo>
                      <a:pt x="44" y="142"/>
                    </a:lnTo>
                    <a:lnTo>
                      <a:pt x="44" y="142"/>
                    </a:lnTo>
                    <a:lnTo>
                      <a:pt x="48" y="142"/>
                    </a:lnTo>
                    <a:lnTo>
                      <a:pt x="48" y="142"/>
                    </a:lnTo>
                    <a:lnTo>
                      <a:pt x="50" y="136"/>
                    </a:lnTo>
                    <a:lnTo>
                      <a:pt x="50" y="136"/>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6"/>
                    </a:lnTo>
                    <a:lnTo>
                      <a:pt x="80" y="146"/>
                    </a:lnTo>
                    <a:lnTo>
                      <a:pt x="84" y="144"/>
                    </a:lnTo>
                    <a:lnTo>
                      <a:pt x="88" y="142"/>
                    </a:lnTo>
                    <a:lnTo>
                      <a:pt x="88" y="142"/>
                    </a:lnTo>
                    <a:lnTo>
                      <a:pt x="96" y="132"/>
                    </a:lnTo>
                    <a:lnTo>
                      <a:pt x="96" y="132"/>
                    </a:lnTo>
                    <a:lnTo>
                      <a:pt x="100" y="132"/>
                    </a:lnTo>
                    <a:lnTo>
                      <a:pt x="100" y="132"/>
                    </a:lnTo>
                    <a:lnTo>
                      <a:pt x="116" y="132"/>
                    </a:lnTo>
                    <a:lnTo>
                      <a:pt x="116" y="132"/>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100"/>
                    </a:lnTo>
                    <a:lnTo>
                      <a:pt x="146" y="96"/>
                    </a:lnTo>
                    <a:lnTo>
                      <a:pt x="146"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8" y="58"/>
                    </a:lnTo>
                    <a:lnTo>
                      <a:pt x="186" y="46"/>
                    </a:lnTo>
                    <a:lnTo>
                      <a:pt x="186" y="46"/>
                    </a:lnTo>
                    <a:lnTo>
                      <a:pt x="184" y="36"/>
                    </a:lnTo>
                    <a:lnTo>
                      <a:pt x="182" y="28"/>
                    </a:lnTo>
                    <a:lnTo>
                      <a:pt x="182" y="28"/>
                    </a:lnTo>
                    <a:lnTo>
                      <a:pt x="180" y="24"/>
                    </a:lnTo>
                    <a:lnTo>
                      <a:pt x="176" y="24"/>
                    </a:lnTo>
                    <a:lnTo>
                      <a:pt x="176" y="24"/>
                    </a:lnTo>
                    <a:lnTo>
                      <a:pt x="172" y="24"/>
                    </a:lnTo>
                    <a:lnTo>
                      <a:pt x="170" y="28"/>
                    </a:lnTo>
                    <a:lnTo>
                      <a:pt x="170" y="28"/>
                    </a:lnTo>
                    <a:lnTo>
                      <a:pt x="164" y="30"/>
                    </a:lnTo>
                    <a:lnTo>
                      <a:pt x="164" y="30"/>
                    </a:lnTo>
                    <a:lnTo>
                      <a:pt x="162" y="32"/>
                    </a:lnTo>
                    <a:lnTo>
                      <a:pt x="162" y="32"/>
                    </a:lnTo>
                    <a:lnTo>
                      <a:pt x="160" y="30"/>
                    </a:lnTo>
                    <a:lnTo>
                      <a:pt x="160" y="30"/>
                    </a:lnTo>
                    <a:lnTo>
                      <a:pt x="156" y="24"/>
                    </a:lnTo>
                    <a:lnTo>
                      <a:pt x="152" y="20"/>
                    </a:lnTo>
                    <a:lnTo>
                      <a:pt x="152" y="20"/>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2" name="Freeform 475"/>
              <p:cNvSpPr>
                <a:spLocks/>
              </p:cNvSpPr>
              <p:nvPr/>
            </p:nvSpPr>
            <p:spPr bwMode="auto">
              <a:xfrm>
                <a:off x="1266" y="1470"/>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8 w 18"/>
                  <a:gd name="T17" fmla="*/ 8 h 26"/>
                  <a:gd name="T18" fmla="*/ 18 w 18"/>
                  <a:gd name="T19" fmla="*/ 8 h 26"/>
                  <a:gd name="T20" fmla="*/ 18 w 18"/>
                  <a:gd name="T21" fmla="*/ 22 h 26"/>
                  <a:gd name="T22" fmla="*/ 18 w 18"/>
                  <a:gd name="T23" fmla="*/ 22 h 26"/>
                  <a:gd name="T24" fmla="*/ 16 w 18"/>
                  <a:gd name="T25" fmla="*/ 26 h 26"/>
                  <a:gd name="T26" fmla="*/ 16 w 18"/>
                  <a:gd name="T27" fmla="*/ 26 h 26"/>
                  <a:gd name="T28" fmla="*/ 12 w 18"/>
                  <a:gd name="T29" fmla="*/ 26 h 26"/>
                  <a:gd name="T30" fmla="*/ 12 w 18"/>
                  <a:gd name="T31" fmla="*/ 26 h 26"/>
                  <a:gd name="T32" fmla="*/ 12 w 18"/>
                  <a:gd name="T33" fmla="*/ 26 h 26"/>
                  <a:gd name="T34" fmla="*/ 12 w 18"/>
                  <a:gd name="T35" fmla="*/ 26 h 26"/>
                  <a:gd name="T36" fmla="*/ 10 w 18"/>
                  <a:gd name="T37" fmla="*/ 26 h 26"/>
                  <a:gd name="T38" fmla="*/ 10 w 18"/>
                  <a:gd name="T39" fmla="*/ 26 h 26"/>
                  <a:gd name="T40" fmla="*/ 8 w 18"/>
                  <a:gd name="T41" fmla="*/ 26 h 26"/>
                  <a:gd name="T42" fmla="*/ 8 w 18"/>
                  <a:gd name="T43" fmla="*/ 26 h 26"/>
                  <a:gd name="T44" fmla="*/ 0 w 18"/>
                  <a:gd name="T45" fmla="*/ 26 h 26"/>
                  <a:gd name="T46" fmla="*/ 0 w 18"/>
                  <a:gd name="T47" fmla="*/ 26 h 26"/>
                  <a:gd name="T48" fmla="*/ 4 w 18"/>
                  <a:gd name="T49"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4" y="20"/>
                    </a:moveTo>
                    <a:lnTo>
                      <a:pt x="4" y="20"/>
                    </a:lnTo>
                    <a:lnTo>
                      <a:pt x="14" y="0"/>
                    </a:lnTo>
                    <a:lnTo>
                      <a:pt x="14" y="0"/>
                    </a:lnTo>
                    <a:lnTo>
                      <a:pt x="14" y="0"/>
                    </a:lnTo>
                    <a:lnTo>
                      <a:pt x="14" y="0"/>
                    </a:lnTo>
                    <a:lnTo>
                      <a:pt x="14" y="0"/>
                    </a:lnTo>
                    <a:lnTo>
                      <a:pt x="14" y="0"/>
                    </a:lnTo>
                    <a:lnTo>
                      <a:pt x="18" y="8"/>
                    </a:lnTo>
                    <a:lnTo>
                      <a:pt x="18" y="8"/>
                    </a:lnTo>
                    <a:lnTo>
                      <a:pt x="18" y="22"/>
                    </a:lnTo>
                    <a:lnTo>
                      <a:pt x="18" y="22"/>
                    </a:lnTo>
                    <a:lnTo>
                      <a:pt x="16" y="26"/>
                    </a:lnTo>
                    <a:lnTo>
                      <a:pt x="16" y="26"/>
                    </a:lnTo>
                    <a:lnTo>
                      <a:pt x="12" y="26"/>
                    </a:lnTo>
                    <a:lnTo>
                      <a:pt x="12" y="26"/>
                    </a:lnTo>
                    <a:lnTo>
                      <a:pt x="12" y="26"/>
                    </a:lnTo>
                    <a:lnTo>
                      <a:pt x="12" y="26"/>
                    </a:lnTo>
                    <a:lnTo>
                      <a:pt x="10" y="26"/>
                    </a:lnTo>
                    <a:lnTo>
                      <a:pt x="10"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3" name="Freeform 476"/>
              <p:cNvSpPr>
                <a:spLocks/>
              </p:cNvSpPr>
              <p:nvPr/>
            </p:nvSpPr>
            <p:spPr bwMode="auto">
              <a:xfrm>
                <a:off x="1170" y="1466"/>
                <a:ext cx="18" cy="22"/>
              </a:xfrm>
              <a:custGeom>
                <a:avLst/>
                <a:gdLst>
                  <a:gd name="T0" fmla="*/ 6 w 18"/>
                  <a:gd name="T1" fmla="*/ 20 h 22"/>
                  <a:gd name="T2" fmla="*/ 6 w 18"/>
                  <a:gd name="T3" fmla="*/ 20 h 22"/>
                  <a:gd name="T4" fmla="*/ 2 w 18"/>
                  <a:gd name="T5" fmla="*/ 14 h 22"/>
                  <a:gd name="T6" fmla="*/ 0 w 18"/>
                  <a:gd name="T7" fmla="*/ 8 h 22"/>
                  <a:gd name="T8" fmla="*/ 0 w 18"/>
                  <a:gd name="T9" fmla="*/ 8 h 22"/>
                  <a:gd name="T10" fmla="*/ 0 w 18"/>
                  <a:gd name="T11" fmla="*/ 4 h 22"/>
                  <a:gd name="T12" fmla="*/ 0 w 18"/>
                  <a:gd name="T13" fmla="*/ 4 h 22"/>
                  <a:gd name="T14" fmla="*/ 8 w 18"/>
                  <a:gd name="T15" fmla="*/ 0 h 22"/>
                  <a:gd name="T16" fmla="*/ 8 w 18"/>
                  <a:gd name="T17" fmla="*/ 0 h 22"/>
                  <a:gd name="T18" fmla="*/ 16 w 18"/>
                  <a:gd name="T19" fmla="*/ 16 h 22"/>
                  <a:gd name="T20" fmla="*/ 16 w 18"/>
                  <a:gd name="T21" fmla="*/ 16 h 22"/>
                  <a:gd name="T22" fmla="*/ 18 w 18"/>
                  <a:gd name="T23" fmla="*/ 20 h 22"/>
                  <a:gd name="T24" fmla="*/ 16 w 18"/>
                  <a:gd name="T25" fmla="*/ 22 h 22"/>
                  <a:gd name="T26" fmla="*/ 16 w 18"/>
                  <a:gd name="T27" fmla="*/ 22 h 22"/>
                  <a:gd name="T28" fmla="*/ 14 w 18"/>
                  <a:gd name="T29" fmla="*/ 22 h 22"/>
                  <a:gd name="T30" fmla="*/ 14 w 18"/>
                  <a:gd name="T31" fmla="*/ 22 h 22"/>
                  <a:gd name="T32" fmla="*/ 12 w 18"/>
                  <a:gd name="T33" fmla="*/ 22 h 22"/>
                  <a:gd name="T34" fmla="*/ 12 w 18"/>
                  <a:gd name="T35" fmla="*/ 22 h 22"/>
                  <a:gd name="T36" fmla="*/ 6 w 18"/>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6" y="20"/>
                    </a:moveTo>
                    <a:lnTo>
                      <a:pt x="6" y="20"/>
                    </a:lnTo>
                    <a:lnTo>
                      <a:pt x="2" y="14"/>
                    </a:lnTo>
                    <a:lnTo>
                      <a:pt x="0" y="8"/>
                    </a:lnTo>
                    <a:lnTo>
                      <a:pt x="0" y="8"/>
                    </a:lnTo>
                    <a:lnTo>
                      <a:pt x="0" y="4"/>
                    </a:lnTo>
                    <a:lnTo>
                      <a:pt x="0" y="4"/>
                    </a:lnTo>
                    <a:lnTo>
                      <a:pt x="8" y="0"/>
                    </a:lnTo>
                    <a:lnTo>
                      <a:pt x="8" y="0"/>
                    </a:lnTo>
                    <a:lnTo>
                      <a:pt x="16" y="16"/>
                    </a:lnTo>
                    <a:lnTo>
                      <a:pt x="16" y="16"/>
                    </a:lnTo>
                    <a:lnTo>
                      <a:pt x="18" y="20"/>
                    </a:lnTo>
                    <a:lnTo>
                      <a:pt x="16" y="22"/>
                    </a:lnTo>
                    <a:lnTo>
                      <a:pt x="16" y="22"/>
                    </a:lnTo>
                    <a:lnTo>
                      <a:pt x="14" y="22"/>
                    </a:lnTo>
                    <a:lnTo>
                      <a:pt x="14" y="22"/>
                    </a:lnTo>
                    <a:lnTo>
                      <a:pt x="12" y="22"/>
                    </a:lnTo>
                    <a:lnTo>
                      <a:pt x="12" y="22"/>
                    </a:lnTo>
                    <a:lnTo>
                      <a:pt x="6"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4" name="Freeform 477"/>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2 h 20"/>
                  <a:gd name="T22" fmla="*/ 6 w 12"/>
                  <a:gd name="T23" fmla="*/ 2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8 h 20"/>
                  <a:gd name="T38" fmla="*/ 8 w 12"/>
                  <a:gd name="T39" fmla="*/ 18 h 20"/>
                  <a:gd name="T40" fmla="*/ 10 w 12"/>
                  <a:gd name="T41" fmla="*/ 16 h 20"/>
                  <a:gd name="T42" fmla="*/ 10 w 12"/>
                  <a:gd name="T43" fmla="*/ 16 h 20"/>
                  <a:gd name="T44" fmla="*/ 12 w 12"/>
                  <a:gd name="T45" fmla="*/ 16 h 20"/>
                  <a:gd name="T46" fmla="*/ 12 w 12"/>
                  <a:gd name="T47" fmla="*/ 16 h 20"/>
                  <a:gd name="T48" fmla="*/ 12 w 12"/>
                  <a:gd name="T49" fmla="*/ 16 h 20"/>
                  <a:gd name="T50" fmla="*/ 12 w 12"/>
                  <a:gd name="T51" fmla="*/ 16 h 20"/>
                  <a:gd name="T52" fmla="*/ 12 w 12"/>
                  <a:gd name="T53" fmla="*/ 16 h 20"/>
                  <a:gd name="T54" fmla="*/ 12 w 12"/>
                  <a:gd name="T55" fmla="*/ 16 h 20"/>
                  <a:gd name="T56" fmla="*/ 10 w 12"/>
                  <a:gd name="T57" fmla="*/ 20 h 20"/>
                  <a:gd name="T58" fmla="*/ 10 w 12"/>
                  <a:gd name="T59" fmla="*/ 20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4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4" y="12"/>
                    </a:lnTo>
                    <a:lnTo>
                      <a:pt x="4" y="12"/>
                    </a:lnTo>
                    <a:lnTo>
                      <a:pt x="4" y="16"/>
                    </a:lnTo>
                    <a:lnTo>
                      <a:pt x="4" y="16"/>
                    </a:lnTo>
                    <a:lnTo>
                      <a:pt x="4" y="16"/>
                    </a:lnTo>
                    <a:lnTo>
                      <a:pt x="4" y="16"/>
                    </a:lnTo>
                    <a:lnTo>
                      <a:pt x="8" y="18"/>
                    </a:lnTo>
                    <a:lnTo>
                      <a:pt x="8" y="18"/>
                    </a:lnTo>
                    <a:lnTo>
                      <a:pt x="10" y="16"/>
                    </a:lnTo>
                    <a:lnTo>
                      <a:pt x="10" y="16"/>
                    </a:lnTo>
                    <a:lnTo>
                      <a:pt x="12" y="16"/>
                    </a:lnTo>
                    <a:lnTo>
                      <a:pt x="12" y="16"/>
                    </a:lnTo>
                    <a:lnTo>
                      <a:pt x="12" y="16"/>
                    </a:lnTo>
                    <a:lnTo>
                      <a:pt x="12" y="16"/>
                    </a:lnTo>
                    <a:lnTo>
                      <a:pt x="12" y="16"/>
                    </a:lnTo>
                    <a:lnTo>
                      <a:pt x="12" y="16"/>
                    </a:lnTo>
                    <a:lnTo>
                      <a:pt x="10" y="20"/>
                    </a:lnTo>
                    <a:lnTo>
                      <a:pt x="10" y="20"/>
                    </a:lnTo>
                    <a:lnTo>
                      <a:pt x="6" y="20"/>
                    </a:lnTo>
                    <a:lnTo>
                      <a:pt x="6" y="20"/>
                    </a:lnTo>
                    <a:lnTo>
                      <a:pt x="4" y="20"/>
                    </a:lnTo>
                    <a:lnTo>
                      <a:pt x="4" y="20"/>
                    </a:lnTo>
                    <a:lnTo>
                      <a:pt x="4" y="20"/>
                    </a:lnTo>
                    <a:lnTo>
                      <a:pt x="4" y="20"/>
                    </a:lnTo>
                    <a:lnTo>
                      <a:pt x="0" y="14"/>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5" name="Freeform 478"/>
              <p:cNvSpPr>
                <a:spLocks/>
              </p:cNvSpPr>
              <p:nvPr/>
            </p:nvSpPr>
            <p:spPr bwMode="auto">
              <a:xfrm>
                <a:off x="1178" y="1368"/>
                <a:ext cx="170" cy="140"/>
              </a:xfrm>
              <a:custGeom>
                <a:avLst/>
                <a:gdLst>
                  <a:gd name="T0" fmla="*/ 74 w 170"/>
                  <a:gd name="T1" fmla="*/ 10 h 140"/>
                  <a:gd name="T2" fmla="*/ 100 w 170"/>
                  <a:gd name="T3" fmla="*/ 0 h 140"/>
                  <a:gd name="T4" fmla="*/ 130 w 170"/>
                  <a:gd name="T5" fmla="*/ 18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6 w 170"/>
                  <a:gd name="T25" fmla="*/ 36 h 140"/>
                  <a:gd name="T26" fmla="*/ 158 w 170"/>
                  <a:gd name="T27" fmla="*/ 26 h 140"/>
                  <a:gd name="T28" fmla="*/ 164 w 170"/>
                  <a:gd name="T29" fmla="*/ 28 h 140"/>
                  <a:gd name="T30" fmla="*/ 170 w 170"/>
                  <a:gd name="T31" fmla="*/ 52 h 140"/>
                  <a:gd name="T32" fmla="*/ 164 w 170"/>
                  <a:gd name="T33" fmla="*/ 76 h 140"/>
                  <a:gd name="T34" fmla="*/ 144 w 170"/>
                  <a:gd name="T35" fmla="*/ 86 h 140"/>
                  <a:gd name="T36" fmla="*/ 116 w 170"/>
                  <a:gd name="T37" fmla="*/ 80 h 140"/>
                  <a:gd name="T38" fmla="*/ 116 w 170"/>
                  <a:gd name="T39" fmla="*/ 96 h 140"/>
                  <a:gd name="T40" fmla="*/ 120 w 170"/>
                  <a:gd name="T41" fmla="*/ 98 h 140"/>
                  <a:gd name="T42" fmla="*/ 128 w 170"/>
                  <a:gd name="T43" fmla="*/ 88 h 140"/>
                  <a:gd name="T44" fmla="*/ 130 w 170"/>
                  <a:gd name="T45" fmla="*/ 92 h 140"/>
                  <a:gd name="T46" fmla="*/ 122 w 170"/>
                  <a:gd name="T47" fmla="*/ 98 h 140"/>
                  <a:gd name="T48" fmla="*/ 112 w 170"/>
                  <a:gd name="T49" fmla="*/ 96 h 140"/>
                  <a:gd name="T50" fmla="*/ 92 w 170"/>
                  <a:gd name="T51" fmla="*/ 84 h 140"/>
                  <a:gd name="T52" fmla="*/ 100 w 170"/>
                  <a:gd name="T53" fmla="*/ 94 h 140"/>
                  <a:gd name="T54" fmla="*/ 84 w 170"/>
                  <a:gd name="T55" fmla="*/ 126 h 140"/>
                  <a:gd name="T56" fmla="*/ 72 w 170"/>
                  <a:gd name="T57" fmla="*/ 136 h 140"/>
                  <a:gd name="T58" fmla="*/ 62 w 170"/>
                  <a:gd name="T59" fmla="*/ 138 h 140"/>
                  <a:gd name="T60" fmla="*/ 54 w 170"/>
                  <a:gd name="T61" fmla="*/ 122 h 140"/>
                  <a:gd name="T62" fmla="*/ 64 w 170"/>
                  <a:gd name="T63" fmla="*/ 116 h 140"/>
                  <a:gd name="T64" fmla="*/ 60 w 170"/>
                  <a:gd name="T65" fmla="*/ 112 h 140"/>
                  <a:gd name="T66" fmla="*/ 52 w 170"/>
                  <a:gd name="T67" fmla="*/ 114 h 140"/>
                  <a:gd name="T68" fmla="*/ 40 w 170"/>
                  <a:gd name="T69" fmla="*/ 112 h 140"/>
                  <a:gd name="T70" fmla="*/ 38 w 170"/>
                  <a:gd name="T71" fmla="*/ 110 h 140"/>
                  <a:gd name="T72" fmla="*/ 34 w 170"/>
                  <a:gd name="T73" fmla="*/ 128 h 140"/>
                  <a:gd name="T74" fmla="*/ 32 w 170"/>
                  <a:gd name="T75" fmla="*/ 134 h 140"/>
                  <a:gd name="T76" fmla="*/ 12 w 170"/>
                  <a:gd name="T77" fmla="*/ 134 h 140"/>
                  <a:gd name="T78" fmla="*/ 10 w 170"/>
                  <a:gd name="T79" fmla="*/ 128 h 140"/>
                  <a:gd name="T80" fmla="*/ 12 w 170"/>
                  <a:gd name="T81" fmla="*/ 116 h 140"/>
                  <a:gd name="T82" fmla="*/ 2 w 170"/>
                  <a:gd name="T83" fmla="*/ 94 h 140"/>
                  <a:gd name="T84" fmla="*/ 2 w 170"/>
                  <a:gd name="T85" fmla="*/ 66 h 140"/>
                  <a:gd name="T86" fmla="*/ 16 w 170"/>
                  <a:gd name="T87" fmla="*/ 44 h 140"/>
                  <a:gd name="T88" fmla="*/ 44 w 170"/>
                  <a:gd name="T89" fmla="*/ 32 h 140"/>
                  <a:gd name="T90" fmla="*/ 30 w 170"/>
                  <a:gd name="T91" fmla="*/ 52 h 140"/>
                  <a:gd name="T92" fmla="*/ 28 w 170"/>
                  <a:gd name="T93" fmla="*/ 66 h 140"/>
                  <a:gd name="T94" fmla="*/ 36 w 170"/>
                  <a:gd name="T95" fmla="*/ 80 h 140"/>
                  <a:gd name="T96" fmla="*/ 34 w 170"/>
                  <a:gd name="T97" fmla="*/ 88 h 140"/>
                  <a:gd name="T98" fmla="*/ 48 w 170"/>
                  <a:gd name="T99" fmla="*/ 96 h 140"/>
                  <a:gd name="T100" fmla="*/ 68 w 170"/>
                  <a:gd name="T101" fmla="*/ 88 h 140"/>
                  <a:gd name="T102" fmla="*/ 80 w 170"/>
                  <a:gd name="T103" fmla="*/ 82 h 140"/>
                  <a:gd name="T104" fmla="*/ 82 w 170"/>
                  <a:gd name="T105" fmla="*/ 56 h 140"/>
                  <a:gd name="T106" fmla="*/ 78 w 170"/>
                  <a:gd name="T107" fmla="*/ 58 h 140"/>
                  <a:gd name="T108" fmla="*/ 72 w 170"/>
                  <a:gd name="T109" fmla="*/ 84 h 140"/>
                  <a:gd name="T110" fmla="*/ 58 w 170"/>
                  <a:gd name="T111" fmla="*/ 90 h 140"/>
                  <a:gd name="T112" fmla="*/ 38 w 170"/>
                  <a:gd name="T113" fmla="*/ 88 h 140"/>
                  <a:gd name="T114" fmla="*/ 38 w 170"/>
                  <a:gd name="T115" fmla="*/ 82 h 140"/>
                  <a:gd name="T116" fmla="*/ 44 w 170"/>
                  <a:gd name="T117" fmla="*/ 66 h 140"/>
                  <a:gd name="T118" fmla="*/ 30 w 170"/>
                  <a:gd name="T119" fmla="*/ 64 h 140"/>
                  <a:gd name="T120" fmla="*/ 36 w 170"/>
                  <a:gd name="T121" fmla="*/ 46 h 140"/>
                  <a:gd name="T122" fmla="*/ 62 w 170"/>
                  <a:gd name="T123" fmla="*/ 20 h 140"/>
                  <a:gd name="T124" fmla="*/ 76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8"/>
                    </a:moveTo>
                    <a:lnTo>
                      <a:pt x="68" y="18"/>
                    </a:lnTo>
                    <a:lnTo>
                      <a:pt x="70" y="14"/>
                    </a:lnTo>
                    <a:lnTo>
                      <a:pt x="74" y="10"/>
                    </a:lnTo>
                    <a:lnTo>
                      <a:pt x="82" y="6"/>
                    </a:lnTo>
                    <a:lnTo>
                      <a:pt x="82" y="6"/>
                    </a:lnTo>
                    <a:lnTo>
                      <a:pt x="100" y="0"/>
                    </a:lnTo>
                    <a:lnTo>
                      <a:pt x="100" y="0"/>
                    </a:lnTo>
                    <a:lnTo>
                      <a:pt x="108" y="2"/>
                    </a:lnTo>
                    <a:lnTo>
                      <a:pt x="114" y="4"/>
                    </a:lnTo>
                    <a:lnTo>
                      <a:pt x="114" y="4"/>
                    </a:lnTo>
                    <a:lnTo>
                      <a:pt x="130" y="18"/>
                    </a:lnTo>
                    <a:lnTo>
                      <a:pt x="130" y="18"/>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4"/>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0" y="46"/>
                    </a:lnTo>
                    <a:lnTo>
                      <a:pt x="140" y="46"/>
                    </a:lnTo>
                    <a:lnTo>
                      <a:pt x="144" y="44"/>
                    </a:lnTo>
                    <a:lnTo>
                      <a:pt x="144" y="44"/>
                    </a:lnTo>
                    <a:lnTo>
                      <a:pt x="144" y="46"/>
                    </a:lnTo>
                    <a:lnTo>
                      <a:pt x="144" y="46"/>
                    </a:lnTo>
                    <a:lnTo>
                      <a:pt x="144" y="58"/>
                    </a:lnTo>
                    <a:lnTo>
                      <a:pt x="144" y="58"/>
                    </a:lnTo>
                    <a:lnTo>
                      <a:pt x="146" y="48"/>
                    </a:lnTo>
                    <a:lnTo>
                      <a:pt x="146" y="38"/>
                    </a:lnTo>
                    <a:lnTo>
                      <a:pt x="146" y="38"/>
                    </a:lnTo>
                    <a:lnTo>
                      <a:pt x="146" y="36"/>
                    </a:lnTo>
                    <a:lnTo>
                      <a:pt x="148" y="34"/>
                    </a:lnTo>
                    <a:lnTo>
                      <a:pt x="148" y="34"/>
                    </a:lnTo>
                    <a:lnTo>
                      <a:pt x="154" y="32"/>
                    </a:lnTo>
                    <a:lnTo>
                      <a:pt x="158" y="26"/>
                    </a:lnTo>
                    <a:lnTo>
                      <a:pt x="158" y="26"/>
                    </a:lnTo>
                    <a:lnTo>
                      <a:pt x="162" y="24"/>
                    </a:lnTo>
                    <a:lnTo>
                      <a:pt x="162" y="24"/>
                    </a:lnTo>
                    <a:lnTo>
                      <a:pt x="164" y="28"/>
                    </a:lnTo>
                    <a:lnTo>
                      <a:pt x="164" y="28"/>
                    </a:lnTo>
                    <a:lnTo>
                      <a:pt x="168" y="38"/>
                    </a:lnTo>
                    <a:lnTo>
                      <a:pt x="168" y="38"/>
                    </a:lnTo>
                    <a:lnTo>
                      <a:pt x="170" y="52"/>
                    </a:lnTo>
                    <a:lnTo>
                      <a:pt x="170" y="60"/>
                    </a:lnTo>
                    <a:lnTo>
                      <a:pt x="168" y="66"/>
                    </a:lnTo>
                    <a:lnTo>
                      <a:pt x="168" y="66"/>
                    </a:lnTo>
                    <a:lnTo>
                      <a:pt x="164" y="76"/>
                    </a:lnTo>
                    <a:lnTo>
                      <a:pt x="158" y="82"/>
                    </a:lnTo>
                    <a:lnTo>
                      <a:pt x="152" y="84"/>
                    </a:lnTo>
                    <a:lnTo>
                      <a:pt x="144" y="86"/>
                    </a:lnTo>
                    <a:lnTo>
                      <a:pt x="144" y="86"/>
                    </a:lnTo>
                    <a:lnTo>
                      <a:pt x="136" y="84"/>
                    </a:lnTo>
                    <a:lnTo>
                      <a:pt x="136" y="84"/>
                    </a:lnTo>
                    <a:lnTo>
                      <a:pt x="126" y="82"/>
                    </a:lnTo>
                    <a:lnTo>
                      <a:pt x="116" y="80"/>
                    </a:lnTo>
                    <a:lnTo>
                      <a:pt x="116" y="80"/>
                    </a:lnTo>
                    <a:lnTo>
                      <a:pt x="114" y="92"/>
                    </a:lnTo>
                    <a:lnTo>
                      <a:pt x="114" y="92"/>
                    </a:lnTo>
                    <a:lnTo>
                      <a:pt x="116" y="96"/>
                    </a:lnTo>
                    <a:lnTo>
                      <a:pt x="118" y="96"/>
                    </a:lnTo>
                    <a:lnTo>
                      <a:pt x="118" y="96"/>
                    </a:lnTo>
                    <a:lnTo>
                      <a:pt x="120" y="98"/>
                    </a:lnTo>
                    <a:lnTo>
                      <a:pt x="120" y="98"/>
                    </a:lnTo>
                    <a:lnTo>
                      <a:pt x="124" y="96"/>
                    </a:lnTo>
                    <a:lnTo>
                      <a:pt x="124" y="96"/>
                    </a:lnTo>
                    <a:lnTo>
                      <a:pt x="126" y="92"/>
                    </a:lnTo>
                    <a:lnTo>
                      <a:pt x="128" y="88"/>
                    </a:lnTo>
                    <a:lnTo>
                      <a:pt x="128" y="88"/>
                    </a:lnTo>
                    <a:lnTo>
                      <a:pt x="130" y="88"/>
                    </a:lnTo>
                    <a:lnTo>
                      <a:pt x="130" y="88"/>
                    </a:lnTo>
                    <a:lnTo>
                      <a:pt x="130" y="92"/>
                    </a:lnTo>
                    <a:lnTo>
                      <a:pt x="128" y="94"/>
                    </a:lnTo>
                    <a:lnTo>
                      <a:pt x="126" y="98"/>
                    </a:lnTo>
                    <a:lnTo>
                      <a:pt x="122" y="98"/>
                    </a:lnTo>
                    <a:lnTo>
                      <a:pt x="122" y="98"/>
                    </a:lnTo>
                    <a:lnTo>
                      <a:pt x="118" y="100"/>
                    </a:lnTo>
                    <a:lnTo>
                      <a:pt x="118" y="100"/>
                    </a:lnTo>
                    <a:lnTo>
                      <a:pt x="114" y="98"/>
                    </a:lnTo>
                    <a:lnTo>
                      <a:pt x="112" y="96"/>
                    </a:lnTo>
                    <a:lnTo>
                      <a:pt x="112" y="96"/>
                    </a:lnTo>
                    <a:lnTo>
                      <a:pt x="102" y="90"/>
                    </a:lnTo>
                    <a:lnTo>
                      <a:pt x="92" y="84"/>
                    </a:lnTo>
                    <a:lnTo>
                      <a:pt x="92" y="84"/>
                    </a:lnTo>
                    <a:lnTo>
                      <a:pt x="98" y="90"/>
                    </a:lnTo>
                    <a:lnTo>
                      <a:pt x="98" y="90"/>
                    </a:lnTo>
                    <a:lnTo>
                      <a:pt x="100" y="94"/>
                    </a:lnTo>
                    <a:lnTo>
                      <a:pt x="100" y="94"/>
                    </a:lnTo>
                    <a:lnTo>
                      <a:pt x="94" y="110"/>
                    </a:lnTo>
                    <a:lnTo>
                      <a:pt x="90" y="118"/>
                    </a:lnTo>
                    <a:lnTo>
                      <a:pt x="84" y="126"/>
                    </a:lnTo>
                    <a:lnTo>
                      <a:pt x="84" y="126"/>
                    </a:lnTo>
                    <a:lnTo>
                      <a:pt x="76" y="134"/>
                    </a:lnTo>
                    <a:lnTo>
                      <a:pt x="76" y="134"/>
                    </a:lnTo>
                    <a:lnTo>
                      <a:pt x="72" y="136"/>
                    </a:lnTo>
                    <a:lnTo>
                      <a:pt x="72" y="136"/>
                    </a:lnTo>
                    <a:lnTo>
                      <a:pt x="68" y="140"/>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2" y="110"/>
                    </a:lnTo>
                    <a:lnTo>
                      <a:pt x="60" y="112"/>
                    </a:lnTo>
                    <a:lnTo>
                      <a:pt x="56" y="114"/>
                    </a:lnTo>
                    <a:lnTo>
                      <a:pt x="56" y="114"/>
                    </a:lnTo>
                    <a:lnTo>
                      <a:pt x="52" y="114"/>
                    </a:lnTo>
                    <a:lnTo>
                      <a:pt x="52" y="114"/>
                    </a:lnTo>
                    <a:lnTo>
                      <a:pt x="46" y="114"/>
                    </a:lnTo>
                    <a:lnTo>
                      <a:pt x="46" y="114"/>
                    </a:lnTo>
                    <a:lnTo>
                      <a:pt x="42" y="112"/>
                    </a:lnTo>
                    <a:lnTo>
                      <a:pt x="40" y="112"/>
                    </a:lnTo>
                    <a:lnTo>
                      <a:pt x="38" y="108"/>
                    </a:lnTo>
                    <a:lnTo>
                      <a:pt x="38" y="108"/>
                    </a:lnTo>
                    <a:lnTo>
                      <a:pt x="38" y="110"/>
                    </a:lnTo>
                    <a:lnTo>
                      <a:pt x="38" y="110"/>
                    </a:lnTo>
                    <a:lnTo>
                      <a:pt x="38" y="112"/>
                    </a:lnTo>
                    <a:lnTo>
                      <a:pt x="38" y="112"/>
                    </a:lnTo>
                    <a:lnTo>
                      <a:pt x="38" y="120"/>
                    </a:lnTo>
                    <a:lnTo>
                      <a:pt x="34" y="128"/>
                    </a:lnTo>
                    <a:lnTo>
                      <a:pt x="34" y="128"/>
                    </a:lnTo>
                    <a:lnTo>
                      <a:pt x="34" y="130"/>
                    </a:lnTo>
                    <a:lnTo>
                      <a:pt x="32" y="134"/>
                    </a:lnTo>
                    <a:lnTo>
                      <a:pt x="32" y="134"/>
                    </a:lnTo>
                    <a:lnTo>
                      <a:pt x="32" y="136"/>
                    </a:lnTo>
                    <a:lnTo>
                      <a:pt x="30" y="136"/>
                    </a:lnTo>
                    <a:lnTo>
                      <a:pt x="30" y="136"/>
                    </a:lnTo>
                    <a:lnTo>
                      <a:pt x="12" y="134"/>
                    </a:lnTo>
                    <a:lnTo>
                      <a:pt x="12" y="134"/>
                    </a:lnTo>
                    <a:lnTo>
                      <a:pt x="10" y="132"/>
                    </a:lnTo>
                    <a:lnTo>
                      <a:pt x="10" y="128"/>
                    </a:lnTo>
                    <a:lnTo>
                      <a:pt x="10" y="128"/>
                    </a:lnTo>
                    <a:lnTo>
                      <a:pt x="12" y="124"/>
                    </a:lnTo>
                    <a:lnTo>
                      <a:pt x="12" y="120"/>
                    </a:lnTo>
                    <a:lnTo>
                      <a:pt x="12" y="120"/>
                    </a:lnTo>
                    <a:lnTo>
                      <a:pt x="12" y="116"/>
                    </a:lnTo>
                    <a:lnTo>
                      <a:pt x="12" y="112"/>
                    </a:lnTo>
                    <a:lnTo>
                      <a:pt x="12" y="112"/>
                    </a:lnTo>
                    <a:lnTo>
                      <a:pt x="6" y="104"/>
                    </a:lnTo>
                    <a:lnTo>
                      <a:pt x="2" y="94"/>
                    </a:lnTo>
                    <a:lnTo>
                      <a:pt x="0" y="86"/>
                    </a:lnTo>
                    <a:lnTo>
                      <a:pt x="0" y="76"/>
                    </a:lnTo>
                    <a:lnTo>
                      <a:pt x="0" y="76"/>
                    </a:lnTo>
                    <a:lnTo>
                      <a:pt x="2" y="66"/>
                    </a:lnTo>
                    <a:lnTo>
                      <a:pt x="4" y="58"/>
                    </a:lnTo>
                    <a:lnTo>
                      <a:pt x="10" y="50"/>
                    </a:lnTo>
                    <a:lnTo>
                      <a:pt x="16" y="44"/>
                    </a:lnTo>
                    <a:lnTo>
                      <a:pt x="16" y="44"/>
                    </a:lnTo>
                    <a:lnTo>
                      <a:pt x="28" y="36"/>
                    </a:lnTo>
                    <a:lnTo>
                      <a:pt x="42" y="32"/>
                    </a:lnTo>
                    <a:lnTo>
                      <a:pt x="42" y="32"/>
                    </a:lnTo>
                    <a:lnTo>
                      <a:pt x="44" y="32"/>
                    </a:lnTo>
                    <a:lnTo>
                      <a:pt x="44" y="32"/>
                    </a:lnTo>
                    <a:lnTo>
                      <a:pt x="32" y="48"/>
                    </a:lnTo>
                    <a:lnTo>
                      <a:pt x="32" y="48"/>
                    </a:lnTo>
                    <a:lnTo>
                      <a:pt x="30" y="52"/>
                    </a:lnTo>
                    <a:lnTo>
                      <a:pt x="28" y="58"/>
                    </a:lnTo>
                    <a:lnTo>
                      <a:pt x="28" y="58"/>
                    </a:lnTo>
                    <a:lnTo>
                      <a:pt x="26" y="62"/>
                    </a:lnTo>
                    <a:lnTo>
                      <a:pt x="28" y="66"/>
                    </a:lnTo>
                    <a:lnTo>
                      <a:pt x="32" y="72"/>
                    </a:lnTo>
                    <a:lnTo>
                      <a:pt x="32" y="72"/>
                    </a:lnTo>
                    <a:lnTo>
                      <a:pt x="34" y="78"/>
                    </a:lnTo>
                    <a:lnTo>
                      <a:pt x="36" y="80"/>
                    </a:lnTo>
                    <a:lnTo>
                      <a:pt x="34" y="84"/>
                    </a:lnTo>
                    <a:lnTo>
                      <a:pt x="34" y="84"/>
                    </a:lnTo>
                    <a:lnTo>
                      <a:pt x="34" y="88"/>
                    </a:lnTo>
                    <a:lnTo>
                      <a:pt x="34" y="88"/>
                    </a:lnTo>
                    <a:lnTo>
                      <a:pt x="42" y="94"/>
                    </a:lnTo>
                    <a:lnTo>
                      <a:pt x="44" y="96"/>
                    </a:lnTo>
                    <a:lnTo>
                      <a:pt x="48" y="96"/>
                    </a:lnTo>
                    <a:lnTo>
                      <a:pt x="48" y="96"/>
                    </a:lnTo>
                    <a:lnTo>
                      <a:pt x="54" y="96"/>
                    </a:lnTo>
                    <a:lnTo>
                      <a:pt x="58" y="94"/>
                    </a:lnTo>
                    <a:lnTo>
                      <a:pt x="58" y="94"/>
                    </a:lnTo>
                    <a:lnTo>
                      <a:pt x="68" y="88"/>
                    </a:lnTo>
                    <a:lnTo>
                      <a:pt x="78" y="86"/>
                    </a:lnTo>
                    <a:lnTo>
                      <a:pt x="78" y="86"/>
                    </a:lnTo>
                    <a:lnTo>
                      <a:pt x="80" y="82"/>
                    </a:lnTo>
                    <a:lnTo>
                      <a:pt x="80" y="82"/>
                    </a:lnTo>
                    <a:lnTo>
                      <a:pt x="82" y="76"/>
                    </a:lnTo>
                    <a:lnTo>
                      <a:pt x="82" y="70"/>
                    </a:lnTo>
                    <a:lnTo>
                      <a:pt x="82" y="56"/>
                    </a:lnTo>
                    <a:lnTo>
                      <a:pt x="82" y="56"/>
                    </a:lnTo>
                    <a:lnTo>
                      <a:pt x="78" y="40"/>
                    </a:lnTo>
                    <a:lnTo>
                      <a:pt x="78" y="40"/>
                    </a:lnTo>
                    <a:lnTo>
                      <a:pt x="78" y="58"/>
                    </a:lnTo>
                    <a:lnTo>
                      <a:pt x="78" y="58"/>
                    </a:lnTo>
                    <a:lnTo>
                      <a:pt x="78" y="78"/>
                    </a:lnTo>
                    <a:lnTo>
                      <a:pt x="78" y="78"/>
                    </a:lnTo>
                    <a:lnTo>
                      <a:pt x="76" y="82"/>
                    </a:lnTo>
                    <a:lnTo>
                      <a:pt x="72" y="84"/>
                    </a:lnTo>
                    <a:lnTo>
                      <a:pt x="72" y="84"/>
                    </a:lnTo>
                    <a:lnTo>
                      <a:pt x="64" y="86"/>
                    </a:lnTo>
                    <a:lnTo>
                      <a:pt x="58" y="90"/>
                    </a:lnTo>
                    <a:lnTo>
                      <a:pt x="58" y="90"/>
                    </a:lnTo>
                    <a:lnTo>
                      <a:pt x="48" y="92"/>
                    </a:lnTo>
                    <a:lnTo>
                      <a:pt x="48" y="92"/>
                    </a:lnTo>
                    <a:lnTo>
                      <a:pt x="44" y="92"/>
                    </a:lnTo>
                    <a:lnTo>
                      <a:pt x="38" y="88"/>
                    </a:lnTo>
                    <a:lnTo>
                      <a:pt x="38" y="88"/>
                    </a:lnTo>
                    <a:lnTo>
                      <a:pt x="38" y="84"/>
                    </a:lnTo>
                    <a:lnTo>
                      <a:pt x="38" y="82"/>
                    </a:lnTo>
                    <a:lnTo>
                      <a:pt x="38" y="82"/>
                    </a:lnTo>
                    <a:lnTo>
                      <a:pt x="42" y="74"/>
                    </a:lnTo>
                    <a:lnTo>
                      <a:pt x="42" y="74"/>
                    </a:lnTo>
                    <a:lnTo>
                      <a:pt x="44" y="66"/>
                    </a:lnTo>
                    <a:lnTo>
                      <a:pt x="44" y="66"/>
                    </a:lnTo>
                    <a:lnTo>
                      <a:pt x="38" y="74"/>
                    </a:lnTo>
                    <a:lnTo>
                      <a:pt x="38" y="74"/>
                    </a:lnTo>
                    <a:lnTo>
                      <a:pt x="30" y="64"/>
                    </a:lnTo>
                    <a:lnTo>
                      <a:pt x="30" y="64"/>
                    </a:lnTo>
                    <a:lnTo>
                      <a:pt x="30" y="60"/>
                    </a:lnTo>
                    <a:lnTo>
                      <a:pt x="30" y="60"/>
                    </a:lnTo>
                    <a:lnTo>
                      <a:pt x="32" y="54"/>
                    </a:lnTo>
                    <a:lnTo>
                      <a:pt x="36" y="46"/>
                    </a:lnTo>
                    <a:lnTo>
                      <a:pt x="36" y="46"/>
                    </a:lnTo>
                    <a:lnTo>
                      <a:pt x="58" y="24"/>
                    </a:lnTo>
                    <a:lnTo>
                      <a:pt x="58" y="24"/>
                    </a:lnTo>
                    <a:lnTo>
                      <a:pt x="62" y="20"/>
                    </a:lnTo>
                    <a:lnTo>
                      <a:pt x="64" y="20"/>
                    </a:lnTo>
                    <a:lnTo>
                      <a:pt x="72" y="18"/>
                    </a:lnTo>
                    <a:lnTo>
                      <a:pt x="72" y="18"/>
                    </a:lnTo>
                    <a:lnTo>
                      <a:pt x="76" y="18"/>
                    </a:lnTo>
                    <a:lnTo>
                      <a:pt x="76" y="18"/>
                    </a:lnTo>
                    <a:lnTo>
                      <a:pt x="68"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6" name="Freeform 479"/>
              <p:cNvSpPr>
                <a:spLocks/>
              </p:cNvSpPr>
              <p:nvPr/>
            </p:nvSpPr>
            <p:spPr bwMode="auto">
              <a:xfrm>
                <a:off x="1164" y="1366"/>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0 h 146"/>
                  <a:gd name="T10" fmla="*/ 32 w 188"/>
                  <a:gd name="T11" fmla="*/ 40 h 146"/>
                  <a:gd name="T12" fmla="*/ 18 w 188"/>
                  <a:gd name="T13" fmla="*/ 54 h 146"/>
                  <a:gd name="T14" fmla="*/ 8 w 188"/>
                  <a:gd name="T15" fmla="*/ 62 h 146"/>
                  <a:gd name="T16" fmla="*/ 10 w 188"/>
                  <a:gd name="T17" fmla="*/ 54 h 146"/>
                  <a:gd name="T18" fmla="*/ 12 w 188"/>
                  <a:gd name="T19" fmla="*/ 48 h 146"/>
                  <a:gd name="T20" fmla="*/ 12 w 188"/>
                  <a:gd name="T21" fmla="*/ 44 h 146"/>
                  <a:gd name="T22" fmla="*/ 0 w 188"/>
                  <a:gd name="T23" fmla="*/ 56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6 h 146"/>
                  <a:gd name="T36" fmla="*/ 16 w 188"/>
                  <a:gd name="T37" fmla="*/ 124 h 146"/>
                  <a:gd name="T38" fmla="*/ 20 w 188"/>
                  <a:gd name="T39" fmla="*/ 130 h 146"/>
                  <a:gd name="T40" fmla="*/ 22 w 188"/>
                  <a:gd name="T41" fmla="*/ 138 h 146"/>
                  <a:gd name="T42" fmla="*/ 34 w 188"/>
                  <a:gd name="T43" fmla="*/ 142 h 146"/>
                  <a:gd name="T44" fmla="*/ 44 w 188"/>
                  <a:gd name="T45" fmla="*/ 142 h 146"/>
                  <a:gd name="T46" fmla="*/ 48 w 188"/>
                  <a:gd name="T47" fmla="*/ 142 h 146"/>
                  <a:gd name="T48" fmla="*/ 52 w 188"/>
                  <a:gd name="T49" fmla="*/ 130 h 146"/>
                  <a:gd name="T50" fmla="*/ 56 w 188"/>
                  <a:gd name="T51" fmla="*/ 118 h 146"/>
                  <a:gd name="T52" fmla="*/ 64 w 188"/>
                  <a:gd name="T53" fmla="*/ 124 h 146"/>
                  <a:gd name="T54" fmla="*/ 74 w 188"/>
                  <a:gd name="T55" fmla="*/ 142 h 146"/>
                  <a:gd name="T56" fmla="*/ 80 w 188"/>
                  <a:gd name="T57" fmla="*/ 146 h 146"/>
                  <a:gd name="T58" fmla="*/ 88 w 188"/>
                  <a:gd name="T59" fmla="*/ 142 h 146"/>
                  <a:gd name="T60" fmla="*/ 96 w 188"/>
                  <a:gd name="T61" fmla="*/ 132 h 146"/>
                  <a:gd name="T62" fmla="*/ 116 w 188"/>
                  <a:gd name="T63" fmla="*/ 132 h 146"/>
                  <a:gd name="T64" fmla="*/ 122 w 188"/>
                  <a:gd name="T65" fmla="*/ 130 h 146"/>
                  <a:gd name="T66" fmla="*/ 122 w 188"/>
                  <a:gd name="T67" fmla="*/ 124 h 146"/>
                  <a:gd name="T68" fmla="*/ 120 w 188"/>
                  <a:gd name="T69" fmla="*/ 104 h 146"/>
                  <a:gd name="T70" fmla="*/ 116 w 188"/>
                  <a:gd name="T71" fmla="*/ 96 h 146"/>
                  <a:gd name="T72" fmla="*/ 124 w 188"/>
                  <a:gd name="T73" fmla="*/ 100 h 146"/>
                  <a:gd name="T74" fmla="*/ 132 w 188"/>
                  <a:gd name="T75" fmla="*/ 104 h 146"/>
                  <a:gd name="T76" fmla="*/ 142 w 188"/>
                  <a:gd name="T77" fmla="*/ 100 h 146"/>
                  <a:gd name="T78" fmla="*/ 148 w 188"/>
                  <a:gd name="T79" fmla="*/ 92 h 146"/>
                  <a:gd name="T80" fmla="*/ 154 w 188"/>
                  <a:gd name="T81" fmla="*/ 90 h 146"/>
                  <a:gd name="T82" fmla="*/ 158 w 188"/>
                  <a:gd name="T83" fmla="*/ 90 h 146"/>
                  <a:gd name="T84" fmla="*/ 180 w 188"/>
                  <a:gd name="T85" fmla="*/ 80 h 146"/>
                  <a:gd name="T86" fmla="*/ 188 w 188"/>
                  <a:gd name="T87" fmla="*/ 58 h 146"/>
                  <a:gd name="T88" fmla="*/ 184 w 188"/>
                  <a:gd name="T89" fmla="*/ 36 h 146"/>
                  <a:gd name="T90" fmla="*/ 180 w 188"/>
                  <a:gd name="T91" fmla="*/ 24 h 146"/>
                  <a:gd name="T92" fmla="*/ 172 w 188"/>
                  <a:gd name="T93" fmla="*/ 24 h 146"/>
                  <a:gd name="T94" fmla="*/ 164 w 188"/>
                  <a:gd name="T95" fmla="*/ 30 h 146"/>
                  <a:gd name="T96" fmla="*/ 162 w 188"/>
                  <a:gd name="T97" fmla="*/ 32 h 146"/>
                  <a:gd name="T98" fmla="*/ 156 w 188"/>
                  <a:gd name="T99" fmla="*/ 24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2"/>
                    </a:lnTo>
                    <a:lnTo>
                      <a:pt x="90" y="6"/>
                    </a:lnTo>
                    <a:lnTo>
                      <a:pt x="84" y="12"/>
                    </a:lnTo>
                    <a:lnTo>
                      <a:pt x="84" y="12"/>
                    </a:lnTo>
                    <a:lnTo>
                      <a:pt x="78" y="18"/>
                    </a:lnTo>
                    <a:lnTo>
                      <a:pt x="76" y="20"/>
                    </a:lnTo>
                    <a:lnTo>
                      <a:pt x="72" y="20"/>
                    </a:lnTo>
                    <a:lnTo>
                      <a:pt x="72" y="20"/>
                    </a:lnTo>
                    <a:lnTo>
                      <a:pt x="70" y="22"/>
                    </a:lnTo>
                    <a:lnTo>
                      <a:pt x="70" y="22"/>
                    </a:lnTo>
                    <a:lnTo>
                      <a:pt x="62" y="28"/>
                    </a:lnTo>
                    <a:lnTo>
                      <a:pt x="52" y="30"/>
                    </a:lnTo>
                    <a:lnTo>
                      <a:pt x="52" y="30"/>
                    </a:lnTo>
                    <a:lnTo>
                      <a:pt x="42" y="34"/>
                    </a:lnTo>
                    <a:lnTo>
                      <a:pt x="32" y="40"/>
                    </a:lnTo>
                    <a:lnTo>
                      <a:pt x="24" y="46"/>
                    </a:lnTo>
                    <a:lnTo>
                      <a:pt x="18" y="54"/>
                    </a:lnTo>
                    <a:lnTo>
                      <a:pt x="18" y="54"/>
                    </a:lnTo>
                    <a:lnTo>
                      <a:pt x="12" y="62"/>
                    </a:lnTo>
                    <a:lnTo>
                      <a:pt x="12" y="62"/>
                    </a:lnTo>
                    <a:lnTo>
                      <a:pt x="8" y="62"/>
                    </a:lnTo>
                    <a:lnTo>
                      <a:pt x="8" y="62"/>
                    </a:lnTo>
                    <a:lnTo>
                      <a:pt x="10" y="54"/>
                    </a:lnTo>
                    <a:lnTo>
                      <a:pt x="10" y="54"/>
                    </a:lnTo>
                    <a:lnTo>
                      <a:pt x="14" y="54"/>
                    </a:lnTo>
                    <a:lnTo>
                      <a:pt x="14" y="54"/>
                    </a:lnTo>
                    <a:lnTo>
                      <a:pt x="12" y="48"/>
                    </a:lnTo>
                    <a:lnTo>
                      <a:pt x="12" y="48"/>
                    </a:lnTo>
                    <a:lnTo>
                      <a:pt x="12" y="44"/>
                    </a:lnTo>
                    <a:lnTo>
                      <a:pt x="12" y="44"/>
                    </a:lnTo>
                    <a:lnTo>
                      <a:pt x="4" y="48"/>
                    </a:lnTo>
                    <a:lnTo>
                      <a:pt x="0" y="52"/>
                    </a:lnTo>
                    <a:lnTo>
                      <a:pt x="0" y="56"/>
                    </a:lnTo>
                    <a:lnTo>
                      <a:pt x="0" y="56"/>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6"/>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2"/>
                    </a:lnTo>
                    <a:lnTo>
                      <a:pt x="42" y="142"/>
                    </a:lnTo>
                    <a:lnTo>
                      <a:pt x="44" y="142"/>
                    </a:lnTo>
                    <a:lnTo>
                      <a:pt x="44" y="142"/>
                    </a:lnTo>
                    <a:lnTo>
                      <a:pt x="48" y="142"/>
                    </a:lnTo>
                    <a:lnTo>
                      <a:pt x="48" y="142"/>
                    </a:lnTo>
                    <a:lnTo>
                      <a:pt x="50" y="136"/>
                    </a:lnTo>
                    <a:lnTo>
                      <a:pt x="50" y="136"/>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6"/>
                    </a:lnTo>
                    <a:lnTo>
                      <a:pt x="80" y="146"/>
                    </a:lnTo>
                    <a:lnTo>
                      <a:pt x="84" y="144"/>
                    </a:lnTo>
                    <a:lnTo>
                      <a:pt x="88" y="142"/>
                    </a:lnTo>
                    <a:lnTo>
                      <a:pt x="88" y="142"/>
                    </a:lnTo>
                    <a:lnTo>
                      <a:pt x="96" y="132"/>
                    </a:lnTo>
                    <a:lnTo>
                      <a:pt x="96" y="132"/>
                    </a:lnTo>
                    <a:lnTo>
                      <a:pt x="100" y="132"/>
                    </a:lnTo>
                    <a:lnTo>
                      <a:pt x="100" y="132"/>
                    </a:lnTo>
                    <a:lnTo>
                      <a:pt x="116" y="132"/>
                    </a:lnTo>
                    <a:lnTo>
                      <a:pt x="116" y="132"/>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100"/>
                    </a:lnTo>
                    <a:lnTo>
                      <a:pt x="146" y="96"/>
                    </a:lnTo>
                    <a:lnTo>
                      <a:pt x="146"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8" y="58"/>
                    </a:lnTo>
                    <a:lnTo>
                      <a:pt x="186" y="46"/>
                    </a:lnTo>
                    <a:lnTo>
                      <a:pt x="186" y="46"/>
                    </a:lnTo>
                    <a:lnTo>
                      <a:pt x="184" y="36"/>
                    </a:lnTo>
                    <a:lnTo>
                      <a:pt x="182" y="28"/>
                    </a:lnTo>
                    <a:lnTo>
                      <a:pt x="182" y="28"/>
                    </a:lnTo>
                    <a:lnTo>
                      <a:pt x="180" y="24"/>
                    </a:lnTo>
                    <a:lnTo>
                      <a:pt x="176" y="24"/>
                    </a:lnTo>
                    <a:lnTo>
                      <a:pt x="176" y="24"/>
                    </a:lnTo>
                    <a:lnTo>
                      <a:pt x="172" y="24"/>
                    </a:lnTo>
                    <a:lnTo>
                      <a:pt x="170" y="28"/>
                    </a:lnTo>
                    <a:lnTo>
                      <a:pt x="170" y="28"/>
                    </a:lnTo>
                    <a:lnTo>
                      <a:pt x="164" y="30"/>
                    </a:lnTo>
                    <a:lnTo>
                      <a:pt x="164" y="30"/>
                    </a:lnTo>
                    <a:lnTo>
                      <a:pt x="162" y="32"/>
                    </a:lnTo>
                    <a:lnTo>
                      <a:pt x="162" y="32"/>
                    </a:lnTo>
                    <a:lnTo>
                      <a:pt x="160" y="30"/>
                    </a:lnTo>
                    <a:lnTo>
                      <a:pt x="160" y="30"/>
                    </a:lnTo>
                    <a:lnTo>
                      <a:pt x="156" y="24"/>
                    </a:lnTo>
                    <a:lnTo>
                      <a:pt x="152" y="20"/>
                    </a:lnTo>
                    <a:lnTo>
                      <a:pt x="152" y="20"/>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7" name="Freeform 480"/>
              <p:cNvSpPr>
                <a:spLocks/>
              </p:cNvSpPr>
              <p:nvPr/>
            </p:nvSpPr>
            <p:spPr bwMode="auto">
              <a:xfrm>
                <a:off x="1170" y="1466"/>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20 h 22"/>
                  <a:gd name="T16" fmla="*/ 6 w 16"/>
                  <a:gd name="T17" fmla="*/ 20 h 22"/>
                  <a:gd name="T18" fmla="*/ 12 w 16"/>
                  <a:gd name="T19" fmla="*/ 22 h 22"/>
                  <a:gd name="T20" fmla="*/ 12 w 16"/>
                  <a:gd name="T21" fmla="*/ 22 h 22"/>
                  <a:gd name="T22" fmla="*/ 14 w 16"/>
                  <a:gd name="T23" fmla="*/ 22 h 22"/>
                  <a:gd name="T24" fmla="*/ 14 w 16"/>
                  <a:gd name="T25" fmla="*/ 22 h 22"/>
                  <a:gd name="T26" fmla="*/ 16 w 16"/>
                  <a:gd name="T27" fmla="*/ 22 h 22"/>
                  <a:gd name="T28" fmla="*/ 16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2" y="4"/>
                    </a:lnTo>
                    <a:lnTo>
                      <a:pt x="2" y="4"/>
                    </a:lnTo>
                    <a:lnTo>
                      <a:pt x="0" y="8"/>
                    </a:lnTo>
                    <a:lnTo>
                      <a:pt x="0" y="8"/>
                    </a:lnTo>
                    <a:lnTo>
                      <a:pt x="2" y="14"/>
                    </a:lnTo>
                    <a:lnTo>
                      <a:pt x="6" y="20"/>
                    </a:lnTo>
                    <a:lnTo>
                      <a:pt x="6" y="20"/>
                    </a:lnTo>
                    <a:lnTo>
                      <a:pt x="12" y="22"/>
                    </a:lnTo>
                    <a:lnTo>
                      <a:pt x="12" y="22"/>
                    </a:lnTo>
                    <a:lnTo>
                      <a:pt x="14" y="22"/>
                    </a:lnTo>
                    <a:lnTo>
                      <a:pt x="14" y="22"/>
                    </a:lnTo>
                    <a:lnTo>
                      <a:pt x="16" y="22"/>
                    </a:lnTo>
                    <a:lnTo>
                      <a:pt x="16"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8" name="Freeform 481"/>
              <p:cNvSpPr>
                <a:spLocks/>
              </p:cNvSpPr>
              <p:nvPr/>
            </p:nvSpPr>
            <p:spPr bwMode="auto">
              <a:xfrm>
                <a:off x="1170" y="1466"/>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20 h 22"/>
                  <a:gd name="T16" fmla="*/ 6 w 16"/>
                  <a:gd name="T17" fmla="*/ 20 h 22"/>
                  <a:gd name="T18" fmla="*/ 12 w 16"/>
                  <a:gd name="T19" fmla="*/ 22 h 22"/>
                  <a:gd name="T20" fmla="*/ 12 w 16"/>
                  <a:gd name="T21" fmla="*/ 22 h 22"/>
                  <a:gd name="T22" fmla="*/ 14 w 16"/>
                  <a:gd name="T23" fmla="*/ 22 h 22"/>
                  <a:gd name="T24" fmla="*/ 14 w 16"/>
                  <a:gd name="T25" fmla="*/ 22 h 22"/>
                  <a:gd name="T26" fmla="*/ 16 w 16"/>
                  <a:gd name="T27" fmla="*/ 22 h 22"/>
                  <a:gd name="T28" fmla="*/ 16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2" y="4"/>
                    </a:lnTo>
                    <a:lnTo>
                      <a:pt x="2" y="4"/>
                    </a:lnTo>
                    <a:lnTo>
                      <a:pt x="0" y="8"/>
                    </a:lnTo>
                    <a:lnTo>
                      <a:pt x="0" y="8"/>
                    </a:lnTo>
                    <a:lnTo>
                      <a:pt x="2" y="14"/>
                    </a:lnTo>
                    <a:lnTo>
                      <a:pt x="6" y="20"/>
                    </a:lnTo>
                    <a:lnTo>
                      <a:pt x="6" y="20"/>
                    </a:lnTo>
                    <a:lnTo>
                      <a:pt x="12" y="22"/>
                    </a:lnTo>
                    <a:lnTo>
                      <a:pt x="12" y="22"/>
                    </a:lnTo>
                    <a:lnTo>
                      <a:pt x="14" y="22"/>
                    </a:lnTo>
                    <a:lnTo>
                      <a:pt x="14" y="22"/>
                    </a:lnTo>
                    <a:lnTo>
                      <a:pt x="16" y="22"/>
                    </a:lnTo>
                    <a:lnTo>
                      <a:pt x="16"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9" name="Freeform 482"/>
              <p:cNvSpPr>
                <a:spLocks/>
              </p:cNvSpPr>
              <p:nvPr/>
            </p:nvSpPr>
            <p:spPr bwMode="auto">
              <a:xfrm>
                <a:off x="1176" y="1486"/>
                <a:ext cx="10" cy="2"/>
              </a:xfrm>
              <a:custGeom>
                <a:avLst/>
                <a:gdLst>
                  <a:gd name="T0" fmla="*/ 0 w 10"/>
                  <a:gd name="T1" fmla="*/ 0 h 2"/>
                  <a:gd name="T2" fmla="*/ 0 w 10"/>
                  <a:gd name="T3" fmla="*/ 0 h 2"/>
                  <a:gd name="T4" fmla="*/ 6 w 10"/>
                  <a:gd name="T5" fmla="*/ 2 h 2"/>
                  <a:gd name="T6" fmla="*/ 6 w 10"/>
                  <a:gd name="T7" fmla="*/ 2 h 2"/>
                  <a:gd name="T8" fmla="*/ 8 w 10"/>
                  <a:gd name="T9" fmla="*/ 2 h 2"/>
                  <a:gd name="T10" fmla="*/ 8 w 10"/>
                  <a:gd name="T11" fmla="*/ 2 h 2"/>
                  <a:gd name="T12" fmla="*/ 10 w 10"/>
                  <a:gd name="T13" fmla="*/ 2 h 2"/>
                  <a:gd name="T14" fmla="*/ 10 w 10"/>
                  <a:gd name="T15" fmla="*/ 2 h 2"/>
                  <a:gd name="T16" fmla="*/ 8 w 10"/>
                  <a:gd name="T17" fmla="*/ 2 h 2"/>
                  <a:gd name="T18" fmla="*/ 8 w 10"/>
                  <a:gd name="T19" fmla="*/ 2 h 2"/>
                  <a:gd name="T20" fmla="*/ 6 w 10"/>
                  <a:gd name="T21" fmla="*/ 2 h 2"/>
                  <a:gd name="T22" fmla="*/ 6 w 10"/>
                  <a:gd name="T23" fmla="*/ 2 h 2"/>
                  <a:gd name="T24" fmla="*/ 0 w 10"/>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
                    <a:moveTo>
                      <a:pt x="0" y="0"/>
                    </a:moveTo>
                    <a:lnTo>
                      <a:pt x="0" y="0"/>
                    </a:lnTo>
                    <a:lnTo>
                      <a:pt x="6" y="2"/>
                    </a:lnTo>
                    <a:lnTo>
                      <a:pt x="6" y="2"/>
                    </a:lnTo>
                    <a:lnTo>
                      <a:pt x="8" y="2"/>
                    </a:lnTo>
                    <a:lnTo>
                      <a:pt x="8" y="2"/>
                    </a:lnTo>
                    <a:lnTo>
                      <a:pt x="10" y="2"/>
                    </a:lnTo>
                    <a:lnTo>
                      <a:pt x="10" y="2"/>
                    </a:lnTo>
                    <a:lnTo>
                      <a:pt x="8" y="2"/>
                    </a:lnTo>
                    <a:lnTo>
                      <a:pt x="8" y="2"/>
                    </a:lnTo>
                    <a:lnTo>
                      <a:pt x="6" y="2"/>
                    </a:lnTo>
                    <a:lnTo>
                      <a:pt x="6" y="2"/>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0" name="Freeform 483"/>
              <p:cNvSpPr>
                <a:spLocks/>
              </p:cNvSpPr>
              <p:nvPr/>
            </p:nvSpPr>
            <p:spPr bwMode="auto">
              <a:xfrm>
                <a:off x="1176" y="1486"/>
                <a:ext cx="10" cy="2"/>
              </a:xfrm>
              <a:custGeom>
                <a:avLst/>
                <a:gdLst>
                  <a:gd name="T0" fmla="*/ 0 w 10"/>
                  <a:gd name="T1" fmla="*/ 0 h 2"/>
                  <a:gd name="T2" fmla="*/ 0 w 10"/>
                  <a:gd name="T3" fmla="*/ 0 h 2"/>
                  <a:gd name="T4" fmla="*/ 6 w 10"/>
                  <a:gd name="T5" fmla="*/ 2 h 2"/>
                  <a:gd name="T6" fmla="*/ 6 w 10"/>
                  <a:gd name="T7" fmla="*/ 2 h 2"/>
                  <a:gd name="T8" fmla="*/ 8 w 10"/>
                  <a:gd name="T9" fmla="*/ 2 h 2"/>
                  <a:gd name="T10" fmla="*/ 8 w 10"/>
                  <a:gd name="T11" fmla="*/ 2 h 2"/>
                  <a:gd name="T12" fmla="*/ 10 w 10"/>
                  <a:gd name="T13" fmla="*/ 2 h 2"/>
                  <a:gd name="T14" fmla="*/ 10 w 10"/>
                  <a:gd name="T15" fmla="*/ 2 h 2"/>
                  <a:gd name="T16" fmla="*/ 8 w 10"/>
                  <a:gd name="T17" fmla="*/ 2 h 2"/>
                  <a:gd name="T18" fmla="*/ 8 w 10"/>
                  <a:gd name="T19" fmla="*/ 2 h 2"/>
                  <a:gd name="T20" fmla="*/ 6 w 10"/>
                  <a:gd name="T21" fmla="*/ 2 h 2"/>
                  <a:gd name="T22" fmla="*/ 6 w 10"/>
                  <a:gd name="T23" fmla="*/ 2 h 2"/>
                  <a:gd name="T24" fmla="*/ 0 w 10"/>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
                    <a:moveTo>
                      <a:pt x="0" y="0"/>
                    </a:moveTo>
                    <a:lnTo>
                      <a:pt x="0" y="0"/>
                    </a:lnTo>
                    <a:lnTo>
                      <a:pt x="6" y="2"/>
                    </a:lnTo>
                    <a:lnTo>
                      <a:pt x="6" y="2"/>
                    </a:lnTo>
                    <a:lnTo>
                      <a:pt x="8" y="2"/>
                    </a:lnTo>
                    <a:lnTo>
                      <a:pt x="8" y="2"/>
                    </a:lnTo>
                    <a:lnTo>
                      <a:pt x="10" y="2"/>
                    </a:lnTo>
                    <a:lnTo>
                      <a:pt x="10" y="2"/>
                    </a:lnTo>
                    <a:lnTo>
                      <a:pt x="8" y="2"/>
                    </a:lnTo>
                    <a:lnTo>
                      <a:pt x="8" y="2"/>
                    </a:lnTo>
                    <a:lnTo>
                      <a:pt x="6" y="2"/>
                    </a:lnTo>
                    <a:lnTo>
                      <a:pt x="6"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1" name="Freeform 484"/>
              <p:cNvSpPr>
                <a:spLocks/>
              </p:cNvSpPr>
              <p:nvPr/>
            </p:nvSpPr>
            <p:spPr bwMode="auto">
              <a:xfrm>
                <a:off x="1266" y="1470"/>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2 w 18"/>
                  <a:gd name="T17" fmla="*/ 26 h 26"/>
                  <a:gd name="T18" fmla="*/ 12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4" y="20"/>
                    </a:lnTo>
                    <a:lnTo>
                      <a:pt x="4" y="20"/>
                    </a:lnTo>
                    <a:lnTo>
                      <a:pt x="0" y="26"/>
                    </a:lnTo>
                    <a:lnTo>
                      <a:pt x="0" y="26"/>
                    </a:lnTo>
                    <a:lnTo>
                      <a:pt x="8" y="26"/>
                    </a:lnTo>
                    <a:lnTo>
                      <a:pt x="8" y="26"/>
                    </a:lnTo>
                    <a:lnTo>
                      <a:pt x="12" y="26"/>
                    </a:lnTo>
                    <a:lnTo>
                      <a:pt x="12" y="26"/>
                    </a:lnTo>
                    <a:lnTo>
                      <a:pt x="16" y="26"/>
                    </a:lnTo>
                    <a:lnTo>
                      <a:pt x="16" y="26"/>
                    </a:lnTo>
                    <a:lnTo>
                      <a:pt x="18" y="22"/>
                    </a:lnTo>
                    <a:lnTo>
                      <a:pt x="18"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2" name="Freeform 485"/>
              <p:cNvSpPr>
                <a:spLocks/>
              </p:cNvSpPr>
              <p:nvPr/>
            </p:nvSpPr>
            <p:spPr bwMode="auto">
              <a:xfrm>
                <a:off x="1266" y="1470"/>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2 w 18"/>
                  <a:gd name="T17" fmla="*/ 26 h 26"/>
                  <a:gd name="T18" fmla="*/ 12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4" y="20"/>
                    </a:lnTo>
                    <a:lnTo>
                      <a:pt x="4" y="20"/>
                    </a:lnTo>
                    <a:lnTo>
                      <a:pt x="0" y="26"/>
                    </a:lnTo>
                    <a:lnTo>
                      <a:pt x="0" y="26"/>
                    </a:lnTo>
                    <a:lnTo>
                      <a:pt x="8" y="26"/>
                    </a:lnTo>
                    <a:lnTo>
                      <a:pt x="8" y="26"/>
                    </a:lnTo>
                    <a:lnTo>
                      <a:pt x="12" y="26"/>
                    </a:lnTo>
                    <a:lnTo>
                      <a:pt x="12"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3" name="Freeform 486"/>
              <p:cNvSpPr>
                <a:spLocks noEditPoints="1"/>
              </p:cNvSpPr>
              <p:nvPr/>
            </p:nvSpPr>
            <p:spPr bwMode="auto">
              <a:xfrm>
                <a:off x="1266" y="1470"/>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2 w 18"/>
                  <a:gd name="T39" fmla="*/ 26 h 26"/>
                  <a:gd name="T40" fmla="*/ 12 w 18"/>
                  <a:gd name="T41" fmla="*/ 26 h 26"/>
                  <a:gd name="T42" fmla="*/ 12 w 18"/>
                  <a:gd name="T43" fmla="*/ 26 h 26"/>
                  <a:gd name="T44" fmla="*/ 12 w 18"/>
                  <a:gd name="T45" fmla="*/ 26 h 26"/>
                  <a:gd name="T46" fmla="*/ 16 w 18"/>
                  <a:gd name="T47" fmla="*/ 26 h 26"/>
                  <a:gd name="T48" fmla="*/ 16 w 18"/>
                  <a:gd name="T49" fmla="*/ 26 h 26"/>
                  <a:gd name="T50" fmla="*/ 18 w 18"/>
                  <a:gd name="T51" fmla="*/ 22 h 26"/>
                  <a:gd name="T52" fmla="*/ 18 w 18"/>
                  <a:gd name="T53" fmla="*/ 22 h 26"/>
                  <a:gd name="T54" fmla="*/ 18 w 18"/>
                  <a:gd name="T55" fmla="*/ 8 h 26"/>
                  <a:gd name="T56" fmla="*/ 18 w 18"/>
                  <a:gd name="T57" fmla="*/ 8 h 26"/>
                  <a:gd name="T58" fmla="*/ 14 w 18"/>
                  <a:gd name="T5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26">
                    <a:moveTo>
                      <a:pt x="4" y="20"/>
                    </a:moveTo>
                    <a:lnTo>
                      <a:pt x="4" y="20"/>
                    </a:lnTo>
                    <a:lnTo>
                      <a:pt x="0" y="26"/>
                    </a:lnTo>
                    <a:lnTo>
                      <a:pt x="0" y="26"/>
                    </a:lnTo>
                    <a:lnTo>
                      <a:pt x="8" y="26"/>
                    </a:lnTo>
                    <a:lnTo>
                      <a:pt x="8"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2" y="26"/>
                    </a:lnTo>
                    <a:lnTo>
                      <a:pt x="12" y="26"/>
                    </a:lnTo>
                    <a:lnTo>
                      <a:pt x="12" y="26"/>
                    </a:lnTo>
                    <a:lnTo>
                      <a:pt x="12" y="26"/>
                    </a:lnTo>
                    <a:lnTo>
                      <a:pt x="16" y="26"/>
                    </a:lnTo>
                    <a:lnTo>
                      <a:pt x="16" y="26"/>
                    </a:lnTo>
                    <a:lnTo>
                      <a:pt x="18" y="22"/>
                    </a:lnTo>
                    <a:lnTo>
                      <a:pt x="18" y="22"/>
                    </a:lnTo>
                    <a:lnTo>
                      <a:pt x="18" y="8"/>
                    </a:lnTo>
                    <a:lnTo>
                      <a:pt x="18"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4" name="Freeform 487"/>
              <p:cNvSpPr>
                <a:spLocks/>
              </p:cNvSpPr>
              <p:nvPr/>
            </p:nvSpPr>
            <p:spPr bwMode="auto">
              <a:xfrm>
                <a:off x="1266" y="1490"/>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0 w 8"/>
                  <a:gd name="T13" fmla="*/ 6 h 6"/>
                  <a:gd name="T14" fmla="*/ 0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5" name="Freeform 488"/>
              <p:cNvSpPr>
                <a:spLocks/>
              </p:cNvSpPr>
              <p:nvPr/>
            </p:nvSpPr>
            <p:spPr bwMode="auto">
              <a:xfrm>
                <a:off x="1278" y="1470"/>
                <a:ext cx="6" cy="26"/>
              </a:xfrm>
              <a:custGeom>
                <a:avLst/>
                <a:gdLst>
                  <a:gd name="T0" fmla="*/ 2 w 6"/>
                  <a:gd name="T1" fmla="*/ 0 h 26"/>
                  <a:gd name="T2" fmla="*/ 2 w 6"/>
                  <a:gd name="T3" fmla="*/ 0 h 26"/>
                  <a:gd name="T4" fmla="*/ 2 w 6"/>
                  <a:gd name="T5" fmla="*/ 0 h 26"/>
                  <a:gd name="T6" fmla="*/ 2 w 6"/>
                  <a:gd name="T7" fmla="*/ 0 h 26"/>
                  <a:gd name="T8" fmla="*/ 4 w 6"/>
                  <a:gd name="T9" fmla="*/ 8 h 26"/>
                  <a:gd name="T10" fmla="*/ 4 w 6"/>
                  <a:gd name="T11" fmla="*/ 8 h 26"/>
                  <a:gd name="T12" fmla="*/ 6 w 6"/>
                  <a:gd name="T13" fmla="*/ 22 h 26"/>
                  <a:gd name="T14" fmla="*/ 6 w 6"/>
                  <a:gd name="T15" fmla="*/ 22 h 26"/>
                  <a:gd name="T16" fmla="*/ 4 w 6"/>
                  <a:gd name="T17" fmla="*/ 26 h 26"/>
                  <a:gd name="T18" fmla="*/ 4 w 6"/>
                  <a:gd name="T19" fmla="*/ 26 h 26"/>
                  <a:gd name="T20" fmla="*/ 0 w 6"/>
                  <a:gd name="T21" fmla="*/ 26 h 26"/>
                  <a:gd name="T22" fmla="*/ 0 w 6"/>
                  <a:gd name="T23" fmla="*/ 26 h 26"/>
                  <a:gd name="T24" fmla="*/ 0 w 6"/>
                  <a:gd name="T25" fmla="*/ 26 h 26"/>
                  <a:gd name="T26" fmla="*/ 0 w 6"/>
                  <a:gd name="T27" fmla="*/ 26 h 26"/>
                  <a:gd name="T28" fmla="*/ 4 w 6"/>
                  <a:gd name="T29" fmla="*/ 26 h 26"/>
                  <a:gd name="T30" fmla="*/ 4 w 6"/>
                  <a:gd name="T31" fmla="*/ 26 h 26"/>
                  <a:gd name="T32" fmla="*/ 6 w 6"/>
                  <a:gd name="T33" fmla="*/ 22 h 26"/>
                  <a:gd name="T34" fmla="*/ 6 w 6"/>
                  <a:gd name="T35" fmla="*/ 22 h 26"/>
                  <a:gd name="T36" fmla="*/ 6 w 6"/>
                  <a:gd name="T37" fmla="*/ 8 h 26"/>
                  <a:gd name="T38" fmla="*/ 6 w 6"/>
                  <a:gd name="T39" fmla="*/ 8 h 26"/>
                  <a:gd name="T40" fmla="*/ 2 w 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6">
                    <a:moveTo>
                      <a:pt x="2" y="0"/>
                    </a:moveTo>
                    <a:lnTo>
                      <a:pt x="2" y="0"/>
                    </a:lnTo>
                    <a:lnTo>
                      <a:pt x="2" y="0"/>
                    </a:lnTo>
                    <a:lnTo>
                      <a:pt x="2" y="0"/>
                    </a:lnTo>
                    <a:lnTo>
                      <a:pt x="4" y="8"/>
                    </a:lnTo>
                    <a:lnTo>
                      <a:pt x="4" y="8"/>
                    </a:lnTo>
                    <a:lnTo>
                      <a:pt x="6" y="22"/>
                    </a:lnTo>
                    <a:lnTo>
                      <a:pt x="6" y="22"/>
                    </a:lnTo>
                    <a:lnTo>
                      <a:pt x="4" y="26"/>
                    </a:lnTo>
                    <a:lnTo>
                      <a:pt x="4" y="26"/>
                    </a:lnTo>
                    <a:lnTo>
                      <a:pt x="0" y="26"/>
                    </a:lnTo>
                    <a:lnTo>
                      <a:pt x="0" y="26"/>
                    </a:lnTo>
                    <a:lnTo>
                      <a:pt x="0" y="26"/>
                    </a:lnTo>
                    <a:lnTo>
                      <a:pt x="0" y="26"/>
                    </a:lnTo>
                    <a:lnTo>
                      <a:pt x="4" y="26"/>
                    </a:lnTo>
                    <a:lnTo>
                      <a:pt x="4" y="26"/>
                    </a:lnTo>
                    <a:lnTo>
                      <a:pt x="6" y="22"/>
                    </a:lnTo>
                    <a:lnTo>
                      <a:pt x="6" y="22"/>
                    </a:lnTo>
                    <a:lnTo>
                      <a:pt x="6" y="8"/>
                    </a:lnTo>
                    <a:lnTo>
                      <a:pt x="6" y="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6" name="Freeform 489"/>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4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0 w 12"/>
                  <a:gd name="T29" fmla="*/ 20 h 20"/>
                  <a:gd name="T30" fmla="*/ 12 w 12"/>
                  <a:gd name="T31" fmla="*/ 16 h 20"/>
                  <a:gd name="T32" fmla="*/ 12 w 12"/>
                  <a:gd name="T33" fmla="*/ 16 h 20"/>
                  <a:gd name="T34" fmla="*/ 10 w 12"/>
                  <a:gd name="T35" fmla="*/ 16 h 20"/>
                  <a:gd name="T36" fmla="*/ 10 w 12"/>
                  <a:gd name="T37" fmla="*/ 16 h 20"/>
                  <a:gd name="T38" fmla="*/ 8 w 12"/>
                  <a:gd name="T39" fmla="*/ 18 h 20"/>
                  <a:gd name="T40" fmla="*/ 8 w 12"/>
                  <a:gd name="T41" fmla="*/ 18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2 h 20"/>
                  <a:gd name="T56" fmla="*/ 6 w 12"/>
                  <a:gd name="T57" fmla="*/ 2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4"/>
                    </a:lnTo>
                    <a:lnTo>
                      <a:pt x="4" y="20"/>
                    </a:lnTo>
                    <a:lnTo>
                      <a:pt x="4" y="20"/>
                    </a:lnTo>
                    <a:lnTo>
                      <a:pt x="4" y="20"/>
                    </a:lnTo>
                    <a:lnTo>
                      <a:pt x="4" y="20"/>
                    </a:lnTo>
                    <a:lnTo>
                      <a:pt x="6" y="20"/>
                    </a:lnTo>
                    <a:lnTo>
                      <a:pt x="6" y="20"/>
                    </a:lnTo>
                    <a:lnTo>
                      <a:pt x="10" y="20"/>
                    </a:lnTo>
                    <a:lnTo>
                      <a:pt x="10" y="20"/>
                    </a:lnTo>
                    <a:lnTo>
                      <a:pt x="12" y="16"/>
                    </a:lnTo>
                    <a:lnTo>
                      <a:pt x="12" y="16"/>
                    </a:lnTo>
                    <a:lnTo>
                      <a:pt x="10" y="16"/>
                    </a:lnTo>
                    <a:lnTo>
                      <a:pt x="10" y="16"/>
                    </a:lnTo>
                    <a:lnTo>
                      <a:pt x="8" y="18"/>
                    </a:lnTo>
                    <a:lnTo>
                      <a:pt x="8" y="18"/>
                    </a:lnTo>
                    <a:lnTo>
                      <a:pt x="4" y="16"/>
                    </a:lnTo>
                    <a:lnTo>
                      <a:pt x="4" y="16"/>
                    </a:lnTo>
                    <a:lnTo>
                      <a:pt x="4" y="16"/>
                    </a:lnTo>
                    <a:lnTo>
                      <a:pt x="4" y="16"/>
                    </a:lnTo>
                    <a:lnTo>
                      <a:pt x="4" y="12"/>
                    </a:lnTo>
                    <a:lnTo>
                      <a:pt x="4"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7" name="Freeform 490"/>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4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0 w 12"/>
                  <a:gd name="T29" fmla="*/ 20 h 20"/>
                  <a:gd name="T30" fmla="*/ 12 w 12"/>
                  <a:gd name="T31" fmla="*/ 16 h 20"/>
                  <a:gd name="T32" fmla="*/ 12 w 12"/>
                  <a:gd name="T33" fmla="*/ 16 h 20"/>
                  <a:gd name="T34" fmla="*/ 10 w 12"/>
                  <a:gd name="T35" fmla="*/ 16 h 20"/>
                  <a:gd name="T36" fmla="*/ 10 w 12"/>
                  <a:gd name="T37" fmla="*/ 16 h 20"/>
                  <a:gd name="T38" fmla="*/ 8 w 12"/>
                  <a:gd name="T39" fmla="*/ 18 h 20"/>
                  <a:gd name="T40" fmla="*/ 8 w 12"/>
                  <a:gd name="T41" fmla="*/ 18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2 h 20"/>
                  <a:gd name="T56" fmla="*/ 6 w 12"/>
                  <a:gd name="T57" fmla="*/ 2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4"/>
                    </a:lnTo>
                    <a:lnTo>
                      <a:pt x="4" y="20"/>
                    </a:lnTo>
                    <a:lnTo>
                      <a:pt x="4" y="20"/>
                    </a:lnTo>
                    <a:lnTo>
                      <a:pt x="4" y="20"/>
                    </a:lnTo>
                    <a:lnTo>
                      <a:pt x="4" y="20"/>
                    </a:lnTo>
                    <a:lnTo>
                      <a:pt x="6" y="20"/>
                    </a:lnTo>
                    <a:lnTo>
                      <a:pt x="6" y="20"/>
                    </a:lnTo>
                    <a:lnTo>
                      <a:pt x="10" y="20"/>
                    </a:lnTo>
                    <a:lnTo>
                      <a:pt x="10" y="20"/>
                    </a:lnTo>
                    <a:lnTo>
                      <a:pt x="12" y="16"/>
                    </a:lnTo>
                    <a:lnTo>
                      <a:pt x="12" y="16"/>
                    </a:lnTo>
                    <a:lnTo>
                      <a:pt x="10" y="16"/>
                    </a:lnTo>
                    <a:lnTo>
                      <a:pt x="10" y="16"/>
                    </a:lnTo>
                    <a:lnTo>
                      <a:pt x="8" y="18"/>
                    </a:lnTo>
                    <a:lnTo>
                      <a:pt x="8" y="18"/>
                    </a:lnTo>
                    <a:lnTo>
                      <a:pt x="4" y="16"/>
                    </a:lnTo>
                    <a:lnTo>
                      <a:pt x="4" y="16"/>
                    </a:lnTo>
                    <a:lnTo>
                      <a:pt x="4" y="16"/>
                    </a:lnTo>
                    <a:lnTo>
                      <a:pt x="4" y="16"/>
                    </a:lnTo>
                    <a:lnTo>
                      <a:pt x="4" y="12"/>
                    </a:lnTo>
                    <a:lnTo>
                      <a:pt x="4"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8" name="Freeform 491"/>
              <p:cNvSpPr>
                <a:spLocks noEditPoints="1"/>
              </p:cNvSpPr>
              <p:nvPr/>
            </p:nvSpPr>
            <p:spPr bwMode="auto">
              <a:xfrm>
                <a:off x="1170" y="1414"/>
                <a:ext cx="8" cy="20"/>
              </a:xfrm>
              <a:custGeom>
                <a:avLst/>
                <a:gdLst>
                  <a:gd name="T0" fmla="*/ 6 w 8"/>
                  <a:gd name="T1" fmla="*/ 20 h 20"/>
                  <a:gd name="T2" fmla="*/ 6 w 8"/>
                  <a:gd name="T3" fmla="*/ 20 h 20"/>
                  <a:gd name="T4" fmla="*/ 2 w 8"/>
                  <a:gd name="T5" fmla="*/ 20 h 20"/>
                  <a:gd name="T6" fmla="*/ 2 w 8"/>
                  <a:gd name="T7" fmla="*/ 20 h 20"/>
                  <a:gd name="T8" fmla="*/ 0 w 8"/>
                  <a:gd name="T9" fmla="*/ 20 h 20"/>
                  <a:gd name="T10" fmla="*/ 0 w 8"/>
                  <a:gd name="T11" fmla="*/ 20 h 20"/>
                  <a:gd name="T12" fmla="*/ 0 w 8"/>
                  <a:gd name="T13" fmla="*/ 20 h 20"/>
                  <a:gd name="T14" fmla="*/ 0 w 8"/>
                  <a:gd name="T15" fmla="*/ 20 h 20"/>
                  <a:gd name="T16" fmla="*/ 0 w 8"/>
                  <a:gd name="T17" fmla="*/ 20 h 20"/>
                  <a:gd name="T18" fmla="*/ 0 w 8"/>
                  <a:gd name="T19" fmla="*/ 20 h 20"/>
                  <a:gd name="T20" fmla="*/ 2 w 8"/>
                  <a:gd name="T21" fmla="*/ 20 h 20"/>
                  <a:gd name="T22" fmla="*/ 2 w 8"/>
                  <a:gd name="T23" fmla="*/ 20 h 20"/>
                  <a:gd name="T24" fmla="*/ 6 w 8"/>
                  <a:gd name="T25" fmla="*/ 20 h 20"/>
                  <a:gd name="T26" fmla="*/ 8 w 8"/>
                  <a:gd name="T27" fmla="*/ 16 h 20"/>
                  <a:gd name="T28" fmla="*/ 8 w 8"/>
                  <a:gd name="T29" fmla="*/ 16 h 20"/>
                  <a:gd name="T30" fmla="*/ 6 w 8"/>
                  <a:gd name="T31" fmla="*/ 16 h 20"/>
                  <a:gd name="T32" fmla="*/ 6 w 8"/>
                  <a:gd name="T33" fmla="*/ 16 h 20"/>
                  <a:gd name="T34" fmla="*/ 8 w 8"/>
                  <a:gd name="T35" fmla="*/ 16 h 20"/>
                  <a:gd name="T36" fmla="*/ 8 w 8"/>
                  <a:gd name="T37" fmla="*/ 16 h 20"/>
                  <a:gd name="T38" fmla="*/ 8 w 8"/>
                  <a:gd name="T39" fmla="*/ 16 h 20"/>
                  <a:gd name="T40" fmla="*/ 2 w 8"/>
                  <a:gd name="T41" fmla="*/ 2 h 20"/>
                  <a:gd name="T42" fmla="*/ 2 w 8"/>
                  <a:gd name="T43" fmla="*/ 2 h 20"/>
                  <a:gd name="T44" fmla="*/ 0 w 8"/>
                  <a:gd name="T45" fmla="*/ 12 h 20"/>
                  <a:gd name="T46" fmla="*/ 0 w 8"/>
                  <a:gd name="T47" fmla="*/ 12 h 20"/>
                  <a:gd name="T48" fmla="*/ 0 w 8"/>
                  <a:gd name="T49" fmla="*/ 16 h 20"/>
                  <a:gd name="T50" fmla="*/ 0 w 8"/>
                  <a:gd name="T51" fmla="*/ 16 h 20"/>
                  <a:gd name="T52" fmla="*/ 0 w 8"/>
                  <a:gd name="T53" fmla="*/ 16 h 20"/>
                  <a:gd name="T54" fmla="*/ 0 w 8"/>
                  <a:gd name="T55" fmla="*/ 16 h 20"/>
                  <a:gd name="T56" fmla="*/ 0 w 8"/>
                  <a:gd name="T57" fmla="*/ 16 h 20"/>
                  <a:gd name="T58" fmla="*/ 0 w 8"/>
                  <a:gd name="T59" fmla="*/ 16 h 20"/>
                  <a:gd name="T60" fmla="*/ 0 w 8"/>
                  <a:gd name="T61" fmla="*/ 12 h 20"/>
                  <a:gd name="T62" fmla="*/ 0 w 8"/>
                  <a:gd name="T63" fmla="*/ 12 h 20"/>
                  <a:gd name="T64" fmla="*/ 2 w 8"/>
                  <a:gd name="T65" fmla="*/ 2 h 20"/>
                  <a:gd name="T66" fmla="*/ 2 w 8"/>
                  <a:gd name="T67" fmla="*/ 0 h 20"/>
                  <a:gd name="T68" fmla="*/ 2 w 8"/>
                  <a:gd name="T69" fmla="*/ 0 h 20"/>
                  <a:gd name="T70" fmla="*/ 2 w 8"/>
                  <a:gd name="T71" fmla="*/ 0 h 20"/>
                  <a:gd name="T72" fmla="*/ 2 w 8"/>
                  <a:gd name="T73" fmla="*/ 0 h 20"/>
                  <a:gd name="T74" fmla="*/ 2 w 8"/>
                  <a:gd name="T75" fmla="*/ 0 h 20"/>
                  <a:gd name="T76" fmla="*/ 2 w 8"/>
                  <a:gd name="T77" fmla="*/ 0 h 20"/>
                  <a:gd name="T78" fmla="*/ 2 w 8"/>
                  <a:gd name="T79" fmla="*/ 0 h 20"/>
                  <a:gd name="T80" fmla="*/ 2 w 8"/>
                  <a:gd name="T81" fmla="*/ 0 h 20"/>
                  <a:gd name="T82" fmla="*/ 2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20"/>
                    </a:moveTo>
                    <a:lnTo>
                      <a:pt x="6" y="20"/>
                    </a:lnTo>
                    <a:lnTo>
                      <a:pt x="2" y="20"/>
                    </a:lnTo>
                    <a:lnTo>
                      <a:pt x="2" y="20"/>
                    </a:lnTo>
                    <a:lnTo>
                      <a:pt x="0" y="20"/>
                    </a:lnTo>
                    <a:lnTo>
                      <a:pt x="0" y="20"/>
                    </a:lnTo>
                    <a:lnTo>
                      <a:pt x="0" y="20"/>
                    </a:lnTo>
                    <a:lnTo>
                      <a:pt x="0" y="20"/>
                    </a:lnTo>
                    <a:lnTo>
                      <a:pt x="0" y="20"/>
                    </a:lnTo>
                    <a:lnTo>
                      <a:pt x="0" y="20"/>
                    </a:lnTo>
                    <a:lnTo>
                      <a:pt x="2" y="20"/>
                    </a:lnTo>
                    <a:lnTo>
                      <a:pt x="2" y="20"/>
                    </a:lnTo>
                    <a:lnTo>
                      <a:pt x="6" y="20"/>
                    </a:lnTo>
                    <a:close/>
                    <a:moveTo>
                      <a:pt x="8" y="16"/>
                    </a:moveTo>
                    <a:lnTo>
                      <a:pt x="8" y="16"/>
                    </a:lnTo>
                    <a:lnTo>
                      <a:pt x="6" y="16"/>
                    </a:lnTo>
                    <a:lnTo>
                      <a:pt x="6" y="16"/>
                    </a:lnTo>
                    <a:lnTo>
                      <a:pt x="8" y="16"/>
                    </a:lnTo>
                    <a:lnTo>
                      <a:pt x="8" y="16"/>
                    </a:lnTo>
                    <a:lnTo>
                      <a:pt x="8" y="16"/>
                    </a:lnTo>
                    <a:close/>
                    <a:moveTo>
                      <a:pt x="2" y="2"/>
                    </a:moveTo>
                    <a:lnTo>
                      <a:pt x="2" y="2"/>
                    </a:lnTo>
                    <a:lnTo>
                      <a:pt x="0" y="12"/>
                    </a:lnTo>
                    <a:lnTo>
                      <a:pt x="0" y="12"/>
                    </a:lnTo>
                    <a:lnTo>
                      <a:pt x="0" y="16"/>
                    </a:lnTo>
                    <a:lnTo>
                      <a:pt x="0" y="16"/>
                    </a:lnTo>
                    <a:lnTo>
                      <a:pt x="0" y="16"/>
                    </a:lnTo>
                    <a:lnTo>
                      <a:pt x="0" y="16"/>
                    </a:lnTo>
                    <a:lnTo>
                      <a:pt x="0" y="16"/>
                    </a:lnTo>
                    <a:lnTo>
                      <a:pt x="0" y="16"/>
                    </a:lnTo>
                    <a:lnTo>
                      <a:pt x="0" y="12"/>
                    </a:lnTo>
                    <a:lnTo>
                      <a:pt x="0" y="12"/>
                    </a:lnTo>
                    <a:lnTo>
                      <a:pt x="2" y="2"/>
                    </a:lnTo>
                    <a:close/>
                    <a:moveTo>
                      <a:pt x="2" y="0"/>
                    </a:moveTo>
                    <a:lnTo>
                      <a:pt x="2" y="0"/>
                    </a:lnTo>
                    <a:lnTo>
                      <a:pt x="2" y="0"/>
                    </a:lnTo>
                    <a:lnTo>
                      <a:pt x="2" y="0"/>
                    </a:lnTo>
                    <a:lnTo>
                      <a:pt x="2" y="0"/>
                    </a:lnTo>
                    <a:lnTo>
                      <a:pt x="2" y="0"/>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9" name="Freeform 492"/>
              <p:cNvSpPr>
                <a:spLocks/>
              </p:cNvSpPr>
              <p:nvPr/>
            </p:nvSpPr>
            <p:spPr bwMode="auto">
              <a:xfrm>
                <a:off x="1170" y="1434"/>
                <a:ext cx="6" cy="0"/>
              </a:xfrm>
              <a:custGeom>
                <a:avLst/>
                <a:gdLst>
                  <a:gd name="T0" fmla="*/ 6 w 6"/>
                  <a:gd name="T1" fmla="*/ 6 w 6"/>
                  <a:gd name="T2" fmla="*/ 2 w 6"/>
                  <a:gd name="T3" fmla="*/ 2 w 6"/>
                  <a:gd name="T4" fmla="*/ 0 w 6"/>
                  <a:gd name="T5" fmla="*/ 0 w 6"/>
                  <a:gd name="T6" fmla="*/ 0 w 6"/>
                  <a:gd name="T7" fmla="*/ 0 w 6"/>
                  <a:gd name="T8" fmla="*/ 0 w 6"/>
                  <a:gd name="T9" fmla="*/ 0 w 6"/>
                  <a:gd name="T10" fmla="*/ 2 w 6"/>
                  <a:gd name="T11" fmla="*/ 2 w 6"/>
                  <a:gd name="T12"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6" y="0"/>
                    </a:moveTo>
                    <a:lnTo>
                      <a:pt x="6" y="0"/>
                    </a:lnTo>
                    <a:lnTo>
                      <a:pt x="2" y="0"/>
                    </a:lnTo>
                    <a:lnTo>
                      <a:pt x="2" y="0"/>
                    </a:lnTo>
                    <a:lnTo>
                      <a:pt x="0" y="0"/>
                    </a:lnTo>
                    <a:lnTo>
                      <a:pt x="0" y="0"/>
                    </a:lnTo>
                    <a:lnTo>
                      <a:pt x="0" y="0"/>
                    </a:lnTo>
                    <a:lnTo>
                      <a:pt x="0" y="0"/>
                    </a:lnTo>
                    <a:lnTo>
                      <a:pt x="0" y="0"/>
                    </a:lnTo>
                    <a:lnTo>
                      <a:pt x="0" y="0"/>
                    </a:lnTo>
                    <a:lnTo>
                      <a:pt x="2" y="0"/>
                    </a:lnTo>
                    <a:lnTo>
                      <a:pt x="2"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0" name="Freeform 493"/>
              <p:cNvSpPr>
                <a:spLocks/>
              </p:cNvSpPr>
              <p:nvPr/>
            </p:nvSpPr>
            <p:spPr bwMode="auto">
              <a:xfrm>
                <a:off x="1176" y="1430"/>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1" name="Freeform 494"/>
              <p:cNvSpPr>
                <a:spLocks/>
              </p:cNvSpPr>
              <p:nvPr/>
            </p:nvSpPr>
            <p:spPr bwMode="auto">
              <a:xfrm>
                <a:off x="1170" y="1416"/>
                <a:ext cx="2" cy="14"/>
              </a:xfrm>
              <a:custGeom>
                <a:avLst/>
                <a:gdLst>
                  <a:gd name="T0" fmla="*/ 2 w 2"/>
                  <a:gd name="T1" fmla="*/ 0 h 14"/>
                  <a:gd name="T2" fmla="*/ 2 w 2"/>
                  <a:gd name="T3" fmla="*/ 0 h 14"/>
                  <a:gd name="T4" fmla="*/ 0 w 2"/>
                  <a:gd name="T5" fmla="*/ 10 h 14"/>
                  <a:gd name="T6" fmla="*/ 0 w 2"/>
                  <a:gd name="T7" fmla="*/ 10 h 14"/>
                  <a:gd name="T8" fmla="*/ 0 w 2"/>
                  <a:gd name="T9" fmla="*/ 14 h 14"/>
                  <a:gd name="T10" fmla="*/ 0 w 2"/>
                  <a:gd name="T11" fmla="*/ 14 h 14"/>
                  <a:gd name="T12" fmla="*/ 0 w 2"/>
                  <a:gd name="T13" fmla="*/ 14 h 14"/>
                  <a:gd name="T14" fmla="*/ 0 w 2"/>
                  <a:gd name="T15" fmla="*/ 14 h 14"/>
                  <a:gd name="T16" fmla="*/ 0 w 2"/>
                  <a:gd name="T17" fmla="*/ 14 h 14"/>
                  <a:gd name="T18" fmla="*/ 0 w 2"/>
                  <a:gd name="T19" fmla="*/ 14 h 14"/>
                  <a:gd name="T20" fmla="*/ 0 w 2"/>
                  <a:gd name="T21" fmla="*/ 10 h 14"/>
                  <a:gd name="T22" fmla="*/ 0 w 2"/>
                  <a:gd name="T23" fmla="*/ 10 h 14"/>
                  <a:gd name="T24" fmla="*/ 2 w 2"/>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4">
                    <a:moveTo>
                      <a:pt x="2" y="0"/>
                    </a:moveTo>
                    <a:lnTo>
                      <a:pt x="2" y="0"/>
                    </a:lnTo>
                    <a:lnTo>
                      <a:pt x="0" y="10"/>
                    </a:lnTo>
                    <a:lnTo>
                      <a:pt x="0" y="10"/>
                    </a:lnTo>
                    <a:lnTo>
                      <a:pt x="0" y="14"/>
                    </a:lnTo>
                    <a:lnTo>
                      <a:pt x="0" y="14"/>
                    </a:lnTo>
                    <a:lnTo>
                      <a:pt x="0" y="14"/>
                    </a:lnTo>
                    <a:lnTo>
                      <a:pt x="0" y="14"/>
                    </a:lnTo>
                    <a:lnTo>
                      <a:pt x="0" y="14"/>
                    </a:lnTo>
                    <a:lnTo>
                      <a:pt x="0"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2" name="Freeform 495"/>
              <p:cNvSpPr>
                <a:spLocks/>
              </p:cNvSpPr>
              <p:nvPr/>
            </p:nvSpPr>
            <p:spPr bwMode="auto">
              <a:xfrm>
                <a:off x="1172" y="141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3" name="Freeform 496"/>
              <p:cNvSpPr>
                <a:spLocks noEditPoints="1"/>
              </p:cNvSpPr>
              <p:nvPr/>
            </p:nvSpPr>
            <p:spPr bwMode="auto">
              <a:xfrm>
                <a:off x="1280" y="1404"/>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6 w 20"/>
                  <a:gd name="T35" fmla="*/ 4 h 14"/>
                  <a:gd name="T36" fmla="*/ 0 w 20"/>
                  <a:gd name="T37" fmla="*/ 10 h 14"/>
                  <a:gd name="T38" fmla="*/ 0 w 20"/>
                  <a:gd name="T39" fmla="*/ 10 h 14"/>
                  <a:gd name="T40" fmla="*/ 4 w 20"/>
                  <a:gd name="T41" fmla="*/ 8 h 14"/>
                  <a:gd name="T42" fmla="*/ 4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6" y="10"/>
                    </a:lnTo>
                    <a:lnTo>
                      <a:pt x="6" y="10"/>
                    </a:lnTo>
                    <a:lnTo>
                      <a:pt x="6" y="8"/>
                    </a:lnTo>
                    <a:close/>
                    <a:moveTo>
                      <a:pt x="14" y="0"/>
                    </a:moveTo>
                    <a:lnTo>
                      <a:pt x="14" y="0"/>
                    </a:lnTo>
                    <a:lnTo>
                      <a:pt x="6" y="4"/>
                    </a:lnTo>
                    <a:lnTo>
                      <a:pt x="0" y="10"/>
                    </a:lnTo>
                    <a:lnTo>
                      <a:pt x="0" y="10"/>
                    </a:lnTo>
                    <a:lnTo>
                      <a:pt x="4" y="8"/>
                    </a:lnTo>
                    <a:lnTo>
                      <a:pt x="4" y="8"/>
                    </a:lnTo>
                    <a:lnTo>
                      <a:pt x="6" y="14"/>
                    </a:lnTo>
                    <a:lnTo>
                      <a:pt x="6"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4" name="Freeform 497"/>
              <p:cNvSpPr>
                <a:spLocks/>
              </p:cNvSpPr>
              <p:nvPr/>
            </p:nvSpPr>
            <p:spPr bwMode="auto">
              <a:xfrm>
                <a:off x="1286" y="1410"/>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0 w 6"/>
                  <a:gd name="T21" fmla="*/ 6 h 6"/>
                  <a:gd name="T22" fmla="*/ 0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0" y="6"/>
                    </a:lnTo>
                    <a:lnTo>
                      <a:pt x="0"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5" name="Freeform 498"/>
              <p:cNvSpPr>
                <a:spLocks/>
              </p:cNvSpPr>
              <p:nvPr/>
            </p:nvSpPr>
            <p:spPr bwMode="auto">
              <a:xfrm>
                <a:off x="1280" y="1404"/>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6" name="Freeform 499"/>
              <p:cNvSpPr>
                <a:spLocks/>
              </p:cNvSpPr>
              <p:nvPr/>
            </p:nvSpPr>
            <p:spPr bwMode="auto">
              <a:xfrm>
                <a:off x="1234" y="1394"/>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2 h 18"/>
                  <a:gd name="T22" fmla="*/ 8 w 22"/>
                  <a:gd name="T23" fmla="*/ 12 h 18"/>
                  <a:gd name="T24" fmla="*/ 14 w 22"/>
                  <a:gd name="T25" fmla="*/ 4 h 18"/>
                  <a:gd name="T26" fmla="*/ 16 w 22"/>
                  <a:gd name="T27" fmla="*/ 2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7" name="Freeform 500"/>
              <p:cNvSpPr>
                <a:spLocks/>
              </p:cNvSpPr>
              <p:nvPr/>
            </p:nvSpPr>
            <p:spPr bwMode="auto">
              <a:xfrm>
                <a:off x="1234" y="1394"/>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2 h 18"/>
                  <a:gd name="T22" fmla="*/ 8 w 22"/>
                  <a:gd name="T23" fmla="*/ 12 h 18"/>
                  <a:gd name="T24" fmla="*/ 14 w 22"/>
                  <a:gd name="T25" fmla="*/ 4 h 18"/>
                  <a:gd name="T26" fmla="*/ 16 w 22"/>
                  <a:gd name="T27" fmla="*/ 2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8" name="Freeform 501"/>
              <p:cNvSpPr>
                <a:spLocks/>
              </p:cNvSpPr>
              <p:nvPr/>
            </p:nvSpPr>
            <p:spPr bwMode="auto">
              <a:xfrm>
                <a:off x="1330" y="13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9" name="Freeform 502"/>
              <p:cNvSpPr>
                <a:spLocks/>
              </p:cNvSpPr>
              <p:nvPr/>
            </p:nvSpPr>
            <p:spPr bwMode="auto">
              <a:xfrm>
                <a:off x="1330" y="13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0" name="Freeform 503"/>
              <p:cNvSpPr>
                <a:spLocks/>
              </p:cNvSpPr>
              <p:nvPr/>
            </p:nvSpPr>
            <p:spPr bwMode="auto">
              <a:xfrm>
                <a:off x="1274" y="1394"/>
                <a:ext cx="8" cy="8"/>
              </a:xfrm>
              <a:custGeom>
                <a:avLst/>
                <a:gdLst>
                  <a:gd name="T0" fmla="*/ 8 w 8"/>
                  <a:gd name="T1" fmla="*/ 0 h 8"/>
                  <a:gd name="T2" fmla="*/ 8 w 8"/>
                  <a:gd name="T3" fmla="*/ 0 h 8"/>
                  <a:gd name="T4" fmla="*/ 2 w 8"/>
                  <a:gd name="T5" fmla="*/ 2 h 8"/>
                  <a:gd name="T6" fmla="*/ 0 w 8"/>
                  <a:gd name="T7" fmla="*/ 4 h 8"/>
                  <a:gd name="T8" fmla="*/ 2 w 8"/>
                  <a:gd name="T9" fmla="*/ 8 h 8"/>
                  <a:gd name="T10" fmla="*/ 2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2"/>
                    </a:lnTo>
                    <a:lnTo>
                      <a:pt x="0" y="4"/>
                    </a:lnTo>
                    <a:lnTo>
                      <a:pt x="2" y="8"/>
                    </a:lnTo>
                    <a:lnTo>
                      <a:pt x="2"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1" name="Freeform 504"/>
              <p:cNvSpPr>
                <a:spLocks/>
              </p:cNvSpPr>
              <p:nvPr/>
            </p:nvSpPr>
            <p:spPr bwMode="auto">
              <a:xfrm>
                <a:off x="1274" y="1394"/>
                <a:ext cx="8" cy="8"/>
              </a:xfrm>
              <a:custGeom>
                <a:avLst/>
                <a:gdLst>
                  <a:gd name="T0" fmla="*/ 8 w 8"/>
                  <a:gd name="T1" fmla="*/ 0 h 8"/>
                  <a:gd name="T2" fmla="*/ 8 w 8"/>
                  <a:gd name="T3" fmla="*/ 0 h 8"/>
                  <a:gd name="T4" fmla="*/ 2 w 8"/>
                  <a:gd name="T5" fmla="*/ 2 h 8"/>
                  <a:gd name="T6" fmla="*/ 0 w 8"/>
                  <a:gd name="T7" fmla="*/ 4 h 8"/>
                  <a:gd name="T8" fmla="*/ 2 w 8"/>
                  <a:gd name="T9" fmla="*/ 8 h 8"/>
                  <a:gd name="T10" fmla="*/ 2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2"/>
                    </a:lnTo>
                    <a:lnTo>
                      <a:pt x="0" y="4"/>
                    </a:lnTo>
                    <a:lnTo>
                      <a:pt x="2" y="8"/>
                    </a:lnTo>
                    <a:lnTo>
                      <a:pt x="2"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2" name="Freeform 505"/>
              <p:cNvSpPr>
                <a:spLocks/>
              </p:cNvSpPr>
              <p:nvPr/>
            </p:nvSpPr>
            <p:spPr bwMode="auto">
              <a:xfrm>
                <a:off x="1288"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3" name="Freeform 506"/>
              <p:cNvSpPr>
                <a:spLocks/>
              </p:cNvSpPr>
              <p:nvPr/>
            </p:nvSpPr>
            <p:spPr bwMode="auto">
              <a:xfrm>
                <a:off x="1288"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4" name="Freeform 507"/>
              <p:cNvSpPr>
                <a:spLocks/>
              </p:cNvSpPr>
              <p:nvPr/>
            </p:nvSpPr>
            <p:spPr bwMode="auto">
              <a:xfrm>
                <a:off x="1286"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5" name="Freeform 508"/>
              <p:cNvSpPr>
                <a:spLocks/>
              </p:cNvSpPr>
              <p:nvPr/>
            </p:nvSpPr>
            <p:spPr bwMode="auto">
              <a:xfrm>
                <a:off x="1286"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6" name="Freeform 509"/>
              <p:cNvSpPr>
                <a:spLocks/>
              </p:cNvSpPr>
              <p:nvPr/>
            </p:nvSpPr>
            <p:spPr bwMode="auto">
              <a:xfrm>
                <a:off x="1286"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7" name="Freeform 510"/>
              <p:cNvSpPr>
                <a:spLocks/>
              </p:cNvSpPr>
              <p:nvPr/>
            </p:nvSpPr>
            <p:spPr bwMode="auto">
              <a:xfrm>
                <a:off x="1286"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8" name="Freeform 511"/>
              <p:cNvSpPr>
                <a:spLocks/>
              </p:cNvSpPr>
              <p:nvPr/>
            </p:nvSpPr>
            <p:spPr bwMode="auto">
              <a:xfrm>
                <a:off x="252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9" name="Freeform 512"/>
              <p:cNvSpPr>
                <a:spLocks/>
              </p:cNvSpPr>
              <p:nvPr/>
            </p:nvSpPr>
            <p:spPr bwMode="auto">
              <a:xfrm>
                <a:off x="261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0" name="Freeform 513"/>
              <p:cNvSpPr>
                <a:spLocks/>
              </p:cNvSpPr>
              <p:nvPr/>
            </p:nvSpPr>
            <p:spPr bwMode="auto">
              <a:xfrm>
                <a:off x="2706"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1" name="Freeform 514"/>
              <p:cNvSpPr>
                <a:spLocks/>
              </p:cNvSpPr>
              <p:nvPr/>
            </p:nvSpPr>
            <p:spPr bwMode="auto">
              <a:xfrm>
                <a:off x="311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2" name="Freeform 515"/>
              <p:cNvSpPr>
                <a:spLocks/>
              </p:cNvSpPr>
              <p:nvPr/>
            </p:nvSpPr>
            <p:spPr bwMode="auto">
              <a:xfrm>
                <a:off x="321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3" name="Freeform 516"/>
              <p:cNvSpPr>
                <a:spLocks/>
              </p:cNvSpPr>
              <p:nvPr/>
            </p:nvSpPr>
            <p:spPr bwMode="auto">
              <a:xfrm>
                <a:off x="330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4" name="Freeform 517"/>
              <p:cNvSpPr>
                <a:spLocks/>
              </p:cNvSpPr>
              <p:nvPr/>
            </p:nvSpPr>
            <p:spPr bwMode="auto">
              <a:xfrm>
                <a:off x="339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5" name="Freeform 518"/>
              <p:cNvSpPr>
                <a:spLocks/>
              </p:cNvSpPr>
              <p:nvPr/>
            </p:nvSpPr>
            <p:spPr bwMode="auto">
              <a:xfrm>
                <a:off x="363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6" name="Freeform 519"/>
              <p:cNvSpPr>
                <a:spLocks/>
              </p:cNvSpPr>
              <p:nvPr/>
            </p:nvSpPr>
            <p:spPr bwMode="auto">
              <a:xfrm>
                <a:off x="372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7" name="Freeform 520"/>
              <p:cNvSpPr>
                <a:spLocks/>
              </p:cNvSpPr>
              <p:nvPr/>
            </p:nvSpPr>
            <p:spPr bwMode="auto">
              <a:xfrm>
                <a:off x="348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8" name="Freeform 521"/>
              <p:cNvSpPr>
                <a:spLocks/>
              </p:cNvSpPr>
              <p:nvPr/>
            </p:nvSpPr>
            <p:spPr bwMode="auto">
              <a:xfrm>
                <a:off x="348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9" name="Freeform 522"/>
              <p:cNvSpPr>
                <a:spLocks/>
              </p:cNvSpPr>
              <p:nvPr/>
            </p:nvSpPr>
            <p:spPr bwMode="auto">
              <a:xfrm>
                <a:off x="354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0" name="Freeform 523"/>
              <p:cNvSpPr>
                <a:spLocks/>
              </p:cNvSpPr>
              <p:nvPr/>
            </p:nvSpPr>
            <p:spPr bwMode="auto">
              <a:xfrm>
                <a:off x="354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1" name="Freeform 524"/>
              <p:cNvSpPr>
                <a:spLocks noEditPoints="1"/>
              </p:cNvSpPr>
              <p:nvPr/>
            </p:nvSpPr>
            <p:spPr bwMode="auto">
              <a:xfrm>
                <a:off x="2340"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2" name="Freeform 525"/>
              <p:cNvSpPr>
                <a:spLocks noEditPoints="1"/>
              </p:cNvSpPr>
              <p:nvPr/>
            </p:nvSpPr>
            <p:spPr bwMode="auto">
              <a:xfrm>
                <a:off x="2480" y="1158"/>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3" name="Freeform 526"/>
              <p:cNvSpPr>
                <a:spLocks noEditPoints="1"/>
              </p:cNvSpPr>
              <p:nvPr/>
            </p:nvSpPr>
            <p:spPr bwMode="auto">
              <a:xfrm>
                <a:off x="2890" y="1178"/>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4" name="Freeform 527"/>
              <p:cNvSpPr>
                <a:spLocks/>
              </p:cNvSpPr>
              <p:nvPr/>
            </p:nvSpPr>
            <p:spPr bwMode="auto">
              <a:xfrm>
                <a:off x="302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5" name="Freeform 528"/>
              <p:cNvSpPr>
                <a:spLocks/>
              </p:cNvSpPr>
              <p:nvPr/>
            </p:nvSpPr>
            <p:spPr bwMode="auto">
              <a:xfrm>
                <a:off x="2616"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6" name="Freeform 529"/>
              <p:cNvSpPr>
                <a:spLocks/>
              </p:cNvSpPr>
              <p:nvPr/>
            </p:nvSpPr>
            <p:spPr bwMode="auto">
              <a:xfrm>
                <a:off x="270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7" name="Freeform 530"/>
              <p:cNvSpPr>
                <a:spLocks/>
              </p:cNvSpPr>
              <p:nvPr/>
            </p:nvSpPr>
            <p:spPr bwMode="auto">
              <a:xfrm>
                <a:off x="2800"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8" name="Freeform 531"/>
              <p:cNvSpPr>
                <a:spLocks/>
              </p:cNvSpPr>
              <p:nvPr/>
            </p:nvSpPr>
            <p:spPr bwMode="auto">
              <a:xfrm>
                <a:off x="362"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9" name="Freeform 532"/>
              <p:cNvSpPr>
                <a:spLocks/>
              </p:cNvSpPr>
              <p:nvPr/>
            </p:nvSpPr>
            <p:spPr bwMode="auto">
              <a:xfrm>
                <a:off x="454"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0" name="Freeform 533"/>
              <p:cNvSpPr>
                <a:spLocks/>
              </p:cNvSpPr>
              <p:nvPr/>
            </p:nvSpPr>
            <p:spPr bwMode="auto">
              <a:xfrm>
                <a:off x="546"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1" name="Freeform 534"/>
              <p:cNvSpPr>
                <a:spLocks/>
              </p:cNvSpPr>
              <p:nvPr/>
            </p:nvSpPr>
            <p:spPr bwMode="auto">
              <a:xfrm>
                <a:off x="864"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2" name="Freeform 535"/>
              <p:cNvSpPr>
                <a:spLocks/>
              </p:cNvSpPr>
              <p:nvPr/>
            </p:nvSpPr>
            <p:spPr bwMode="auto">
              <a:xfrm>
                <a:off x="864"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3" name="Freeform 536"/>
              <p:cNvSpPr>
                <a:spLocks/>
              </p:cNvSpPr>
              <p:nvPr/>
            </p:nvSpPr>
            <p:spPr bwMode="auto">
              <a:xfrm>
                <a:off x="924"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4" name="Freeform 537"/>
              <p:cNvSpPr>
                <a:spLocks/>
              </p:cNvSpPr>
              <p:nvPr/>
            </p:nvSpPr>
            <p:spPr bwMode="auto">
              <a:xfrm>
                <a:off x="924"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5" name="Freeform 538"/>
              <p:cNvSpPr>
                <a:spLocks/>
              </p:cNvSpPr>
              <p:nvPr/>
            </p:nvSpPr>
            <p:spPr bwMode="auto">
              <a:xfrm>
                <a:off x="101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6" name="Freeform 539"/>
              <p:cNvSpPr>
                <a:spLocks/>
              </p:cNvSpPr>
              <p:nvPr/>
            </p:nvSpPr>
            <p:spPr bwMode="auto">
              <a:xfrm>
                <a:off x="110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7" name="Freeform 540"/>
              <p:cNvSpPr>
                <a:spLocks/>
              </p:cNvSpPr>
              <p:nvPr/>
            </p:nvSpPr>
            <p:spPr bwMode="auto">
              <a:xfrm>
                <a:off x="119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8" name="Freeform 541"/>
              <p:cNvSpPr>
                <a:spLocks noEditPoints="1"/>
              </p:cNvSpPr>
              <p:nvPr/>
            </p:nvSpPr>
            <p:spPr bwMode="auto">
              <a:xfrm>
                <a:off x="636" y="1160"/>
                <a:ext cx="188" cy="144"/>
              </a:xfrm>
              <a:custGeom>
                <a:avLst/>
                <a:gdLst>
                  <a:gd name="T0" fmla="*/ 118 w 188"/>
                  <a:gd name="T1" fmla="*/ 104 h 144"/>
                  <a:gd name="T2" fmla="*/ 120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4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80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50 w 188"/>
                  <a:gd name="T69" fmla="*/ 86 h 144"/>
                  <a:gd name="T70" fmla="*/ 72 w 188"/>
                  <a:gd name="T71" fmla="*/ 96 h 144"/>
                  <a:gd name="T72" fmla="*/ 98 w 188"/>
                  <a:gd name="T73" fmla="*/ 72 h 144"/>
                  <a:gd name="T74" fmla="*/ 92 w 188"/>
                  <a:gd name="T75" fmla="*/ 80 h 144"/>
                  <a:gd name="T76" fmla="*/ 64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2 w 188"/>
                  <a:gd name="T113" fmla="*/ 102 h 144"/>
                  <a:gd name="T114" fmla="*/ 154 w 188"/>
                  <a:gd name="T115" fmla="*/ 90 h 144"/>
                  <a:gd name="T116" fmla="*/ 188 w 188"/>
                  <a:gd name="T117" fmla="*/ 58 h 144"/>
                  <a:gd name="T118" fmla="*/ 178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20" y="130"/>
                    </a:lnTo>
                    <a:lnTo>
                      <a:pt x="120"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8" y="104"/>
                    </a:lnTo>
                    <a:lnTo>
                      <a:pt x="8"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4" y="54"/>
                    </a:lnTo>
                    <a:lnTo>
                      <a:pt x="4" y="54"/>
                    </a:lnTo>
                    <a:lnTo>
                      <a:pt x="4" y="54"/>
                    </a:lnTo>
                    <a:lnTo>
                      <a:pt x="4" y="54"/>
                    </a:lnTo>
                    <a:lnTo>
                      <a:pt x="8" y="48"/>
                    </a:lnTo>
                    <a:lnTo>
                      <a:pt x="8" y="48"/>
                    </a:lnTo>
                    <a:lnTo>
                      <a:pt x="10" y="48"/>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0"/>
                    </a:lnTo>
                    <a:lnTo>
                      <a:pt x="154" y="40"/>
                    </a:lnTo>
                    <a:lnTo>
                      <a:pt x="156" y="40"/>
                    </a:lnTo>
                    <a:lnTo>
                      <a:pt x="156" y="40"/>
                    </a:lnTo>
                    <a:lnTo>
                      <a:pt x="160" y="42"/>
                    </a:lnTo>
                    <a:lnTo>
                      <a:pt x="160"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60" y="60"/>
                    </a:lnTo>
                    <a:lnTo>
                      <a:pt x="160"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6" y="90"/>
                    </a:lnTo>
                    <a:lnTo>
                      <a:pt x="146"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6" y="96"/>
                    </a:lnTo>
                    <a:lnTo>
                      <a:pt x="116"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70" y="128"/>
                    </a:lnTo>
                    <a:lnTo>
                      <a:pt x="70" y="128"/>
                    </a:lnTo>
                    <a:lnTo>
                      <a:pt x="68" y="124"/>
                    </a:lnTo>
                    <a:lnTo>
                      <a:pt x="72" y="122"/>
                    </a:lnTo>
                    <a:lnTo>
                      <a:pt x="72" y="122"/>
                    </a:lnTo>
                    <a:lnTo>
                      <a:pt x="80" y="118"/>
                    </a:lnTo>
                    <a:lnTo>
                      <a:pt x="80" y="118"/>
                    </a:lnTo>
                    <a:lnTo>
                      <a:pt x="80" y="108"/>
                    </a:lnTo>
                    <a:lnTo>
                      <a:pt x="80"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4" y="122"/>
                    </a:lnTo>
                    <a:lnTo>
                      <a:pt x="50" y="130"/>
                    </a:lnTo>
                    <a:lnTo>
                      <a:pt x="50" y="130"/>
                    </a:lnTo>
                    <a:lnTo>
                      <a:pt x="48" y="132"/>
                    </a:lnTo>
                    <a:lnTo>
                      <a:pt x="48" y="136"/>
                    </a:lnTo>
                    <a:lnTo>
                      <a:pt x="48" y="136"/>
                    </a:lnTo>
                    <a:lnTo>
                      <a:pt x="46" y="138"/>
                    </a:lnTo>
                    <a:lnTo>
                      <a:pt x="44" y="138"/>
                    </a:lnTo>
                    <a:lnTo>
                      <a:pt x="44" y="138"/>
                    </a:lnTo>
                    <a:lnTo>
                      <a:pt x="28" y="136"/>
                    </a:lnTo>
                    <a:lnTo>
                      <a:pt x="28" y="136"/>
                    </a:lnTo>
                    <a:lnTo>
                      <a:pt x="26" y="134"/>
                    </a:lnTo>
                    <a:lnTo>
                      <a:pt x="26" y="130"/>
                    </a:lnTo>
                    <a:lnTo>
                      <a:pt x="26" y="130"/>
                    </a:lnTo>
                    <a:lnTo>
                      <a:pt x="26" y="126"/>
                    </a:lnTo>
                    <a:lnTo>
                      <a:pt x="28" y="120"/>
                    </a:lnTo>
                    <a:lnTo>
                      <a:pt x="28" y="120"/>
                    </a:lnTo>
                    <a:lnTo>
                      <a:pt x="28" y="118"/>
                    </a:lnTo>
                    <a:lnTo>
                      <a:pt x="26" y="114"/>
                    </a:lnTo>
                    <a:lnTo>
                      <a:pt x="26" y="114"/>
                    </a:lnTo>
                    <a:lnTo>
                      <a:pt x="22" y="106"/>
                    </a:lnTo>
                    <a:lnTo>
                      <a:pt x="18" y="96"/>
                    </a:lnTo>
                    <a:lnTo>
                      <a:pt x="16" y="88"/>
                    </a:lnTo>
                    <a:lnTo>
                      <a:pt x="16" y="78"/>
                    </a:lnTo>
                    <a:lnTo>
                      <a:pt x="16" y="78"/>
                    </a:lnTo>
                    <a:lnTo>
                      <a:pt x="16" y="68"/>
                    </a:lnTo>
                    <a:lnTo>
                      <a:pt x="20" y="60"/>
                    </a:lnTo>
                    <a:lnTo>
                      <a:pt x="24" y="52"/>
                    </a:lnTo>
                    <a:lnTo>
                      <a:pt x="30" y="46"/>
                    </a:lnTo>
                    <a:lnTo>
                      <a:pt x="30" y="46"/>
                    </a:lnTo>
                    <a:lnTo>
                      <a:pt x="42" y="38"/>
                    </a:lnTo>
                    <a:lnTo>
                      <a:pt x="56" y="34"/>
                    </a:lnTo>
                    <a:lnTo>
                      <a:pt x="56"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50" y="86"/>
                    </a:lnTo>
                    <a:lnTo>
                      <a:pt x="50" y="86"/>
                    </a:lnTo>
                    <a:lnTo>
                      <a:pt x="50" y="90"/>
                    </a:lnTo>
                    <a:lnTo>
                      <a:pt x="50" y="90"/>
                    </a:lnTo>
                    <a:lnTo>
                      <a:pt x="56" y="96"/>
                    </a:lnTo>
                    <a:lnTo>
                      <a:pt x="64" y="98"/>
                    </a:lnTo>
                    <a:lnTo>
                      <a:pt x="64" y="98"/>
                    </a:lnTo>
                    <a:lnTo>
                      <a:pt x="68" y="98"/>
                    </a:lnTo>
                    <a:lnTo>
                      <a:pt x="72" y="96"/>
                    </a:lnTo>
                    <a:lnTo>
                      <a:pt x="72" y="96"/>
                    </a:lnTo>
                    <a:lnTo>
                      <a:pt x="82" y="90"/>
                    </a:lnTo>
                    <a:lnTo>
                      <a:pt x="92" y="88"/>
                    </a:lnTo>
                    <a:lnTo>
                      <a:pt x="92" y="88"/>
                    </a:lnTo>
                    <a:lnTo>
                      <a:pt x="96" y="84"/>
                    </a:lnTo>
                    <a:lnTo>
                      <a:pt x="96"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4" y="94"/>
                    </a:lnTo>
                    <a:lnTo>
                      <a:pt x="64"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6" y="66"/>
                    </a:lnTo>
                    <a:lnTo>
                      <a:pt x="46"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4" y="0"/>
                    </a:moveTo>
                    <a:lnTo>
                      <a:pt x="114" y="0"/>
                    </a:lnTo>
                    <a:lnTo>
                      <a:pt x="106" y="2"/>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6"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6" y="138"/>
                    </a:lnTo>
                    <a:lnTo>
                      <a:pt x="26" y="138"/>
                    </a:lnTo>
                    <a:lnTo>
                      <a:pt x="34" y="140"/>
                    </a:lnTo>
                    <a:lnTo>
                      <a:pt x="42" y="142"/>
                    </a:lnTo>
                    <a:lnTo>
                      <a:pt x="42" y="142"/>
                    </a:lnTo>
                    <a:lnTo>
                      <a:pt x="46" y="142"/>
                    </a:lnTo>
                    <a:lnTo>
                      <a:pt x="46" y="142"/>
                    </a:lnTo>
                    <a:lnTo>
                      <a:pt x="48" y="142"/>
                    </a:lnTo>
                    <a:lnTo>
                      <a:pt x="50" y="140"/>
                    </a:lnTo>
                    <a:lnTo>
                      <a:pt x="52" y="134"/>
                    </a:lnTo>
                    <a:lnTo>
                      <a:pt x="52" y="134"/>
                    </a:lnTo>
                    <a:lnTo>
                      <a:pt x="52" y="130"/>
                    </a:lnTo>
                    <a:lnTo>
                      <a:pt x="52" y="130"/>
                    </a:lnTo>
                    <a:lnTo>
                      <a:pt x="58" y="118"/>
                    </a:lnTo>
                    <a:lnTo>
                      <a:pt x="58" y="118"/>
                    </a:lnTo>
                    <a:lnTo>
                      <a:pt x="70" y="118"/>
                    </a:lnTo>
                    <a:lnTo>
                      <a:pt x="70" y="118"/>
                    </a:lnTo>
                    <a:lnTo>
                      <a:pt x="64" y="124"/>
                    </a:lnTo>
                    <a:lnTo>
                      <a:pt x="66" y="128"/>
                    </a:lnTo>
                    <a:lnTo>
                      <a:pt x="66" y="128"/>
                    </a:lnTo>
                    <a:lnTo>
                      <a:pt x="74" y="142"/>
                    </a:lnTo>
                    <a:lnTo>
                      <a:pt x="74" y="142"/>
                    </a:lnTo>
                    <a:lnTo>
                      <a:pt x="78" y="144"/>
                    </a:lnTo>
                    <a:lnTo>
                      <a:pt x="80" y="144"/>
                    </a:lnTo>
                    <a:lnTo>
                      <a:pt x="80" y="144"/>
                    </a:lnTo>
                    <a:lnTo>
                      <a:pt x="86" y="144"/>
                    </a:lnTo>
                    <a:lnTo>
                      <a:pt x="90" y="140"/>
                    </a:lnTo>
                    <a:lnTo>
                      <a:pt x="90" y="140"/>
                    </a:lnTo>
                    <a:lnTo>
                      <a:pt x="98" y="132"/>
                    </a:lnTo>
                    <a:lnTo>
                      <a:pt x="98" y="132"/>
                    </a:lnTo>
                    <a:lnTo>
                      <a:pt x="100" y="132"/>
                    </a:lnTo>
                    <a:lnTo>
                      <a:pt x="100" y="132"/>
                    </a:lnTo>
                    <a:lnTo>
                      <a:pt x="116" y="132"/>
                    </a:lnTo>
                    <a:lnTo>
                      <a:pt x="116" y="132"/>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2"/>
                    </a:lnTo>
                    <a:lnTo>
                      <a:pt x="164" y="32"/>
                    </a:lnTo>
                    <a:lnTo>
                      <a:pt x="160" y="30"/>
                    </a:lnTo>
                    <a:lnTo>
                      <a:pt x="160" y="30"/>
                    </a:lnTo>
                    <a:lnTo>
                      <a:pt x="158" y="26"/>
                    </a:lnTo>
                    <a:lnTo>
                      <a:pt x="152" y="22"/>
                    </a:lnTo>
                    <a:lnTo>
                      <a:pt x="152"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9" name="Freeform 542"/>
              <p:cNvSpPr>
                <a:spLocks/>
              </p:cNvSpPr>
              <p:nvPr/>
            </p:nvSpPr>
            <p:spPr bwMode="auto">
              <a:xfrm>
                <a:off x="740" y="1264"/>
                <a:ext cx="16" cy="26"/>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6 w 16"/>
                  <a:gd name="T29" fmla="*/ 26 h 26"/>
                  <a:gd name="T30" fmla="*/ 16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0" name="Freeform 543"/>
              <p:cNvSpPr>
                <a:spLocks/>
              </p:cNvSpPr>
              <p:nvPr/>
            </p:nvSpPr>
            <p:spPr bwMode="auto">
              <a:xfrm>
                <a:off x="642" y="1260"/>
                <a:ext cx="18" cy="22"/>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1" name="Freeform 544"/>
              <p:cNvSpPr>
                <a:spLocks/>
              </p:cNvSpPr>
              <p:nvPr/>
            </p:nvSpPr>
            <p:spPr bwMode="auto">
              <a:xfrm>
                <a:off x="638" y="120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2 w 12"/>
                  <a:gd name="T65" fmla="*/ 6 h 20"/>
                  <a:gd name="T66" fmla="*/ 2 w 12"/>
                  <a:gd name="T67" fmla="*/ 6 h 20"/>
                  <a:gd name="T68" fmla="*/ 2 w 12"/>
                  <a:gd name="T69" fmla="*/ 6 h 20"/>
                  <a:gd name="T70" fmla="*/ 2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2" y="6"/>
                    </a:lnTo>
                    <a:lnTo>
                      <a:pt x="2" y="6"/>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2" name="Freeform 545"/>
              <p:cNvSpPr>
                <a:spLocks/>
              </p:cNvSpPr>
              <p:nvPr/>
            </p:nvSpPr>
            <p:spPr bwMode="auto">
              <a:xfrm>
                <a:off x="652" y="1164"/>
                <a:ext cx="168" cy="138"/>
              </a:xfrm>
              <a:custGeom>
                <a:avLst/>
                <a:gdLst>
                  <a:gd name="T0" fmla="*/ 72 w 168"/>
                  <a:gd name="T1" fmla="*/ 8 h 138"/>
                  <a:gd name="T2" fmla="*/ 100 w 168"/>
                  <a:gd name="T3" fmla="*/ 0 h 138"/>
                  <a:gd name="T4" fmla="*/ 128 w 168"/>
                  <a:gd name="T5" fmla="*/ 16 h 138"/>
                  <a:gd name="T6" fmla="*/ 134 w 168"/>
                  <a:gd name="T7" fmla="*/ 18 h 138"/>
                  <a:gd name="T8" fmla="*/ 134 w 168"/>
                  <a:gd name="T9" fmla="*/ 30 h 138"/>
                  <a:gd name="T10" fmla="*/ 138 w 168"/>
                  <a:gd name="T11" fmla="*/ 36 h 138"/>
                  <a:gd name="T12" fmla="*/ 144 w 168"/>
                  <a:gd name="T13" fmla="*/ 38 h 138"/>
                  <a:gd name="T14" fmla="*/ 130 w 168"/>
                  <a:gd name="T15" fmla="*/ 48 h 138"/>
                  <a:gd name="T16" fmla="*/ 136 w 168"/>
                  <a:gd name="T17" fmla="*/ 40 h 138"/>
                  <a:gd name="T18" fmla="*/ 136 w 168"/>
                  <a:gd name="T19" fmla="*/ 52 h 138"/>
                  <a:gd name="T20" fmla="*/ 142 w 168"/>
                  <a:gd name="T21" fmla="*/ 42 h 138"/>
                  <a:gd name="T22" fmla="*/ 144 w 168"/>
                  <a:gd name="T23" fmla="*/ 56 h 138"/>
                  <a:gd name="T24" fmla="*/ 146 w 168"/>
                  <a:gd name="T25" fmla="*/ 34 h 138"/>
                  <a:gd name="T26" fmla="*/ 158 w 168"/>
                  <a:gd name="T27" fmla="*/ 24 h 138"/>
                  <a:gd name="T28" fmla="*/ 164 w 168"/>
                  <a:gd name="T29" fmla="*/ 26 h 138"/>
                  <a:gd name="T30" fmla="*/ 168 w 168"/>
                  <a:gd name="T31" fmla="*/ 52 h 138"/>
                  <a:gd name="T32" fmla="*/ 162 w 168"/>
                  <a:gd name="T33" fmla="*/ 74 h 138"/>
                  <a:gd name="T34" fmla="*/ 142 w 168"/>
                  <a:gd name="T35" fmla="*/ 84 h 138"/>
                  <a:gd name="T36" fmla="*/ 116 w 168"/>
                  <a:gd name="T37" fmla="*/ 78 h 138"/>
                  <a:gd name="T38" fmla="*/ 114 w 168"/>
                  <a:gd name="T39" fmla="*/ 94 h 138"/>
                  <a:gd name="T40" fmla="*/ 118 w 168"/>
                  <a:gd name="T41" fmla="*/ 96 h 138"/>
                  <a:gd name="T42" fmla="*/ 126 w 168"/>
                  <a:gd name="T43" fmla="*/ 86 h 138"/>
                  <a:gd name="T44" fmla="*/ 128 w 168"/>
                  <a:gd name="T45" fmla="*/ 90 h 138"/>
                  <a:gd name="T46" fmla="*/ 120 w 168"/>
                  <a:gd name="T47" fmla="*/ 96 h 138"/>
                  <a:gd name="T48" fmla="*/ 110 w 168"/>
                  <a:gd name="T49" fmla="*/ 94 h 138"/>
                  <a:gd name="T50" fmla="*/ 90 w 168"/>
                  <a:gd name="T51" fmla="*/ 82 h 138"/>
                  <a:gd name="T52" fmla="*/ 100 w 168"/>
                  <a:gd name="T53" fmla="*/ 92 h 138"/>
                  <a:gd name="T54" fmla="*/ 84 w 168"/>
                  <a:gd name="T55" fmla="*/ 122 h 138"/>
                  <a:gd name="T56" fmla="*/ 70 w 168"/>
                  <a:gd name="T57" fmla="*/ 134 h 138"/>
                  <a:gd name="T58" fmla="*/ 60 w 168"/>
                  <a:gd name="T59" fmla="*/ 136 h 138"/>
                  <a:gd name="T60" fmla="*/ 52 w 168"/>
                  <a:gd name="T61" fmla="*/ 120 h 138"/>
                  <a:gd name="T62" fmla="*/ 64 w 168"/>
                  <a:gd name="T63" fmla="*/ 114 h 138"/>
                  <a:gd name="T64" fmla="*/ 60 w 168"/>
                  <a:gd name="T65" fmla="*/ 110 h 138"/>
                  <a:gd name="T66" fmla="*/ 50 w 168"/>
                  <a:gd name="T67" fmla="*/ 112 h 138"/>
                  <a:gd name="T68" fmla="*/ 38 w 168"/>
                  <a:gd name="T69" fmla="*/ 110 h 138"/>
                  <a:gd name="T70" fmla="*/ 38 w 168"/>
                  <a:gd name="T71" fmla="*/ 108 h 138"/>
                  <a:gd name="T72" fmla="*/ 34 w 168"/>
                  <a:gd name="T73" fmla="*/ 126 h 138"/>
                  <a:gd name="T74" fmla="*/ 32 w 168"/>
                  <a:gd name="T75" fmla="*/ 132 h 138"/>
                  <a:gd name="T76" fmla="*/ 12 w 168"/>
                  <a:gd name="T77" fmla="*/ 132 h 138"/>
                  <a:gd name="T78" fmla="*/ 10 w 168"/>
                  <a:gd name="T79" fmla="*/ 126 h 138"/>
                  <a:gd name="T80" fmla="*/ 12 w 168"/>
                  <a:gd name="T81" fmla="*/ 114 h 138"/>
                  <a:gd name="T82" fmla="*/ 2 w 168"/>
                  <a:gd name="T83" fmla="*/ 92 h 138"/>
                  <a:gd name="T84" fmla="*/ 0 w 168"/>
                  <a:gd name="T85" fmla="*/ 64 h 138"/>
                  <a:gd name="T86" fmla="*/ 14 w 168"/>
                  <a:gd name="T87" fmla="*/ 42 h 138"/>
                  <a:gd name="T88" fmla="*/ 44 w 168"/>
                  <a:gd name="T89" fmla="*/ 30 h 138"/>
                  <a:gd name="T90" fmla="*/ 28 w 168"/>
                  <a:gd name="T91" fmla="*/ 50 h 138"/>
                  <a:gd name="T92" fmla="*/ 26 w 168"/>
                  <a:gd name="T93" fmla="*/ 64 h 138"/>
                  <a:gd name="T94" fmla="*/ 34 w 168"/>
                  <a:gd name="T95" fmla="*/ 78 h 138"/>
                  <a:gd name="T96" fmla="*/ 34 w 168"/>
                  <a:gd name="T97" fmla="*/ 86 h 138"/>
                  <a:gd name="T98" fmla="*/ 52 w 168"/>
                  <a:gd name="T99" fmla="*/ 94 h 138"/>
                  <a:gd name="T100" fmla="*/ 76 w 168"/>
                  <a:gd name="T101" fmla="*/ 84 h 138"/>
                  <a:gd name="T102" fmla="*/ 80 w 168"/>
                  <a:gd name="T103" fmla="*/ 74 h 138"/>
                  <a:gd name="T104" fmla="*/ 76 w 168"/>
                  <a:gd name="T105" fmla="*/ 38 h 138"/>
                  <a:gd name="T106" fmla="*/ 76 w 168"/>
                  <a:gd name="T107" fmla="*/ 76 h 138"/>
                  <a:gd name="T108" fmla="*/ 72 w 168"/>
                  <a:gd name="T109" fmla="*/ 82 h 138"/>
                  <a:gd name="T110" fmla="*/ 48 w 168"/>
                  <a:gd name="T111" fmla="*/ 90 h 138"/>
                  <a:gd name="T112" fmla="*/ 38 w 168"/>
                  <a:gd name="T113" fmla="*/ 86 h 138"/>
                  <a:gd name="T114" fmla="*/ 40 w 168"/>
                  <a:gd name="T115" fmla="*/ 72 h 138"/>
                  <a:gd name="T116" fmla="*/ 36 w 168"/>
                  <a:gd name="T117" fmla="*/ 72 h 138"/>
                  <a:gd name="T118" fmla="*/ 28 w 168"/>
                  <a:gd name="T119" fmla="*/ 58 h 138"/>
                  <a:gd name="T120" fmla="*/ 36 w 168"/>
                  <a:gd name="T121" fmla="*/ 44 h 138"/>
                  <a:gd name="T122" fmla="*/ 64 w 168"/>
                  <a:gd name="T123" fmla="*/ 18 h 138"/>
                  <a:gd name="T124" fmla="*/ 74 w 168"/>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138">
                    <a:moveTo>
                      <a:pt x="66" y="16"/>
                    </a:moveTo>
                    <a:lnTo>
                      <a:pt x="66" y="16"/>
                    </a:lnTo>
                    <a:lnTo>
                      <a:pt x="70" y="12"/>
                    </a:lnTo>
                    <a:lnTo>
                      <a:pt x="72"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6"/>
                    </a:lnTo>
                    <a:lnTo>
                      <a:pt x="138" y="36"/>
                    </a:lnTo>
                    <a:lnTo>
                      <a:pt x="140" y="36"/>
                    </a:lnTo>
                    <a:lnTo>
                      <a:pt x="140" y="36"/>
                    </a:lnTo>
                    <a:lnTo>
                      <a:pt x="144" y="38"/>
                    </a:lnTo>
                    <a:lnTo>
                      <a:pt x="144" y="38"/>
                    </a:lnTo>
                    <a:lnTo>
                      <a:pt x="132" y="42"/>
                    </a:lnTo>
                    <a:lnTo>
                      <a:pt x="130" y="44"/>
                    </a:lnTo>
                    <a:lnTo>
                      <a:pt x="130" y="48"/>
                    </a:lnTo>
                    <a:lnTo>
                      <a:pt x="130" y="48"/>
                    </a:lnTo>
                    <a:lnTo>
                      <a:pt x="132" y="44"/>
                    </a:lnTo>
                    <a:lnTo>
                      <a:pt x="132" y="44"/>
                    </a:lnTo>
                    <a:lnTo>
                      <a:pt x="136" y="40"/>
                    </a:lnTo>
                    <a:lnTo>
                      <a:pt x="136" y="40"/>
                    </a:lnTo>
                    <a:lnTo>
                      <a:pt x="134" y="52"/>
                    </a:lnTo>
                    <a:lnTo>
                      <a:pt x="134" y="52"/>
                    </a:lnTo>
                    <a:lnTo>
                      <a:pt x="136" y="52"/>
                    </a:lnTo>
                    <a:lnTo>
                      <a:pt x="136" y="52"/>
                    </a:lnTo>
                    <a:lnTo>
                      <a:pt x="140" y="44"/>
                    </a:lnTo>
                    <a:lnTo>
                      <a:pt x="140" y="44"/>
                    </a:lnTo>
                    <a:lnTo>
                      <a:pt x="142" y="42"/>
                    </a:lnTo>
                    <a:lnTo>
                      <a:pt x="142" y="42"/>
                    </a:lnTo>
                    <a:lnTo>
                      <a:pt x="144" y="44"/>
                    </a:lnTo>
                    <a:lnTo>
                      <a:pt x="144" y="44"/>
                    </a:lnTo>
                    <a:lnTo>
                      <a:pt x="144" y="56"/>
                    </a:lnTo>
                    <a:lnTo>
                      <a:pt x="144" y="56"/>
                    </a:lnTo>
                    <a:lnTo>
                      <a:pt x="146" y="46"/>
                    </a:lnTo>
                    <a:lnTo>
                      <a:pt x="146" y="38"/>
                    </a:lnTo>
                    <a:lnTo>
                      <a:pt x="146" y="38"/>
                    </a:lnTo>
                    <a:lnTo>
                      <a:pt x="146" y="34"/>
                    </a:lnTo>
                    <a:lnTo>
                      <a:pt x="148" y="32"/>
                    </a:lnTo>
                    <a:lnTo>
                      <a:pt x="148" y="32"/>
                    </a:lnTo>
                    <a:lnTo>
                      <a:pt x="152" y="30"/>
                    </a:lnTo>
                    <a:lnTo>
                      <a:pt x="158" y="24"/>
                    </a:lnTo>
                    <a:lnTo>
                      <a:pt x="158" y="24"/>
                    </a:lnTo>
                    <a:lnTo>
                      <a:pt x="160" y="22"/>
                    </a:lnTo>
                    <a:lnTo>
                      <a:pt x="160" y="22"/>
                    </a:lnTo>
                    <a:lnTo>
                      <a:pt x="164" y="26"/>
                    </a:lnTo>
                    <a:lnTo>
                      <a:pt x="164" y="26"/>
                    </a:lnTo>
                    <a:lnTo>
                      <a:pt x="168" y="36"/>
                    </a:lnTo>
                    <a:lnTo>
                      <a:pt x="168" y="36"/>
                    </a:lnTo>
                    <a:lnTo>
                      <a:pt x="168" y="52"/>
                    </a:lnTo>
                    <a:lnTo>
                      <a:pt x="168" y="58"/>
                    </a:lnTo>
                    <a:lnTo>
                      <a:pt x="166" y="66"/>
                    </a:lnTo>
                    <a:lnTo>
                      <a:pt x="166" y="66"/>
                    </a:lnTo>
                    <a:lnTo>
                      <a:pt x="162" y="74"/>
                    </a:lnTo>
                    <a:lnTo>
                      <a:pt x="156" y="80"/>
                    </a:lnTo>
                    <a:lnTo>
                      <a:pt x="150" y="82"/>
                    </a:lnTo>
                    <a:lnTo>
                      <a:pt x="142" y="84"/>
                    </a:lnTo>
                    <a:lnTo>
                      <a:pt x="142" y="84"/>
                    </a:lnTo>
                    <a:lnTo>
                      <a:pt x="134" y="82"/>
                    </a:lnTo>
                    <a:lnTo>
                      <a:pt x="134" y="82"/>
                    </a:lnTo>
                    <a:lnTo>
                      <a:pt x="124" y="80"/>
                    </a:lnTo>
                    <a:lnTo>
                      <a:pt x="116" y="78"/>
                    </a:lnTo>
                    <a:lnTo>
                      <a:pt x="116" y="78"/>
                    </a:lnTo>
                    <a:lnTo>
                      <a:pt x="114" y="90"/>
                    </a:lnTo>
                    <a:lnTo>
                      <a:pt x="114" y="90"/>
                    </a:lnTo>
                    <a:lnTo>
                      <a:pt x="114" y="94"/>
                    </a:lnTo>
                    <a:lnTo>
                      <a:pt x="116" y="94"/>
                    </a:lnTo>
                    <a:lnTo>
                      <a:pt x="116" y="94"/>
                    </a:lnTo>
                    <a:lnTo>
                      <a:pt x="118" y="96"/>
                    </a:lnTo>
                    <a:lnTo>
                      <a:pt x="118" y="96"/>
                    </a:lnTo>
                    <a:lnTo>
                      <a:pt x="122" y="94"/>
                    </a:lnTo>
                    <a:lnTo>
                      <a:pt x="122" y="94"/>
                    </a:lnTo>
                    <a:lnTo>
                      <a:pt x="124" y="90"/>
                    </a:lnTo>
                    <a:lnTo>
                      <a:pt x="126" y="86"/>
                    </a:lnTo>
                    <a:lnTo>
                      <a:pt x="126" y="86"/>
                    </a:lnTo>
                    <a:lnTo>
                      <a:pt x="130" y="86"/>
                    </a:lnTo>
                    <a:lnTo>
                      <a:pt x="130" y="86"/>
                    </a:lnTo>
                    <a:lnTo>
                      <a:pt x="128" y="90"/>
                    </a:lnTo>
                    <a:lnTo>
                      <a:pt x="126" y="92"/>
                    </a:lnTo>
                    <a:lnTo>
                      <a:pt x="124" y="96"/>
                    </a:lnTo>
                    <a:lnTo>
                      <a:pt x="120" y="96"/>
                    </a:lnTo>
                    <a:lnTo>
                      <a:pt x="120" y="96"/>
                    </a:lnTo>
                    <a:lnTo>
                      <a:pt x="118" y="98"/>
                    </a:lnTo>
                    <a:lnTo>
                      <a:pt x="118" y="98"/>
                    </a:lnTo>
                    <a:lnTo>
                      <a:pt x="114" y="96"/>
                    </a:lnTo>
                    <a:lnTo>
                      <a:pt x="110" y="94"/>
                    </a:lnTo>
                    <a:lnTo>
                      <a:pt x="110" y="94"/>
                    </a:lnTo>
                    <a:lnTo>
                      <a:pt x="100" y="88"/>
                    </a:lnTo>
                    <a:lnTo>
                      <a:pt x="90" y="82"/>
                    </a:lnTo>
                    <a:lnTo>
                      <a:pt x="90" y="82"/>
                    </a:lnTo>
                    <a:lnTo>
                      <a:pt x="96" y="88"/>
                    </a:lnTo>
                    <a:lnTo>
                      <a:pt x="96" y="88"/>
                    </a:lnTo>
                    <a:lnTo>
                      <a:pt x="100" y="92"/>
                    </a:lnTo>
                    <a:lnTo>
                      <a:pt x="100" y="92"/>
                    </a:lnTo>
                    <a:lnTo>
                      <a:pt x="94" y="108"/>
                    </a:lnTo>
                    <a:lnTo>
                      <a:pt x="90" y="116"/>
                    </a:lnTo>
                    <a:lnTo>
                      <a:pt x="84" y="122"/>
                    </a:lnTo>
                    <a:lnTo>
                      <a:pt x="84" y="122"/>
                    </a:lnTo>
                    <a:lnTo>
                      <a:pt x="74" y="130"/>
                    </a:lnTo>
                    <a:lnTo>
                      <a:pt x="74" y="130"/>
                    </a:lnTo>
                    <a:lnTo>
                      <a:pt x="70" y="134"/>
                    </a:lnTo>
                    <a:lnTo>
                      <a:pt x="70" y="134"/>
                    </a:lnTo>
                    <a:lnTo>
                      <a:pt x="68" y="136"/>
                    </a:lnTo>
                    <a:lnTo>
                      <a:pt x="64" y="138"/>
                    </a:lnTo>
                    <a:lnTo>
                      <a:pt x="64" y="138"/>
                    </a:lnTo>
                    <a:lnTo>
                      <a:pt x="60" y="136"/>
                    </a:lnTo>
                    <a:lnTo>
                      <a:pt x="60" y="136"/>
                    </a:lnTo>
                    <a:lnTo>
                      <a:pt x="54" y="124"/>
                    </a:lnTo>
                    <a:lnTo>
                      <a:pt x="54" y="124"/>
                    </a:lnTo>
                    <a:lnTo>
                      <a:pt x="52" y="120"/>
                    </a:lnTo>
                    <a:lnTo>
                      <a:pt x="56" y="118"/>
                    </a:lnTo>
                    <a:lnTo>
                      <a:pt x="56" y="118"/>
                    </a:lnTo>
                    <a:lnTo>
                      <a:pt x="64" y="114"/>
                    </a:lnTo>
                    <a:lnTo>
                      <a:pt x="64" y="114"/>
                    </a:lnTo>
                    <a:lnTo>
                      <a:pt x="64" y="104"/>
                    </a:lnTo>
                    <a:lnTo>
                      <a:pt x="64" y="104"/>
                    </a:lnTo>
                    <a:lnTo>
                      <a:pt x="62" y="108"/>
                    </a:lnTo>
                    <a:lnTo>
                      <a:pt x="60" y="110"/>
                    </a:lnTo>
                    <a:lnTo>
                      <a:pt x="54" y="112"/>
                    </a:lnTo>
                    <a:lnTo>
                      <a:pt x="54" y="112"/>
                    </a:lnTo>
                    <a:lnTo>
                      <a:pt x="50" y="112"/>
                    </a:lnTo>
                    <a:lnTo>
                      <a:pt x="50" y="112"/>
                    </a:lnTo>
                    <a:lnTo>
                      <a:pt x="46" y="112"/>
                    </a:lnTo>
                    <a:lnTo>
                      <a:pt x="46" y="112"/>
                    </a:lnTo>
                    <a:lnTo>
                      <a:pt x="40" y="110"/>
                    </a:lnTo>
                    <a:lnTo>
                      <a:pt x="38" y="110"/>
                    </a:lnTo>
                    <a:lnTo>
                      <a:pt x="38" y="106"/>
                    </a:lnTo>
                    <a:lnTo>
                      <a:pt x="38" y="106"/>
                    </a:lnTo>
                    <a:lnTo>
                      <a:pt x="38" y="108"/>
                    </a:lnTo>
                    <a:lnTo>
                      <a:pt x="38" y="108"/>
                    </a:lnTo>
                    <a:lnTo>
                      <a:pt x="38" y="110"/>
                    </a:lnTo>
                    <a:lnTo>
                      <a:pt x="38" y="110"/>
                    </a:lnTo>
                    <a:lnTo>
                      <a:pt x="38" y="118"/>
                    </a:lnTo>
                    <a:lnTo>
                      <a:pt x="34" y="126"/>
                    </a:lnTo>
                    <a:lnTo>
                      <a:pt x="34" y="126"/>
                    </a:lnTo>
                    <a:lnTo>
                      <a:pt x="32" y="128"/>
                    </a:lnTo>
                    <a:lnTo>
                      <a:pt x="32" y="132"/>
                    </a:lnTo>
                    <a:lnTo>
                      <a:pt x="32" y="132"/>
                    </a:lnTo>
                    <a:lnTo>
                      <a:pt x="30" y="134"/>
                    </a:lnTo>
                    <a:lnTo>
                      <a:pt x="28" y="134"/>
                    </a:lnTo>
                    <a:lnTo>
                      <a:pt x="28" y="134"/>
                    </a:lnTo>
                    <a:lnTo>
                      <a:pt x="12" y="132"/>
                    </a:lnTo>
                    <a:lnTo>
                      <a:pt x="12" y="132"/>
                    </a:lnTo>
                    <a:lnTo>
                      <a:pt x="10" y="130"/>
                    </a:lnTo>
                    <a:lnTo>
                      <a:pt x="10" y="126"/>
                    </a:lnTo>
                    <a:lnTo>
                      <a:pt x="10" y="126"/>
                    </a:lnTo>
                    <a:lnTo>
                      <a:pt x="10" y="122"/>
                    </a:lnTo>
                    <a:lnTo>
                      <a:pt x="12" y="116"/>
                    </a:lnTo>
                    <a:lnTo>
                      <a:pt x="12" y="116"/>
                    </a:lnTo>
                    <a:lnTo>
                      <a:pt x="12" y="114"/>
                    </a:lnTo>
                    <a:lnTo>
                      <a:pt x="10" y="110"/>
                    </a:lnTo>
                    <a:lnTo>
                      <a:pt x="10" y="110"/>
                    </a:lnTo>
                    <a:lnTo>
                      <a:pt x="6" y="102"/>
                    </a:lnTo>
                    <a:lnTo>
                      <a:pt x="2" y="92"/>
                    </a:lnTo>
                    <a:lnTo>
                      <a:pt x="0" y="84"/>
                    </a:lnTo>
                    <a:lnTo>
                      <a:pt x="0" y="74"/>
                    </a:lnTo>
                    <a:lnTo>
                      <a:pt x="0" y="74"/>
                    </a:lnTo>
                    <a:lnTo>
                      <a:pt x="0" y="64"/>
                    </a:lnTo>
                    <a:lnTo>
                      <a:pt x="4" y="56"/>
                    </a:lnTo>
                    <a:lnTo>
                      <a:pt x="8" y="48"/>
                    </a:lnTo>
                    <a:lnTo>
                      <a:pt x="14" y="42"/>
                    </a:lnTo>
                    <a:lnTo>
                      <a:pt x="14" y="42"/>
                    </a:lnTo>
                    <a:lnTo>
                      <a:pt x="26" y="34"/>
                    </a:lnTo>
                    <a:lnTo>
                      <a:pt x="40" y="30"/>
                    </a:lnTo>
                    <a:lnTo>
                      <a:pt x="40"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6" y="92"/>
                    </a:lnTo>
                    <a:lnTo>
                      <a:pt x="56" y="92"/>
                    </a:lnTo>
                    <a:lnTo>
                      <a:pt x="66" y="86"/>
                    </a:lnTo>
                    <a:lnTo>
                      <a:pt x="76" y="84"/>
                    </a:lnTo>
                    <a:lnTo>
                      <a:pt x="76" y="84"/>
                    </a:lnTo>
                    <a:lnTo>
                      <a:pt x="80" y="80"/>
                    </a:lnTo>
                    <a:lnTo>
                      <a:pt x="80" y="80"/>
                    </a:lnTo>
                    <a:lnTo>
                      <a:pt x="80" y="74"/>
                    </a:lnTo>
                    <a:lnTo>
                      <a:pt x="82" y="68"/>
                    </a:lnTo>
                    <a:lnTo>
                      <a:pt x="80" y="54"/>
                    </a:lnTo>
                    <a:lnTo>
                      <a:pt x="80" y="54"/>
                    </a:lnTo>
                    <a:lnTo>
                      <a:pt x="76" y="38"/>
                    </a:lnTo>
                    <a:lnTo>
                      <a:pt x="76" y="38"/>
                    </a:lnTo>
                    <a:lnTo>
                      <a:pt x="76" y="56"/>
                    </a:lnTo>
                    <a:lnTo>
                      <a:pt x="76" y="56"/>
                    </a:lnTo>
                    <a:lnTo>
                      <a:pt x="76" y="76"/>
                    </a:lnTo>
                    <a:lnTo>
                      <a:pt x="76" y="76"/>
                    </a:lnTo>
                    <a:lnTo>
                      <a:pt x="76" y="80"/>
                    </a:lnTo>
                    <a:lnTo>
                      <a:pt x="72" y="82"/>
                    </a:lnTo>
                    <a:lnTo>
                      <a:pt x="72" y="82"/>
                    </a:lnTo>
                    <a:lnTo>
                      <a:pt x="64" y="84"/>
                    </a:lnTo>
                    <a:lnTo>
                      <a:pt x="56" y="88"/>
                    </a:lnTo>
                    <a:lnTo>
                      <a:pt x="56" y="88"/>
                    </a:lnTo>
                    <a:lnTo>
                      <a:pt x="48" y="90"/>
                    </a:lnTo>
                    <a:lnTo>
                      <a:pt x="48" y="90"/>
                    </a:lnTo>
                    <a:lnTo>
                      <a:pt x="42" y="90"/>
                    </a:lnTo>
                    <a:lnTo>
                      <a:pt x="38" y="86"/>
                    </a:lnTo>
                    <a:lnTo>
                      <a:pt x="38" y="86"/>
                    </a:lnTo>
                    <a:lnTo>
                      <a:pt x="36" y="82"/>
                    </a:lnTo>
                    <a:lnTo>
                      <a:pt x="36" y="80"/>
                    </a:lnTo>
                    <a:lnTo>
                      <a:pt x="36" y="80"/>
                    </a:lnTo>
                    <a:lnTo>
                      <a:pt x="40" y="72"/>
                    </a:lnTo>
                    <a:lnTo>
                      <a:pt x="40" y="72"/>
                    </a:lnTo>
                    <a:lnTo>
                      <a:pt x="44" y="64"/>
                    </a:lnTo>
                    <a:lnTo>
                      <a:pt x="44" y="64"/>
                    </a:lnTo>
                    <a:lnTo>
                      <a:pt x="36" y="72"/>
                    </a:lnTo>
                    <a:lnTo>
                      <a:pt x="36" y="72"/>
                    </a:lnTo>
                    <a:lnTo>
                      <a:pt x="30" y="62"/>
                    </a:lnTo>
                    <a:lnTo>
                      <a:pt x="30" y="62"/>
                    </a:lnTo>
                    <a:lnTo>
                      <a:pt x="28" y="58"/>
                    </a:lnTo>
                    <a:lnTo>
                      <a:pt x="28" y="58"/>
                    </a:lnTo>
                    <a:lnTo>
                      <a:pt x="32" y="52"/>
                    </a:lnTo>
                    <a:lnTo>
                      <a:pt x="36" y="44"/>
                    </a:lnTo>
                    <a:lnTo>
                      <a:pt x="36" y="44"/>
                    </a:lnTo>
                    <a:lnTo>
                      <a:pt x="56" y="22"/>
                    </a:lnTo>
                    <a:lnTo>
                      <a:pt x="56" y="22"/>
                    </a:lnTo>
                    <a:lnTo>
                      <a:pt x="60" y="20"/>
                    </a:lnTo>
                    <a:lnTo>
                      <a:pt x="64" y="18"/>
                    </a:lnTo>
                    <a:lnTo>
                      <a:pt x="70" y="18"/>
                    </a:lnTo>
                    <a:lnTo>
                      <a:pt x="70" y="18"/>
                    </a:lnTo>
                    <a:lnTo>
                      <a:pt x="74" y="16"/>
                    </a:lnTo>
                    <a:lnTo>
                      <a:pt x="74" y="16"/>
                    </a:lnTo>
                    <a:lnTo>
                      <a:pt x="6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3" name="Freeform 546"/>
              <p:cNvSpPr>
                <a:spLocks/>
              </p:cNvSpPr>
              <p:nvPr/>
            </p:nvSpPr>
            <p:spPr bwMode="auto">
              <a:xfrm>
                <a:off x="636" y="1160"/>
                <a:ext cx="188" cy="144"/>
              </a:xfrm>
              <a:custGeom>
                <a:avLst/>
                <a:gdLst>
                  <a:gd name="T0" fmla="*/ 106 w 188"/>
                  <a:gd name="T1" fmla="*/ 2 h 144"/>
                  <a:gd name="T2" fmla="*/ 86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6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90 w 188"/>
                  <a:gd name="T59" fmla="*/ 140 h 144"/>
                  <a:gd name="T60" fmla="*/ 98 w 188"/>
                  <a:gd name="T61" fmla="*/ 132 h 144"/>
                  <a:gd name="T62" fmla="*/ 116 w 188"/>
                  <a:gd name="T63" fmla="*/ 132 h 144"/>
                  <a:gd name="T64" fmla="*/ 124 w 188"/>
                  <a:gd name="T65" fmla="*/ 130 h 144"/>
                  <a:gd name="T66" fmla="*/ 124 w 188"/>
                  <a:gd name="T67" fmla="*/ 124 h 144"/>
                  <a:gd name="T68" fmla="*/ 120 w 188"/>
                  <a:gd name="T69" fmla="*/ 104 h 144"/>
                  <a:gd name="T70" fmla="*/ 118 w 188"/>
                  <a:gd name="T71" fmla="*/ 96 h 144"/>
                  <a:gd name="T72" fmla="*/ 126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4 w 188"/>
                  <a:gd name="T97" fmla="*/ 32 h 144"/>
                  <a:gd name="T98" fmla="*/ 158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4" y="0"/>
                    </a:moveTo>
                    <a:lnTo>
                      <a:pt x="114" y="0"/>
                    </a:lnTo>
                    <a:lnTo>
                      <a:pt x="106" y="2"/>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6"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6" y="138"/>
                    </a:lnTo>
                    <a:lnTo>
                      <a:pt x="26" y="138"/>
                    </a:lnTo>
                    <a:lnTo>
                      <a:pt x="34" y="140"/>
                    </a:lnTo>
                    <a:lnTo>
                      <a:pt x="42" y="142"/>
                    </a:lnTo>
                    <a:lnTo>
                      <a:pt x="42" y="142"/>
                    </a:lnTo>
                    <a:lnTo>
                      <a:pt x="46" y="142"/>
                    </a:lnTo>
                    <a:lnTo>
                      <a:pt x="46" y="142"/>
                    </a:lnTo>
                    <a:lnTo>
                      <a:pt x="48" y="142"/>
                    </a:lnTo>
                    <a:lnTo>
                      <a:pt x="50" y="140"/>
                    </a:lnTo>
                    <a:lnTo>
                      <a:pt x="52" y="134"/>
                    </a:lnTo>
                    <a:lnTo>
                      <a:pt x="52" y="134"/>
                    </a:lnTo>
                    <a:lnTo>
                      <a:pt x="52" y="130"/>
                    </a:lnTo>
                    <a:lnTo>
                      <a:pt x="52" y="130"/>
                    </a:lnTo>
                    <a:lnTo>
                      <a:pt x="58" y="118"/>
                    </a:lnTo>
                    <a:lnTo>
                      <a:pt x="58" y="118"/>
                    </a:lnTo>
                    <a:lnTo>
                      <a:pt x="70" y="118"/>
                    </a:lnTo>
                    <a:lnTo>
                      <a:pt x="70" y="118"/>
                    </a:lnTo>
                    <a:lnTo>
                      <a:pt x="64" y="124"/>
                    </a:lnTo>
                    <a:lnTo>
                      <a:pt x="66" y="128"/>
                    </a:lnTo>
                    <a:lnTo>
                      <a:pt x="66" y="128"/>
                    </a:lnTo>
                    <a:lnTo>
                      <a:pt x="74" y="142"/>
                    </a:lnTo>
                    <a:lnTo>
                      <a:pt x="74" y="142"/>
                    </a:lnTo>
                    <a:lnTo>
                      <a:pt x="78" y="144"/>
                    </a:lnTo>
                    <a:lnTo>
                      <a:pt x="80" y="144"/>
                    </a:lnTo>
                    <a:lnTo>
                      <a:pt x="80" y="144"/>
                    </a:lnTo>
                    <a:lnTo>
                      <a:pt x="86" y="144"/>
                    </a:lnTo>
                    <a:lnTo>
                      <a:pt x="90" y="140"/>
                    </a:lnTo>
                    <a:lnTo>
                      <a:pt x="90" y="140"/>
                    </a:lnTo>
                    <a:lnTo>
                      <a:pt x="98" y="132"/>
                    </a:lnTo>
                    <a:lnTo>
                      <a:pt x="98" y="132"/>
                    </a:lnTo>
                    <a:lnTo>
                      <a:pt x="100" y="132"/>
                    </a:lnTo>
                    <a:lnTo>
                      <a:pt x="100" y="132"/>
                    </a:lnTo>
                    <a:lnTo>
                      <a:pt x="116" y="132"/>
                    </a:lnTo>
                    <a:lnTo>
                      <a:pt x="116" y="132"/>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2"/>
                    </a:lnTo>
                    <a:lnTo>
                      <a:pt x="164" y="32"/>
                    </a:lnTo>
                    <a:lnTo>
                      <a:pt x="160" y="30"/>
                    </a:lnTo>
                    <a:lnTo>
                      <a:pt x="160" y="30"/>
                    </a:lnTo>
                    <a:lnTo>
                      <a:pt x="158" y="26"/>
                    </a:lnTo>
                    <a:lnTo>
                      <a:pt x="152" y="22"/>
                    </a:lnTo>
                    <a:lnTo>
                      <a:pt x="152"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4" name="Freeform 547"/>
              <p:cNvSpPr>
                <a:spLocks/>
              </p:cNvSpPr>
              <p:nvPr/>
            </p:nvSpPr>
            <p:spPr bwMode="auto">
              <a:xfrm>
                <a:off x="642"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5" name="Freeform 548"/>
              <p:cNvSpPr>
                <a:spLocks/>
              </p:cNvSpPr>
              <p:nvPr/>
            </p:nvSpPr>
            <p:spPr bwMode="auto">
              <a:xfrm>
                <a:off x="642"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6" name="Freeform 549"/>
              <p:cNvSpPr>
                <a:spLocks/>
              </p:cNvSpPr>
              <p:nvPr/>
            </p:nvSpPr>
            <p:spPr bwMode="auto">
              <a:xfrm>
                <a:off x="642" y="1260"/>
                <a:ext cx="12" cy="22"/>
              </a:xfrm>
              <a:custGeom>
                <a:avLst/>
                <a:gdLst>
                  <a:gd name="T0" fmla="*/ 8 w 12"/>
                  <a:gd name="T1" fmla="*/ 0 h 22"/>
                  <a:gd name="T2" fmla="*/ 8 w 12"/>
                  <a:gd name="T3" fmla="*/ 0 h 22"/>
                  <a:gd name="T4" fmla="*/ 2 w 12"/>
                  <a:gd name="T5" fmla="*/ 4 h 22"/>
                  <a:gd name="T6" fmla="*/ 2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2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2" y="4"/>
                    </a:lnTo>
                    <a:lnTo>
                      <a:pt x="2" y="4"/>
                    </a:lnTo>
                    <a:lnTo>
                      <a:pt x="0" y="8"/>
                    </a:lnTo>
                    <a:lnTo>
                      <a:pt x="0" y="8"/>
                    </a:lnTo>
                    <a:lnTo>
                      <a:pt x="0" y="12"/>
                    </a:lnTo>
                    <a:lnTo>
                      <a:pt x="4" y="16"/>
                    </a:lnTo>
                    <a:lnTo>
                      <a:pt x="8" y="20"/>
                    </a:lnTo>
                    <a:lnTo>
                      <a:pt x="12" y="22"/>
                    </a:lnTo>
                    <a:lnTo>
                      <a:pt x="12" y="22"/>
                    </a:lnTo>
                    <a:lnTo>
                      <a:pt x="8" y="20"/>
                    </a:lnTo>
                    <a:lnTo>
                      <a:pt x="4" y="16"/>
                    </a:lnTo>
                    <a:lnTo>
                      <a:pt x="2" y="12"/>
                    </a:lnTo>
                    <a:lnTo>
                      <a:pt x="0" y="8"/>
                    </a:lnTo>
                    <a:lnTo>
                      <a:pt x="0" y="8"/>
                    </a:lnTo>
                    <a:lnTo>
                      <a:pt x="2" y="4"/>
                    </a:lnTo>
                    <a:lnTo>
                      <a:pt x="2" y="4"/>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7" name="Freeform 550"/>
              <p:cNvSpPr>
                <a:spLocks/>
              </p:cNvSpPr>
              <p:nvPr/>
            </p:nvSpPr>
            <p:spPr bwMode="auto">
              <a:xfrm>
                <a:off x="642" y="1260"/>
                <a:ext cx="12" cy="22"/>
              </a:xfrm>
              <a:custGeom>
                <a:avLst/>
                <a:gdLst>
                  <a:gd name="T0" fmla="*/ 8 w 12"/>
                  <a:gd name="T1" fmla="*/ 0 h 22"/>
                  <a:gd name="T2" fmla="*/ 8 w 12"/>
                  <a:gd name="T3" fmla="*/ 0 h 22"/>
                  <a:gd name="T4" fmla="*/ 2 w 12"/>
                  <a:gd name="T5" fmla="*/ 4 h 22"/>
                  <a:gd name="T6" fmla="*/ 2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2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2" y="4"/>
                    </a:lnTo>
                    <a:lnTo>
                      <a:pt x="2" y="4"/>
                    </a:lnTo>
                    <a:lnTo>
                      <a:pt x="0" y="8"/>
                    </a:lnTo>
                    <a:lnTo>
                      <a:pt x="0" y="8"/>
                    </a:lnTo>
                    <a:lnTo>
                      <a:pt x="0" y="12"/>
                    </a:lnTo>
                    <a:lnTo>
                      <a:pt x="4" y="16"/>
                    </a:lnTo>
                    <a:lnTo>
                      <a:pt x="8" y="20"/>
                    </a:lnTo>
                    <a:lnTo>
                      <a:pt x="12" y="22"/>
                    </a:lnTo>
                    <a:lnTo>
                      <a:pt x="12" y="22"/>
                    </a:lnTo>
                    <a:lnTo>
                      <a:pt x="8" y="20"/>
                    </a:lnTo>
                    <a:lnTo>
                      <a:pt x="4" y="16"/>
                    </a:lnTo>
                    <a:lnTo>
                      <a:pt x="2"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8" name="Freeform 551"/>
              <p:cNvSpPr>
                <a:spLocks/>
              </p:cNvSpPr>
              <p:nvPr/>
            </p:nvSpPr>
            <p:spPr bwMode="auto">
              <a:xfrm>
                <a:off x="740"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6 w 16"/>
                  <a:gd name="T17" fmla="*/ 26 h 26"/>
                  <a:gd name="T18" fmla="*/ 16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9" name="Freeform 552"/>
              <p:cNvSpPr>
                <a:spLocks/>
              </p:cNvSpPr>
              <p:nvPr/>
            </p:nvSpPr>
            <p:spPr bwMode="auto">
              <a:xfrm>
                <a:off x="740"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6 w 16"/>
                  <a:gd name="T17" fmla="*/ 26 h 26"/>
                  <a:gd name="T18" fmla="*/ 16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0" name="Freeform 553"/>
              <p:cNvSpPr>
                <a:spLocks noEditPoints="1"/>
              </p:cNvSpPr>
              <p:nvPr/>
            </p:nvSpPr>
            <p:spPr bwMode="auto">
              <a:xfrm>
                <a:off x="740" y="1264"/>
                <a:ext cx="16" cy="26"/>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1" name="Freeform 554"/>
              <p:cNvSpPr>
                <a:spLocks/>
              </p:cNvSpPr>
              <p:nvPr/>
            </p:nvSpPr>
            <p:spPr bwMode="auto">
              <a:xfrm>
                <a:off x="740"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2" name="Freeform 555"/>
              <p:cNvSpPr>
                <a:spLocks/>
              </p:cNvSpPr>
              <p:nvPr/>
            </p:nvSpPr>
            <p:spPr bwMode="auto">
              <a:xfrm>
                <a:off x="754" y="1264"/>
                <a:ext cx="2" cy="26"/>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3" name="Freeform 556"/>
              <p:cNvSpPr>
                <a:spLocks/>
              </p:cNvSpPr>
              <p:nvPr/>
            </p:nvSpPr>
            <p:spPr bwMode="auto">
              <a:xfrm>
                <a:off x="640" y="1208"/>
                <a:ext cx="10" cy="20"/>
              </a:xfrm>
              <a:custGeom>
                <a:avLst/>
                <a:gdLst>
                  <a:gd name="T0" fmla="*/ 6 w 10"/>
                  <a:gd name="T1" fmla="*/ 0 h 20"/>
                  <a:gd name="T2" fmla="*/ 6 w 10"/>
                  <a:gd name="T3" fmla="*/ 0 h 20"/>
                  <a:gd name="T4" fmla="*/ 4 w 10"/>
                  <a:gd name="T5" fmla="*/ 0 h 20"/>
                  <a:gd name="T6" fmla="*/ 4 w 10"/>
                  <a:gd name="T7" fmla="*/ 0 h 20"/>
                  <a:gd name="T8" fmla="*/ 0 w 10"/>
                  <a:gd name="T9" fmla="*/ 6 h 20"/>
                  <a:gd name="T10" fmla="*/ 0 w 10"/>
                  <a:gd name="T11" fmla="*/ 6 h 20"/>
                  <a:gd name="T12" fmla="*/ 0 w 10"/>
                  <a:gd name="T13" fmla="*/ 14 h 20"/>
                  <a:gd name="T14" fmla="*/ 2 w 10"/>
                  <a:gd name="T15" fmla="*/ 18 h 20"/>
                  <a:gd name="T16" fmla="*/ 4 w 10"/>
                  <a:gd name="T17" fmla="*/ 20 h 20"/>
                  <a:gd name="T18" fmla="*/ 4 w 10"/>
                  <a:gd name="T19" fmla="*/ 20 h 20"/>
                  <a:gd name="T20" fmla="*/ 6 w 10"/>
                  <a:gd name="T21" fmla="*/ 20 h 20"/>
                  <a:gd name="T22" fmla="*/ 6 w 10"/>
                  <a:gd name="T23" fmla="*/ 20 h 20"/>
                  <a:gd name="T24" fmla="*/ 8 w 10"/>
                  <a:gd name="T25" fmla="*/ 20 h 20"/>
                  <a:gd name="T26" fmla="*/ 10 w 10"/>
                  <a:gd name="T27" fmla="*/ 16 h 20"/>
                  <a:gd name="T28" fmla="*/ 10 w 10"/>
                  <a:gd name="T29" fmla="*/ 16 h 20"/>
                  <a:gd name="T30" fmla="*/ 6 w 10"/>
                  <a:gd name="T31" fmla="*/ 18 h 20"/>
                  <a:gd name="T32" fmla="*/ 6 w 10"/>
                  <a:gd name="T33" fmla="*/ 18 h 20"/>
                  <a:gd name="T34" fmla="*/ 4 w 10"/>
                  <a:gd name="T35" fmla="*/ 16 h 20"/>
                  <a:gd name="T36" fmla="*/ 4 w 10"/>
                  <a:gd name="T37" fmla="*/ 16 h 20"/>
                  <a:gd name="T38" fmla="*/ 2 w 10"/>
                  <a:gd name="T39" fmla="*/ 12 h 20"/>
                  <a:gd name="T40" fmla="*/ 2 w 10"/>
                  <a:gd name="T41" fmla="*/ 12 h 20"/>
                  <a:gd name="T42" fmla="*/ 2 w 10"/>
                  <a:gd name="T43" fmla="*/ 12 h 20"/>
                  <a:gd name="T44" fmla="*/ 2 w 10"/>
                  <a:gd name="T45" fmla="*/ 12 h 20"/>
                  <a:gd name="T46" fmla="*/ 2 w 10"/>
                  <a:gd name="T47" fmla="*/ 12 h 20"/>
                  <a:gd name="T48" fmla="*/ 2 w 10"/>
                  <a:gd name="T49" fmla="*/ 12 h 20"/>
                  <a:gd name="T50" fmla="*/ 6 w 1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0">
                    <a:moveTo>
                      <a:pt x="6" y="0"/>
                    </a:moveTo>
                    <a:lnTo>
                      <a:pt x="6" y="0"/>
                    </a:lnTo>
                    <a:lnTo>
                      <a:pt x="4" y="0"/>
                    </a:lnTo>
                    <a:lnTo>
                      <a:pt x="4" y="0"/>
                    </a:lnTo>
                    <a:lnTo>
                      <a:pt x="0" y="6"/>
                    </a:lnTo>
                    <a:lnTo>
                      <a:pt x="0" y="6"/>
                    </a:lnTo>
                    <a:lnTo>
                      <a:pt x="0" y="14"/>
                    </a:lnTo>
                    <a:lnTo>
                      <a:pt x="2" y="18"/>
                    </a:lnTo>
                    <a:lnTo>
                      <a:pt x="4" y="20"/>
                    </a:lnTo>
                    <a:lnTo>
                      <a:pt x="4" y="20"/>
                    </a:lnTo>
                    <a:lnTo>
                      <a:pt x="6" y="20"/>
                    </a:lnTo>
                    <a:lnTo>
                      <a:pt x="6" y="20"/>
                    </a:lnTo>
                    <a:lnTo>
                      <a:pt x="8" y="20"/>
                    </a:lnTo>
                    <a:lnTo>
                      <a:pt x="10" y="16"/>
                    </a:lnTo>
                    <a:lnTo>
                      <a:pt x="10" y="16"/>
                    </a:lnTo>
                    <a:lnTo>
                      <a:pt x="6" y="18"/>
                    </a:lnTo>
                    <a:lnTo>
                      <a:pt x="6" y="18"/>
                    </a:lnTo>
                    <a:lnTo>
                      <a:pt x="4" y="16"/>
                    </a:lnTo>
                    <a:lnTo>
                      <a:pt x="4" y="16"/>
                    </a:lnTo>
                    <a:lnTo>
                      <a:pt x="2" y="12"/>
                    </a:lnTo>
                    <a:lnTo>
                      <a:pt x="2" y="12"/>
                    </a:lnTo>
                    <a:lnTo>
                      <a:pt x="2" y="12"/>
                    </a:lnTo>
                    <a:lnTo>
                      <a:pt x="2" y="12"/>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4" name="Freeform 557"/>
              <p:cNvSpPr>
                <a:spLocks/>
              </p:cNvSpPr>
              <p:nvPr/>
            </p:nvSpPr>
            <p:spPr bwMode="auto">
              <a:xfrm>
                <a:off x="640" y="1208"/>
                <a:ext cx="10" cy="20"/>
              </a:xfrm>
              <a:custGeom>
                <a:avLst/>
                <a:gdLst>
                  <a:gd name="T0" fmla="*/ 6 w 10"/>
                  <a:gd name="T1" fmla="*/ 0 h 20"/>
                  <a:gd name="T2" fmla="*/ 6 w 10"/>
                  <a:gd name="T3" fmla="*/ 0 h 20"/>
                  <a:gd name="T4" fmla="*/ 4 w 10"/>
                  <a:gd name="T5" fmla="*/ 0 h 20"/>
                  <a:gd name="T6" fmla="*/ 4 w 10"/>
                  <a:gd name="T7" fmla="*/ 0 h 20"/>
                  <a:gd name="T8" fmla="*/ 0 w 10"/>
                  <a:gd name="T9" fmla="*/ 6 h 20"/>
                  <a:gd name="T10" fmla="*/ 0 w 10"/>
                  <a:gd name="T11" fmla="*/ 6 h 20"/>
                  <a:gd name="T12" fmla="*/ 0 w 10"/>
                  <a:gd name="T13" fmla="*/ 14 h 20"/>
                  <a:gd name="T14" fmla="*/ 2 w 10"/>
                  <a:gd name="T15" fmla="*/ 18 h 20"/>
                  <a:gd name="T16" fmla="*/ 4 w 10"/>
                  <a:gd name="T17" fmla="*/ 20 h 20"/>
                  <a:gd name="T18" fmla="*/ 4 w 10"/>
                  <a:gd name="T19" fmla="*/ 20 h 20"/>
                  <a:gd name="T20" fmla="*/ 6 w 10"/>
                  <a:gd name="T21" fmla="*/ 20 h 20"/>
                  <a:gd name="T22" fmla="*/ 6 w 10"/>
                  <a:gd name="T23" fmla="*/ 20 h 20"/>
                  <a:gd name="T24" fmla="*/ 8 w 10"/>
                  <a:gd name="T25" fmla="*/ 20 h 20"/>
                  <a:gd name="T26" fmla="*/ 10 w 10"/>
                  <a:gd name="T27" fmla="*/ 16 h 20"/>
                  <a:gd name="T28" fmla="*/ 10 w 10"/>
                  <a:gd name="T29" fmla="*/ 16 h 20"/>
                  <a:gd name="T30" fmla="*/ 6 w 10"/>
                  <a:gd name="T31" fmla="*/ 18 h 20"/>
                  <a:gd name="T32" fmla="*/ 6 w 10"/>
                  <a:gd name="T33" fmla="*/ 18 h 20"/>
                  <a:gd name="T34" fmla="*/ 4 w 10"/>
                  <a:gd name="T35" fmla="*/ 16 h 20"/>
                  <a:gd name="T36" fmla="*/ 4 w 10"/>
                  <a:gd name="T37" fmla="*/ 16 h 20"/>
                  <a:gd name="T38" fmla="*/ 2 w 10"/>
                  <a:gd name="T39" fmla="*/ 12 h 20"/>
                  <a:gd name="T40" fmla="*/ 2 w 10"/>
                  <a:gd name="T41" fmla="*/ 12 h 20"/>
                  <a:gd name="T42" fmla="*/ 2 w 10"/>
                  <a:gd name="T43" fmla="*/ 12 h 20"/>
                  <a:gd name="T44" fmla="*/ 2 w 10"/>
                  <a:gd name="T45" fmla="*/ 12 h 20"/>
                  <a:gd name="T46" fmla="*/ 2 w 10"/>
                  <a:gd name="T47" fmla="*/ 12 h 20"/>
                  <a:gd name="T48" fmla="*/ 2 w 10"/>
                  <a:gd name="T49" fmla="*/ 12 h 20"/>
                  <a:gd name="T50" fmla="*/ 6 w 1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0">
                    <a:moveTo>
                      <a:pt x="6" y="0"/>
                    </a:moveTo>
                    <a:lnTo>
                      <a:pt x="6" y="0"/>
                    </a:lnTo>
                    <a:lnTo>
                      <a:pt x="4" y="0"/>
                    </a:lnTo>
                    <a:lnTo>
                      <a:pt x="4" y="0"/>
                    </a:lnTo>
                    <a:lnTo>
                      <a:pt x="0" y="6"/>
                    </a:lnTo>
                    <a:lnTo>
                      <a:pt x="0" y="6"/>
                    </a:lnTo>
                    <a:lnTo>
                      <a:pt x="0" y="14"/>
                    </a:lnTo>
                    <a:lnTo>
                      <a:pt x="2" y="18"/>
                    </a:lnTo>
                    <a:lnTo>
                      <a:pt x="4" y="20"/>
                    </a:lnTo>
                    <a:lnTo>
                      <a:pt x="4" y="20"/>
                    </a:lnTo>
                    <a:lnTo>
                      <a:pt x="6" y="20"/>
                    </a:lnTo>
                    <a:lnTo>
                      <a:pt x="6" y="20"/>
                    </a:lnTo>
                    <a:lnTo>
                      <a:pt x="8" y="20"/>
                    </a:lnTo>
                    <a:lnTo>
                      <a:pt x="10" y="16"/>
                    </a:lnTo>
                    <a:lnTo>
                      <a:pt x="10" y="16"/>
                    </a:lnTo>
                    <a:lnTo>
                      <a:pt x="6" y="18"/>
                    </a:lnTo>
                    <a:lnTo>
                      <a:pt x="6" y="18"/>
                    </a:lnTo>
                    <a:lnTo>
                      <a:pt x="4" y="16"/>
                    </a:lnTo>
                    <a:lnTo>
                      <a:pt x="4" y="16"/>
                    </a:lnTo>
                    <a:lnTo>
                      <a:pt x="2" y="12"/>
                    </a:lnTo>
                    <a:lnTo>
                      <a:pt x="2" y="12"/>
                    </a:lnTo>
                    <a:lnTo>
                      <a:pt x="2" y="12"/>
                    </a:lnTo>
                    <a:lnTo>
                      <a:pt x="2" y="12"/>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5" name="Freeform 558"/>
              <p:cNvSpPr>
                <a:spLocks noEditPoints="1"/>
              </p:cNvSpPr>
              <p:nvPr/>
            </p:nvSpPr>
            <p:spPr bwMode="auto">
              <a:xfrm>
                <a:off x="640" y="1208"/>
                <a:ext cx="10" cy="18"/>
              </a:xfrm>
              <a:custGeom>
                <a:avLst/>
                <a:gdLst>
                  <a:gd name="T0" fmla="*/ 2 w 10"/>
                  <a:gd name="T1" fmla="*/ 12 h 18"/>
                  <a:gd name="T2" fmla="*/ 2 w 10"/>
                  <a:gd name="T3" fmla="*/ 12 h 18"/>
                  <a:gd name="T4" fmla="*/ 2 w 10"/>
                  <a:gd name="T5" fmla="*/ 12 h 18"/>
                  <a:gd name="T6" fmla="*/ 2 w 10"/>
                  <a:gd name="T7" fmla="*/ 12 h 18"/>
                  <a:gd name="T8" fmla="*/ 4 w 10"/>
                  <a:gd name="T9" fmla="*/ 16 h 18"/>
                  <a:gd name="T10" fmla="*/ 4 w 10"/>
                  <a:gd name="T11" fmla="*/ 16 h 18"/>
                  <a:gd name="T12" fmla="*/ 6 w 10"/>
                  <a:gd name="T13" fmla="*/ 18 h 18"/>
                  <a:gd name="T14" fmla="*/ 6 w 10"/>
                  <a:gd name="T15" fmla="*/ 18 h 18"/>
                  <a:gd name="T16" fmla="*/ 10 w 10"/>
                  <a:gd name="T17" fmla="*/ 16 h 18"/>
                  <a:gd name="T18" fmla="*/ 10 w 10"/>
                  <a:gd name="T19" fmla="*/ 16 h 18"/>
                  <a:gd name="T20" fmla="*/ 10 w 10"/>
                  <a:gd name="T21" fmla="*/ 16 h 18"/>
                  <a:gd name="T22" fmla="*/ 10 w 10"/>
                  <a:gd name="T23" fmla="*/ 16 h 18"/>
                  <a:gd name="T24" fmla="*/ 6 w 10"/>
                  <a:gd name="T25" fmla="*/ 16 h 18"/>
                  <a:gd name="T26" fmla="*/ 6 w 10"/>
                  <a:gd name="T27" fmla="*/ 16 h 18"/>
                  <a:gd name="T28" fmla="*/ 4 w 10"/>
                  <a:gd name="T29" fmla="*/ 16 h 18"/>
                  <a:gd name="T30" fmla="*/ 4 w 10"/>
                  <a:gd name="T31" fmla="*/ 16 h 18"/>
                  <a:gd name="T32" fmla="*/ 2 w 10"/>
                  <a:gd name="T33" fmla="*/ 12 h 18"/>
                  <a:gd name="T34" fmla="*/ 6 w 10"/>
                  <a:gd name="T35" fmla="*/ 0 h 18"/>
                  <a:gd name="T36" fmla="*/ 6 w 10"/>
                  <a:gd name="T37" fmla="*/ 0 h 18"/>
                  <a:gd name="T38" fmla="*/ 4 w 10"/>
                  <a:gd name="T39" fmla="*/ 0 h 18"/>
                  <a:gd name="T40" fmla="*/ 4 w 10"/>
                  <a:gd name="T41" fmla="*/ 0 h 18"/>
                  <a:gd name="T42" fmla="*/ 0 w 10"/>
                  <a:gd name="T43" fmla="*/ 6 h 18"/>
                  <a:gd name="T44" fmla="*/ 0 w 10"/>
                  <a:gd name="T45" fmla="*/ 6 h 18"/>
                  <a:gd name="T46" fmla="*/ 0 w 10"/>
                  <a:gd name="T47" fmla="*/ 6 h 18"/>
                  <a:gd name="T48" fmla="*/ 0 w 10"/>
                  <a:gd name="T49" fmla="*/ 6 h 18"/>
                  <a:gd name="T50" fmla="*/ 4 w 10"/>
                  <a:gd name="T51" fmla="*/ 0 h 18"/>
                  <a:gd name="T52" fmla="*/ 4 w 10"/>
                  <a:gd name="T53" fmla="*/ 0 h 18"/>
                  <a:gd name="T54" fmla="*/ 6 w 10"/>
                  <a:gd name="T55" fmla="*/ 0 h 18"/>
                  <a:gd name="T56" fmla="*/ 6 w 10"/>
                  <a:gd name="T57" fmla="*/ 0 h 18"/>
                  <a:gd name="T58" fmla="*/ 6 w 10"/>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8">
                    <a:moveTo>
                      <a:pt x="2" y="12"/>
                    </a:moveTo>
                    <a:lnTo>
                      <a:pt x="2" y="12"/>
                    </a:lnTo>
                    <a:lnTo>
                      <a:pt x="2" y="12"/>
                    </a:lnTo>
                    <a:lnTo>
                      <a:pt x="2" y="12"/>
                    </a:lnTo>
                    <a:lnTo>
                      <a:pt x="4" y="16"/>
                    </a:lnTo>
                    <a:lnTo>
                      <a:pt x="4" y="16"/>
                    </a:lnTo>
                    <a:lnTo>
                      <a:pt x="6" y="18"/>
                    </a:lnTo>
                    <a:lnTo>
                      <a:pt x="6" y="18"/>
                    </a:lnTo>
                    <a:lnTo>
                      <a:pt x="10" y="16"/>
                    </a:lnTo>
                    <a:lnTo>
                      <a:pt x="10" y="16"/>
                    </a:lnTo>
                    <a:lnTo>
                      <a:pt x="10" y="16"/>
                    </a:lnTo>
                    <a:lnTo>
                      <a:pt x="10" y="16"/>
                    </a:lnTo>
                    <a:lnTo>
                      <a:pt x="6" y="16"/>
                    </a:lnTo>
                    <a:lnTo>
                      <a:pt x="6" y="16"/>
                    </a:lnTo>
                    <a:lnTo>
                      <a:pt x="4" y="16"/>
                    </a:lnTo>
                    <a:lnTo>
                      <a:pt x="4" y="16"/>
                    </a:lnTo>
                    <a:lnTo>
                      <a:pt x="2" y="12"/>
                    </a:lnTo>
                    <a:close/>
                    <a:moveTo>
                      <a:pt x="6" y="0"/>
                    </a:moveTo>
                    <a:lnTo>
                      <a:pt x="6" y="0"/>
                    </a:lnTo>
                    <a:lnTo>
                      <a:pt x="4" y="0"/>
                    </a:lnTo>
                    <a:lnTo>
                      <a:pt x="4" y="0"/>
                    </a:lnTo>
                    <a:lnTo>
                      <a:pt x="0" y="6"/>
                    </a:lnTo>
                    <a:lnTo>
                      <a:pt x="0" y="6"/>
                    </a:lnTo>
                    <a:lnTo>
                      <a:pt x="0" y="6"/>
                    </a:lnTo>
                    <a:lnTo>
                      <a:pt x="0" y="6"/>
                    </a:lnTo>
                    <a:lnTo>
                      <a:pt x="4" y="0"/>
                    </a:lnTo>
                    <a:lnTo>
                      <a:pt x="4" y="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6" name="Freeform 559"/>
              <p:cNvSpPr>
                <a:spLocks/>
              </p:cNvSpPr>
              <p:nvPr/>
            </p:nvSpPr>
            <p:spPr bwMode="auto">
              <a:xfrm>
                <a:off x="642" y="1220"/>
                <a:ext cx="8" cy="6"/>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7" name="Freeform 560"/>
              <p:cNvSpPr>
                <a:spLocks/>
              </p:cNvSpPr>
              <p:nvPr/>
            </p:nvSpPr>
            <p:spPr bwMode="auto">
              <a:xfrm>
                <a:off x="640" y="1208"/>
                <a:ext cx="6" cy="6"/>
              </a:xfrm>
              <a:custGeom>
                <a:avLst/>
                <a:gdLst>
                  <a:gd name="T0" fmla="*/ 6 w 6"/>
                  <a:gd name="T1" fmla="*/ 0 h 6"/>
                  <a:gd name="T2" fmla="*/ 6 w 6"/>
                  <a:gd name="T3" fmla="*/ 0 h 6"/>
                  <a:gd name="T4" fmla="*/ 4 w 6"/>
                  <a:gd name="T5" fmla="*/ 0 h 6"/>
                  <a:gd name="T6" fmla="*/ 4 w 6"/>
                  <a:gd name="T7" fmla="*/ 0 h 6"/>
                  <a:gd name="T8" fmla="*/ 0 w 6"/>
                  <a:gd name="T9" fmla="*/ 6 h 6"/>
                  <a:gd name="T10" fmla="*/ 0 w 6"/>
                  <a:gd name="T11" fmla="*/ 6 h 6"/>
                  <a:gd name="T12" fmla="*/ 0 w 6"/>
                  <a:gd name="T13" fmla="*/ 6 h 6"/>
                  <a:gd name="T14" fmla="*/ 0 w 6"/>
                  <a:gd name="T15" fmla="*/ 6 h 6"/>
                  <a:gd name="T16" fmla="*/ 4 w 6"/>
                  <a:gd name="T17" fmla="*/ 0 h 6"/>
                  <a:gd name="T18" fmla="*/ 4 w 6"/>
                  <a:gd name="T19" fmla="*/ 0 h 6"/>
                  <a:gd name="T20" fmla="*/ 6 w 6"/>
                  <a:gd name="T21" fmla="*/ 0 h 6"/>
                  <a:gd name="T22" fmla="*/ 6 w 6"/>
                  <a:gd name="T23" fmla="*/ 0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4" y="0"/>
                    </a:lnTo>
                    <a:lnTo>
                      <a:pt x="4" y="0"/>
                    </a:lnTo>
                    <a:lnTo>
                      <a:pt x="0" y="6"/>
                    </a:lnTo>
                    <a:lnTo>
                      <a:pt x="0" y="6"/>
                    </a:lnTo>
                    <a:lnTo>
                      <a:pt x="0" y="6"/>
                    </a:lnTo>
                    <a:lnTo>
                      <a:pt x="0" y="6"/>
                    </a:lnTo>
                    <a:lnTo>
                      <a:pt x="4" y="0"/>
                    </a:lnTo>
                    <a:lnTo>
                      <a:pt x="4"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8" name="Freeform 561"/>
              <p:cNvSpPr>
                <a:spLocks noEditPoints="1"/>
              </p:cNvSpPr>
              <p:nvPr/>
            </p:nvSpPr>
            <p:spPr bwMode="auto">
              <a:xfrm>
                <a:off x="754" y="1198"/>
                <a:ext cx="18" cy="14"/>
              </a:xfrm>
              <a:custGeom>
                <a:avLst/>
                <a:gdLst>
                  <a:gd name="T0" fmla="*/ 6 w 18"/>
                  <a:gd name="T1" fmla="*/ 8 h 14"/>
                  <a:gd name="T2" fmla="*/ 6 w 18"/>
                  <a:gd name="T3" fmla="*/ 8 h 14"/>
                  <a:gd name="T4" fmla="*/ 6 w 18"/>
                  <a:gd name="T5" fmla="*/ 6 h 14"/>
                  <a:gd name="T6" fmla="*/ 6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2 w 18"/>
                  <a:gd name="T31" fmla="*/ 0 h 14"/>
                  <a:gd name="T32" fmla="*/ 12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2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6" y="6"/>
                    </a:lnTo>
                    <a:lnTo>
                      <a:pt x="6"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2" y="0"/>
                    </a:moveTo>
                    <a:lnTo>
                      <a:pt x="12" y="0"/>
                    </a:lnTo>
                    <a:lnTo>
                      <a:pt x="6" y="2"/>
                    </a:lnTo>
                    <a:lnTo>
                      <a:pt x="0" y="10"/>
                    </a:lnTo>
                    <a:lnTo>
                      <a:pt x="0" y="10"/>
                    </a:lnTo>
                    <a:lnTo>
                      <a:pt x="2" y="8"/>
                    </a:lnTo>
                    <a:lnTo>
                      <a:pt x="2" y="8"/>
                    </a:lnTo>
                    <a:lnTo>
                      <a:pt x="6" y="14"/>
                    </a:lnTo>
                    <a:lnTo>
                      <a:pt x="6" y="14"/>
                    </a:lnTo>
                    <a:lnTo>
                      <a:pt x="18" y="6"/>
                    </a:lnTo>
                    <a:lnTo>
                      <a:pt x="18" y="6"/>
                    </a:lnTo>
                    <a:lnTo>
                      <a:pt x="14" y="4"/>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9" name="Freeform 562"/>
              <p:cNvSpPr>
                <a:spLocks/>
              </p:cNvSpPr>
              <p:nvPr/>
            </p:nvSpPr>
            <p:spPr bwMode="auto">
              <a:xfrm>
                <a:off x="758" y="1204"/>
                <a:ext cx="6" cy="6"/>
              </a:xfrm>
              <a:custGeom>
                <a:avLst/>
                <a:gdLst>
                  <a:gd name="T0" fmla="*/ 2 w 6"/>
                  <a:gd name="T1" fmla="*/ 2 h 6"/>
                  <a:gd name="T2" fmla="*/ 2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0" name="Freeform 563"/>
              <p:cNvSpPr>
                <a:spLocks/>
              </p:cNvSpPr>
              <p:nvPr/>
            </p:nvSpPr>
            <p:spPr bwMode="auto">
              <a:xfrm>
                <a:off x="754" y="1198"/>
                <a:ext cx="18" cy="14"/>
              </a:xfrm>
              <a:custGeom>
                <a:avLst/>
                <a:gdLst>
                  <a:gd name="T0" fmla="*/ 12 w 18"/>
                  <a:gd name="T1" fmla="*/ 0 h 14"/>
                  <a:gd name="T2" fmla="*/ 12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2"/>
                    </a:lnTo>
                    <a:lnTo>
                      <a:pt x="0" y="10"/>
                    </a:lnTo>
                    <a:lnTo>
                      <a:pt x="0" y="10"/>
                    </a:lnTo>
                    <a:lnTo>
                      <a:pt x="2" y="8"/>
                    </a:lnTo>
                    <a:lnTo>
                      <a:pt x="2" y="8"/>
                    </a:lnTo>
                    <a:lnTo>
                      <a:pt x="6" y="14"/>
                    </a:lnTo>
                    <a:lnTo>
                      <a:pt x="6" y="14"/>
                    </a:lnTo>
                    <a:lnTo>
                      <a:pt x="18" y="6"/>
                    </a:lnTo>
                    <a:lnTo>
                      <a:pt x="18" y="6"/>
                    </a:lnTo>
                    <a:lnTo>
                      <a:pt x="14"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1" name="Freeform 564"/>
              <p:cNvSpPr>
                <a:spLocks/>
              </p:cNvSpPr>
              <p:nvPr/>
            </p:nvSpPr>
            <p:spPr bwMode="auto">
              <a:xfrm>
                <a:off x="706" y="1188"/>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10" y="10"/>
                    </a:lnTo>
                    <a:lnTo>
                      <a:pt x="10" y="10"/>
                    </a:lnTo>
                    <a:lnTo>
                      <a:pt x="14" y="4"/>
                    </a:lnTo>
                    <a:lnTo>
                      <a:pt x="16" y="0"/>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2" name="Freeform 565"/>
              <p:cNvSpPr>
                <a:spLocks/>
              </p:cNvSpPr>
              <p:nvPr/>
            </p:nvSpPr>
            <p:spPr bwMode="auto">
              <a:xfrm>
                <a:off x="706" y="1188"/>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10" y="10"/>
                    </a:lnTo>
                    <a:lnTo>
                      <a:pt x="10" y="10"/>
                    </a:lnTo>
                    <a:lnTo>
                      <a:pt x="14" y="4"/>
                    </a:lnTo>
                    <a:lnTo>
                      <a:pt x="16" y="0"/>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3" name="Freeform 566"/>
              <p:cNvSpPr>
                <a:spLocks/>
              </p:cNvSpPr>
              <p:nvPr/>
            </p:nvSpPr>
            <p:spPr bwMode="auto">
              <a:xfrm>
                <a:off x="802" y="1192"/>
                <a:ext cx="10" cy="8"/>
              </a:xfrm>
              <a:custGeom>
                <a:avLst/>
                <a:gdLst>
                  <a:gd name="T0" fmla="*/ 10 w 10"/>
                  <a:gd name="T1" fmla="*/ 0 h 8"/>
                  <a:gd name="T2" fmla="*/ 10 w 10"/>
                  <a:gd name="T3" fmla="*/ 0 h 8"/>
                  <a:gd name="T4" fmla="*/ 0 w 10"/>
                  <a:gd name="T5" fmla="*/ 6 h 8"/>
                  <a:gd name="T6" fmla="*/ 0 w 10"/>
                  <a:gd name="T7" fmla="*/ 6 h 8"/>
                  <a:gd name="T8" fmla="*/ 2 w 10"/>
                  <a:gd name="T9" fmla="*/ 8 h 8"/>
                  <a:gd name="T10" fmla="*/ 2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2" y="8"/>
                    </a:lnTo>
                    <a:lnTo>
                      <a:pt x="2" y="8"/>
                    </a:lnTo>
                    <a:lnTo>
                      <a:pt x="6" y="4"/>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4" name="Freeform 567"/>
              <p:cNvSpPr>
                <a:spLocks/>
              </p:cNvSpPr>
              <p:nvPr/>
            </p:nvSpPr>
            <p:spPr bwMode="auto">
              <a:xfrm>
                <a:off x="802" y="1192"/>
                <a:ext cx="10" cy="8"/>
              </a:xfrm>
              <a:custGeom>
                <a:avLst/>
                <a:gdLst>
                  <a:gd name="T0" fmla="*/ 10 w 10"/>
                  <a:gd name="T1" fmla="*/ 0 h 8"/>
                  <a:gd name="T2" fmla="*/ 10 w 10"/>
                  <a:gd name="T3" fmla="*/ 0 h 8"/>
                  <a:gd name="T4" fmla="*/ 0 w 10"/>
                  <a:gd name="T5" fmla="*/ 6 h 8"/>
                  <a:gd name="T6" fmla="*/ 0 w 10"/>
                  <a:gd name="T7" fmla="*/ 6 h 8"/>
                  <a:gd name="T8" fmla="*/ 2 w 10"/>
                  <a:gd name="T9" fmla="*/ 8 h 8"/>
                  <a:gd name="T10" fmla="*/ 2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2" y="8"/>
                    </a:lnTo>
                    <a:lnTo>
                      <a:pt x="2" y="8"/>
                    </a:lnTo>
                    <a:lnTo>
                      <a:pt x="6" y="4"/>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5" name="Freeform 568"/>
              <p:cNvSpPr>
                <a:spLocks/>
              </p:cNvSpPr>
              <p:nvPr/>
            </p:nvSpPr>
            <p:spPr bwMode="auto">
              <a:xfrm>
                <a:off x="748"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6" name="Freeform 569"/>
              <p:cNvSpPr>
                <a:spLocks/>
              </p:cNvSpPr>
              <p:nvPr/>
            </p:nvSpPr>
            <p:spPr bwMode="auto">
              <a:xfrm>
                <a:off x="748"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7" name="Freeform 570"/>
              <p:cNvSpPr>
                <a:spLocks/>
              </p:cNvSpPr>
              <p:nvPr/>
            </p:nvSpPr>
            <p:spPr bwMode="auto">
              <a:xfrm>
                <a:off x="762"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8" name="Freeform 571"/>
              <p:cNvSpPr>
                <a:spLocks/>
              </p:cNvSpPr>
              <p:nvPr/>
            </p:nvSpPr>
            <p:spPr bwMode="auto">
              <a:xfrm>
                <a:off x="762"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9" name="Freeform 572"/>
              <p:cNvSpPr>
                <a:spLocks/>
              </p:cNvSpPr>
              <p:nvPr/>
            </p:nvSpPr>
            <p:spPr bwMode="auto">
              <a:xfrm>
                <a:off x="758" y="1204"/>
                <a:ext cx="6" cy="6"/>
              </a:xfrm>
              <a:custGeom>
                <a:avLst/>
                <a:gdLst>
                  <a:gd name="T0" fmla="*/ 2 w 6"/>
                  <a:gd name="T1" fmla="*/ 0 h 6"/>
                  <a:gd name="T2" fmla="*/ 2 w 6"/>
                  <a:gd name="T3" fmla="*/ 0 h 6"/>
                  <a:gd name="T4" fmla="*/ 2 w 6"/>
                  <a:gd name="T5" fmla="*/ 2 h 6"/>
                  <a:gd name="T6" fmla="*/ 2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2" y="2"/>
                    </a:lnTo>
                    <a:lnTo>
                      <a:pt x="2" y="2"/>
                    </a:lnTo>
                    <a:lnTo>
                      <a:pt x="0" y="2"/>
                    </a:lnTo>
                    <a:lnTo>
                      <a:pt x="0" y="2"/>
                    </a:lnTo>
                    <a:lnTo>
                      <a:pt x="2" y="6"/>
                    </a:lnTo>
                    <a:lnTo>
                      <a:pt x="2" y="6"/>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0" name="Freeform 573"/>
              <p:cNvSpPr>
                <a:spLocks/>
              </p:cNvSpPr>
              <p:nvPr/>
            </p:nvSpPr>
            <p:spPr bwMode="auto">
              <a:xfrm>
                <a:off x="758" y="1204"/>
                <a:ext cx="6" cy="6"/>
              </a:xfrm>
              <a:custGeom>
                <a:avLst/>
                <a:gdLst>
                  <a:gd name="T0" fmla="*/ 2 w 6"/>
                  <a:gd name="T1" fmla="*/ 0 h 6"/>
                  <a:gd name="T2" fmla="*/ 2 w 6"/>
                  <a:gd name="T3" fmla="*/ 0 h 6"/>
                  <a:gd name="T4" fmla="*/ 2 w 6"/>
                  <a:gd name="T5" fmla="*/ 2 h 6"/>
                  <a:gd name="T6" fmla="*/ 2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2" y="2"/>
                    </a:lnTo>
                    <a:lnTo>
                      <a:pt x="2"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1" name="Freeform 574"/>
              <p:cNvSpPr>
                <a:spLocks/>
              </p:cNvSpPr>
              <p:nvPr/>
            </p:nvSpPr>
            <p:spPr bwMode="auto">
              <a:xfrm>
                <a:off x="760" y="1204"/>
                <a:ext cx="4" cy="2"/>
              </a:xfrm>
              <a:custGeom>
                <a:avLst/>
                <a:gdLst>
                  <a:gd name="T0" fmla="*/ 0 w 4"/>
                  <a:gd name="T1" fmla="*/ 0 h 2"/>
                  <a:gd name="T2" fmla="*/ 0 w 4"/>
                  <a:gd name="T3" fmla="*/ 0 h 2"/>
                  <a:gd name="T4" fmla="*/ 0 w 4"/>
                  <a:gd name="T5" fmla="*/ 2 h 2"/>
                  <a:gd name="T6" fmla="*/ 0 w 4"/>
                  <a:gd name="T7" fmla="*/ 2 h 2"/>
                  <a:gd name="T8" fmla="*/ 0 w 4"/>
                  <a:gd name="T9" fmla="*/ 0 h 2"/>
                  <a:gd name="T10" fmla="*/ 0 w 4"/>
                  <a:gd name="T11" fmla="*/ 0 h 2"/>
                  <a:gd name="T12" fmla="*/ 4 w 4"/>
                  <a:gd name="T13" fmla="*/ 2 h 2"/>
                  <a:gd name="T14" fmla="*/ 4 w 4"/>
                  <a:gd name="T15" fmla="*/ 2 h 2"/>
                  <a:gd name="T16" fmla="*/ 4 w 4"/>
                  <a:gd name="T17" fmla="*/ 2 h 2"/>
                  <a:gd name="T18" fmla="*/ 4 w 4"/>
                  <a:gd name="T19" fmla="*/ 2 h 2"/>
                  <a:gd name="T20" fmla="*/ 0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0"/>
                    </a:moveTo>
                    <a:lnTo>
                      <a:pt x="0" y="0"/>
                    </a:lnTo>
                    <a:lnTo>
                      <a:pt x="0" y="2"/>
                    </a:lnTo>
                    <a:lnTo>
                      <a:pt x="0" y="2"/>
                    </a:lnTo>
                    <a:lnTo>
                      <a:pt x="0" y="0"/>
                    </a:lnTo>
                    <a:lnTo>
                      <a:pt x="0" y="0"/>
                    </a:lnTo>
                    <a:lnTo>
                      <a:pt x="4" y="2"/>
                    </a:lnTo>
                    <a:lnTo>
                      <a:pt x="4" y="2"/>
                    </a:lnTo>
                    <a:lnTo>
                      <a:pt x="4" y="2"/>
                    </a:lnTo>
                    <a:lnTo>
                      <a:pt x="4" y="2"/>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2" name="Freeform 575"/>
              <p:cNvSpPr>
                <a:spLocks/>
              </p:cNvSpPr>
              <p:nvPr/>
            </p:nvSpPr>
            <p:spPr bwMode="auto">
              <a:xfrm>
                <a:off x="760" y="1204"/>
                <a:ext cx="4" cy="2"/>
              </a:xfrm>
              <a:custGeom>
                <a:avLst/>
                <a:gdLst>
                  <a:gd name="T0" fmla="*/ 0 w 4"/>
                  <a:gd name="T1" fmla="*/ 0 h 2"/>
                  <a:gd name="T2" fmla="*/ 0 w 4"/>
                  <a:gd name="T3" fmla="*/ 0 h 2"/>
                  <a:gd name="T4" fmla="*/ 0 w 4"/>
                  <a:gd name="T5" fmla="*/ 2 h 2"/>
                  <a:gd name="T6" fmla="*/ 0 w 4"/>
                  <a:gd name="T7" fmla="*/ 2 h 2"/>
                  <a:gd name="T8" fmla="*/ 0 w 4"/>
                  <a:gd name="T9" fmla="*/ 0 h 2"/>
                  <a:gd name="T10" fmla="*/ 0 w 4"/>
                  <a:gd name="T11" fmla="*/ 0 h 2"/>
                  <a:gd name="T12" fmla="*/ 4 w 4"/>
                  <a:gd name="T13" fmla="*/ 2 h 2"/>
                  <a:gd name="T14" fmla="*/ 4 w 4"/>
                  <a:gd name="T15" fmla="*/ 2 h 2"/>
                  <a:gd name="T16" fmla="*/ 4 w 4"/>
                  <a:gd name="T17" fmla="*/ 2 h 2"/>
                  <a:gd name="T18" fmla="*/ 4 w 4"/>
                  <a:gd name="T19" fmla="*/ 2 h 2"/>
                  <a:gd name="T20" fmla="*/ 0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0"/>
                    </a:moveTo>
                    <a:lnTo>
                      <a:pt x="0" y="0"/>
                    </a:lnTo>
                    <a:lnTo>
                      <a:pt x="0" y="2"/>
                    </a:lnTo>
                    <a:lnTo>
                      <a:pt x="0" y="2"/>
                    </a:lnTo>
                    <a:lnTo>
                      <a:pt x="0" y="0"/>
                    </a:lnTo>
                    <a:lnTo>
                      <a:pt x="0" y="0"/>
                    </a:lnTo>
                    <a:lnTo>
                      <a:pt x="4" y="2"/>
                    </a:lnTo>
                    <a:lnTo>
                      <a:pt x="4" y="2"/>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3" name="Freeform 576"/>
              <p:cNvSpPr>
                <a:spLocks/>
              </p:cNvSpPr>
              <p:nvPr/>
            </p:nvSpPr>
            <p:spPr bwMode="auto">
              <a:xfrm>
                <a:off x="128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4" name="Freeform 577"/>
              <p:cNvSpPr>
                <a:spLocks/>
              </p:cNvSpPr>
              <p:nvPr/>
            </p:nvSpPr>
            <p:spPr bwMode="auto">
              <a:xfrm>
                <a:off x="152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5" name="Freeform 578"/>
              <p:cNvSpPr>
                <a:spLocks/>
              </p:cNvSpPr>
              <p:nvPr/>
            </p:nvSpPr>
            <p:spPr bwMode="auto">
              <a:xfrm>
                <a:off x="161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6" name="Freeform 579"/>
              <p:cNvSpPr>
                <a:spLocks/>
              </p:cNvSpPr>
              <p:nvPr/>
            </p:nvSpPr>
            <p:spPr bwMode="auto">
              <a:xfrm>
                <a:off x="1702"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7" name="Freeform 580"/>
              <p:cNvSpPr>
                <a:spLocks/>
              </p:cNvSpPr>
              <p:nvPr/>
            </p:nvSpPr>
            <p:spPr bwMode="auto">
              <a:xfrm>
                <a:off x="137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8" name="Freeform 581"/>
              <p:cNvSpPr>
                <a:spLocks/>
              </p:cNvSpPr>
              <p:nvPr/>
            </p:nvSpPr>
            <p:spPr bwMode="auto">
              <a:xfrm>
                <a:off x="137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9" name="Freeform 582"/>
              <p:cNvSpPr>
                <a:spLocks/>
              </p:cNvSpPr>
              <p:nvPr/>
            </p:nvSpPr>
            <p:spPr bwMode="auto">
              <a:xfrm>
                <a:off x="143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0" name="Freeform 583"/>
              <p:cNvSpPr>
                <a:spLocks/>
              </p:cNvSpPr>
              <p:nvPr/>
            </p:nvSpPr>
            <p:spPr bwMode="auto">
              <a:xfrm>
                <a:off x="143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1" name="Freeform 584"/>
              <p:cNvSpPr>
                <a:spLocks noEditPoints="1"/>
              </p:cNvSpPr>
              <p:nvPr/>
            </p:nvSpPr>
            <p:spPr bwMode="auto">
              <a:xfrm>
                <a:off x="1792"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2" name="Freeform 585"/>
              <p:cNvSpPr>
                <a:spLocks noEditPoints="1"/>
              </p:cNvSpPr>
              <p:nvPr/>
            </p:nvSpPr>
            <p:spPr bwMode="auto">
              <a:xfrm>
                <a:off x="1930" y="1158"/>
                <a:ext cx="98" cy="148"/>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3" name="Freeform 586"/>
              <p:cNvSpPr>
                <a:spLocks/>
              </p:cNvSpPr>
              <p:nvPr/>
            </p:nvSpPr>
            <p:spPr bwMode="auto">
              <a:xfrm>
                <a:off x="206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4" name="Freeform 587"/>
              <p:cNvSpPr>
                <a:spLocks/>
              </p:cNvSpPr>
              <p:nvPr/>
            </p:nvSpPr>
            <p:spPr bwMode="auto">
              <a:xfrm>
                <a:off x="216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5" name="Freeform 588"/>
              <p:cNvSpPr>
                <a:spLocks/>
              </p:cNvSpPr>
              <p:nvPr/>
            </p:nvSpPr>
            <p:spPr bwMode="auto">
              <a:xfrm>
                <a:off x="2252"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6" name="Freeform 589"/>
              <p:cNvSpPr>
                <a:spLocks noEditPoints="1"/>
              </p:cNvSpPr>
              <p:nvPr/>
            </p:nvSpPr>
            <p:spPr bwMode="auto">
              <a:xfrm>
                <a:off x="1882" y="96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7" name="Freeform 590"/>
              <p:cNvSpPr>
                <a:spLocks/>
              </p:cNvSpPr>
              <p:nvPr/>
            </p:nvSpPr>
            <p:spPr bwMode="auto">
              <a:xfrm>
                <a:off x="2020"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8" name="Freeform 591"/>
              <p:cNvSpPr>
                <a:spLocks/>
              </p:cNvSpPr>
              <p:nvPr/>
            </p:nvSpPr>
            <p:spPr bwMode="auto">
              <a:xfrm>
                <a:off x="2114"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9" name="Freeform 592"/>
              <p:cNvSpPr>
                <a:spLocks/>
              </p:cNvSpPr>
              <p:nvPr/>
            </p:nvSpPr>
            <p:spPr bwMode="auto">
              <a:xfrm>
                <a:off x="2206"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0" name="Freeform 593"/>
              <p:cNvSpPr>
                <a:spLocks/>
              </p:cNvSpPr>
              <p:nvPr/>
            </p:nvSpPr>
            <p:spPr bwMode="auto">
              <a:xfrm>
                <a:off x="2296"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1" name="Freeform 594"/>
              <p:cNvSpPr>
                <a:spLocks/>
              </p:cNvSpPr>
              <p:nvPr/>
            </p:nvSpPr>
            <p:spPr bwMode="auto">
              <a:xfrm>
                <a:off x="253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2" name="Freeform 595"/>
              <p:cNvSpPr>
                <a:spLocks/>
              </p:cNvSpPr>
              <p:nvPr/>
            </p:nvSpPr>
            <p:spPr bwMode="auto">
              <a:xfrm>
                <a:off x="263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3" name="Freeform 596"/>
              <p:cNvSpPr>
                <a:spLocks/>
              </p:cNvSpPr>
              <p:nvPr/>
            </p:nvSpPr>
            <p:spPr bwMode="auto">
              <a:xfrm>
                <a:off x="272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4" name="Freeform 597"/>
              <p:cNvSpPr>
                <a:spLocks/>
              </p:cNvSpPr>
              <p:nvPr/>
            </p:nvSpPr>
            <p:spPr bwMode="auto">
              <a:xfrm>
                <a:off x="2818"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5" name="Freeform 598"/>
              <p:cNvSpPr>
                <a:spLocks/>
              </p:cNvSpPr>
              <p:nvPr/>
            </p:nvSpPr>
            <p:spPr bwMode="auto">
              <a:xfrm>
                <a:off x="2390" y="96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6" name="Freeform 599"/>
              <p:cNvSpPr>
                <a:spLocks/>
              </p:cNvSpPr>
              <p:nvPr/>
            </p:nvSpPr>
            <p:spPr bwMode="auto">
              <a:xfrm>
                <a:off x="2390" y="96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7" name="Freeform 600"/>
              <p:cNvSpPr>
                <a:spLocks/>
              </p:cNvSpPr>
              <p:nvPr/>
            </p:nvSpPr>
            <p:spPr bwMode="auto">
              <a:xfrm>
                <a:off x="2450"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8" name="Freeform 601"/>
              <p:cNvSpPr>
                <a:spLocks/>
              </p:cNvSpPr>
              <p:nvPr/>
            </p:nvSpPr>
            <p:spPr bwMode="auto">
              <a:xfrm>
                <a:off x="2450"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9" name="Freeform 602"/>
              <p:cNvSpPr>
                <a:spLocks/>
              </p:cNvSpPr>
              <p:nvPr/>
            </p:nvSpPr>
            <p:spPr bwMode="auto">
              <a:xfrm>
                <a:off x="3138"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0" name="Freeform 603"/>
              <p:cNvSpPr>
                <a:spLocks/>
              </p:cNvSpPr>
              <p:nvPr/>
            </p:nvSpPr>
            <p:spPr bwMode="auto">
              <a:xfrm>
                <a:off x="3138"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1" name="Freeform 604"/>
              <p:cNvSpPr>
                <a:spLocks/>
              </p:cNvSpPr>
              <p:nvPr/>
            </p:nvSpPr>
            <p:spPr bwMode="auto">
              <a:xfrm>
                <a:off x="3200"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2" name="Freeform 605"/>
              <p:cNvSpPr>
                <a:spLocks/>
              </p:cNvSpPr>
              <p:nvPr/>
            </p:nvSpPr>
            <p:spPr bwMode="auto">
              <a:xfrm>
                <a:off x="3200"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3" name="Freeform 606"/>
              <p:cNvSpPr>
                <a:spLocks/>
              </p:cNvSpPr>
              <p:nvPr/>
            </p:nvSpPr>
            <p:spPr bwMode="auto">
              <a:xfrm>
                <a:off x="328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6" name="Group 808"/>
            <p:cNvGrpSpPr>
              <a:grpSpLocks/>
            </p:cNvGrpSpPr>
            <p:nvPr/>
          </p:nvGrpSpPr>
          <p:grpSpPr bwMode="auto">
            <a:xfrm>
              <a:off x="15876" y="631825"/>
              <a:ext cx="5965804" cy="1447800"/>
              <a:chOff x="10" y="598"/>
              <a:chExt cx="3758" cy="912"/>
            </a:xfrm>
          </p:grpSpPr>
          <p:sp>
            <p:nvSpPr>
              <p:cNvPr id="2194" name="Freeform 608"/>
              <p:cNvSpPr>
                <a:spLocks/>
              </p:cNvSpPr>
              <p:nvPr/>
            </p:nvSpPr>
            <p:spPr bwMode="auto">
              <a:xfrm>
                <a:off x="338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5" name="Freeform 609"/>
              <p:cNvSpPr>
                <a:spLocks/>
              </p:cNvSpPr>
              <p:nvPr/>
            </p:nvSpPr>
            <p:spPr bwMode="auto">
              <a:xfrm>
                <a:off x="347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6" name="Freeform 610"/>
              <p:cNvSpPr>
                <a:spLocks/>
              </p:cNvSpPr>
              <p:nvPr/>
            </p:nvSpPr>
            <p:spPr bwMode="auto">
              <a:xfrm>
                <a:off x="3712"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7" name="Freeform 611"/>
              <p:cNvSpPr>
                <a:spLocks/>
              </p:cNvSpPr>
              <p:nvPr/>
            </p:nvSpPr>
            <p:spPr bwMode="auto">
              <a:xfrm>
                <a:off x="3564" y="96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8" name="Freeform 612"/>
              <p:cNvSpPr>
                <a:spLocks/>
              </p:cNvSpPr>
              <p:nvPr/>
            </p:nvSpPr>
            <p:spPr bwMode="auto">
              <a:xfrm>
                <a:off x="3564" y="96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9" name="Freeform 613"/>
              <p:cNvSpPr>
                <a:spLocks/>
              </p:cNvSpPr>
              <p:nvPr/>
            </p:nvSpPr>
            <p:spPr bwMode="auto">
              <a:xfrm>
                <a:off x="3624"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0" name="Freeform 614"/>
              <p:cNvSpPr>
                <a:spLocks/>
              </p:cNvSpPr>
              <p:nvPr/>
            </p:nvSpPr>
            <p:spPr bwMode="auto">
              <a:xfrm>
                <a:off x="3624"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1" name="Freeform 615"/>
              <p:cNvSpPr>
                <a:spLocks noEditPoints="1"/>
              </p:cNvSpPr>
              <p:nvPr/>
            </p:nvSpPr>
            <p:spPr bwMode="auto">
              <a:xfrm>
                <a:off x="1872" y="778"/>
                <a:ext cx="186" cy="146"/>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2" name="Freeform 616"/>
              <p:cNvSpPr>
                <a:spLocks/>
              </p:cNvSpPr>
              <p:nvPr/>
            </p:nvSpPr>
            <p:spPr bwMode="auto">
              <a:xfrm>
                <a:off x="1974" y="882"/>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3" name="Freeform 617"/>
              <p:cNvSpPr>
                <a:spLocks/>
              </p:cNvSpPr>
              <p:nvPr/>
            </p:nvSpPr>
            <p:spPr bwMode="auto">
              <a:xfrm>
                <a:off x="1876" y="878"/>
                <a:ext cx="20" cy="22"/>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4" name="Freeform 618"/>
              <p:cNvSpPr>
                <a:spLocks/>
              </p:cNvSpPr>
              <p:nvPr/>
            </p:nvSpPr>
            <p:spPr bwMode="auto">
              <a:xfrm>
                <a:off x="1874" y="8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5" name="Freeform 619"/>
              <p:cNvSpPr>
                <a:spLocks/>
              </p:cNvSpPr>
              <p:nvPr/>
            </p:nvSpPr>
            <p:spPr bwMode="auto">
              <a:xfrm>
                <a:off x="1886" y="7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6" name="Freeform 620"/>
              <p:cNvSpPr>
                <a:spLocks/>
              </p:cNvSpPr>
              <p:nvPr/>
            </p:nvSpPr>
            <p:spPr bwMode="auto">
              <a:xfrm>
                <a:off x="1872" y="778"/>
                <a:ext cx="186" cy="146"/>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7" name="Freeform 621"/>
              <p:cNvSpPr>
                <a:spLocks/>
              </p:cNvSpPr>
              <p:nvPr/>
            </p:nvSpPr>
            <p:spPr bwMode="auto">
              <a:xfrm>
                <a:off x="1878"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8" name="Freeform 622"/>
              <p:cNvSpPr>
                <a:spLocks/>
              </p:cNvSpPr>
              <p:nvPr/>
            </p:nvSpPr>
            <p:spPr bwMode="auto">
              <a:xfrm>
                <a:off x="1878"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9" name="Freeform 623"/>
              <p:cNvSpPr>
                <a:spLocks/>
              </p:cNvSpPr>
              <p:nvPr/>
            </p:nvSpPr>
            <p:spPr bwMode="auto">
              <a:xfrm>
                <a:off x="1880"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0" name="Freeform 624"/>
              <p:cNvSpPr>
                <a:spLocks/>
              </p:cNvSpPr>
              <p:nvPr/>
            </p:nvSpPr>
            <p:spPr bwMode="auto">
              <a:xfrm>
                <a:off x="1880"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1" name="Freeform 625"/>
              <p:cNvSpPr>
                <a:spLocks/>
              </p:cNvSpPr>
              <p:nvPr/>
            </p:nvSpPr>
            <p:spPr bwMode="auto">
              <a:xfrm>
                <a:off x="1974" y="882"/>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2" name="Freeform 626"/>
              <p:cNvSpPr>
                <a:spLocks/>
              </p:cNvSpPr>
              <p:nvPr/>
            </p:nvSpPr>
            <p:spPr bwMode="auto">
              <a:xfrm>
                <a:off x="1974" y="882"/>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3" name="Freeform 627"/>
              <p:cNvSpPr>
                <a:spLocks noEditPoints="1"/>
              </p:cNvSpPr>
              <p:nvPr/>
            </p:nvSpPr>
            <p:spPr bwMode="auto">
              <a:xfrm>
                <a:off x="1974" y="882"/>
                <a:ext cx="18" cy="26"/>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4" name="Freeform 628"/>
              <p:cNvSpPr>
                <a:spLocks/>
              </p:cNvSpPr>
              <p:nvPr/>
            </p:nvSpPr>
            <p:spPr bwMode="auto">
              <a:xfrm>
                <a:off x="1974" y="902"/>
                <a:ext cx="6" cy="6"/>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5" name="Freeform 629"/>
              <p:cNvSpPr>
                <a:spLocks/>
              </p:cNvSpPr>
              <p:nvPr/>
            </p:nvSpPr>
            <p:spPr bwMode="auto">
              <a:xfrm>
                <a:off x="1984" y="882"/>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6" name="Freeform 630"/>
              <p:cNvSpPr>
                <a:spLocks/>
              </p:cNvSpPr>
              <p:nvPr/>
            </p:nvSpPr>
            <p:spPr bwMode="auto">
              <a:xfrm>
                <a:off x="18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7" name="Freeform 631"/>
              <p:cNvSpPr>
                <a:spLocks/>
              </p:cNvSpPr>
              <p:nvPr/>
            </p:nvSpPr>
            <p:spPr bwMode="auto">
              <a:xfrm>
                <a:off x="18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8" name="Freeform 632"/>
              <p:cNvSpPr>
                <a:spLocks noEditPoints="1"/>
              </p:cNvSpPr>
              <p:nvPr/>
            </p:nvSpPr>
            <p:spPr bwMode="auto">
              <a:xfrm>
                <a:off x="1876" y="828"/>
                <a:ext cx="8" cy="2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9" name="Freeform 633"/>
              <p:cNvSpPr>
                <a:spLocks/>
              </p:cNvSpPr>
              <p:nvPr/>
            </p:nvSpPr>
            <p:spPr bwMode="auto">
              <a:xfrm>
                <a:off x="1878" y="846"/>
                <a:ext cx="6" cy="2"/>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0" name="Freeform 634"/>
              <p:cNvSpPr>
                <a:spLocks/>
              </p:cNvSpPr>
              <p:nvPr/>
            </p:nvSpPr>
            <p:spPr bwMode="auto">
              <a:xfrm>
                <a:off x="1884" y="84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1" name="Freeform 635"/>
              <p:cNvSpPr>
                <a:spLocks/>
              </p:cNvSpPr>
              <p:nvPr/>
            </p:nvSpPr>
            <p:spPr bwMode="auto">
              <a:xfrm>
                <a:off x="1876" y="828"/>
                <a:ext cx="4" cy="16"/>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2" name="Freeform 636"/>
              <p:cNvSpPr>
                <a:spLocks/>
              </p:cNvSpPr>
              <p:nvPr/>
            </p:nvSpPr>
            <p:spPr bwMode="auto">
              <a:xfrm>
                <a:off x="1878" y="828"/>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3" name="Freeform 637"/>
              <p:cNvSpPr>
                <a:spLocks noEditPoints="1"/>
              </p:cNvSpPr>
              <p:nvPr/>
            </p:nvSpPr>
            <p:spPr bwMode="auto">
              <a:xfrm>
                <a:off x="1988" y="816"/>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4" name="Freeform 638"/>
              <p:cNvSpPr>
                <a:spLocks/>
              </p:cNvSpPr>
              <p:nvPr/>
            </p:nvSpPr>
            <p:spPr bwMode="auto">
              <a:xfrm>
                <a:off x="1992" y="824"/>
                <a:ext cx="8" cy="4"/>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5" name="Freeform 639"/>
              <p:cNvSpPr>
                <a:spLocks/>
              </p:cNvSpPr>
              <p:nvPr/>
            </p:nvSpPr>
            <p:spPr bwMode="auto">
              <a:xfrm>
                <a:off x="1988" y="816"/>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6" name="Freeform 640"/>
              <p:cNvSpPr>
                <a:spLocks/>
              </p:cNvSpPr>
              <p:nvPr/>
            </p:nvSpPr>
            <p:spPr bwMode="auto">
              <a:xfrm>
                <a:off x="1942"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7" name="Freeform 641"/>
              <p:cNvSpPr>
                <a:spLocks/>
              </p:cNvSpPr>
              <p:nvPr/>
            </p:nvSpPr>
            <p:spPr bwMode="auto">
              <a:xfrm>
                <a:off x="1942"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8" name="Freeform 642"/>
              <p:cNvSpPr>
                <a:spLocks/>
              </p:cNvSpPr>
              <p:nvPr/>
            </p:nvSpPr>
            <p:spPr bwMode="auto">
              <a:xfrm>
                <a:off x="2036" y="808"/>
                <a:ext cx="12" cy="10"/>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9" name="Freeform 643"/>
              <p:cNvSpPr>
                <a:spLocks/>
              </p:cNvSpPr>
              <p:nvPr/>
            </p:nvSpPr>
            <p:spPr bwMode="auto">
              <a:xfrm>
                <a:off x="2036" y="808"/>
                <a:ext cx="12" cy="10"/>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0" name="Freeform 644"/>
              <p:cNvSpPr>
                <a:spLocks/>
              </p:cNvSpPr>
              <p:nvPr/>
            </p:nvSpPr>
            <p:spPr bwMode="auto">
              <a:xfrm>
                <a:off x="1982"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1" name="Freeform 645"/>
              <p:cNvSpPr>
                <a:spLocks/>
              </p:cNvSpPr>
              <p:nvPr/>
            </p:nvSpPr>
            <p:spPr bwMode="auto">
              <a:xfrm>
                <a:off x="1982"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2" name="Freeform 646"/>
              <p:cNvSpPr>
                <a:spLocks/>
              </p:cNvSpPr>
              <p:nvPr/>
            </p:nvSpPr>
            <p:spPr bwMode="auto">
              <a:xfrm>
                <a:off x="1996" y="8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3" name="Freeform 647"/>
              <p:cNvSpPr>
                <a:spLocks/>
              </p:cNvSpPr>
              <p:nvPr/>
            </p:nvSpPr>
            <p:spPr bwMode="auto">
              <a:xfrm>
                <a:off x="1996" y="8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4" name="Freeform 648"/>
              <p:cNvSpPr>
                <a:spLocks/>
              </p:cNvSpPr>
              <p:nvPr/>
            </p:nvSpPr>
            <p:spPr bwMode="auto">
              <a:xfrm>
                <a:off x="1994"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5" name="Freeform 649"/>
              <p:cNvSpPr>
                <a:spLocks/>
              </p:cNvSpPr>
              <p:nvPr/>
            </p:nvSpPr>
            <p:spPr bwMode="auto">
              <a:xfrm>
                <a:off x="1994"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6" name="Freeform 650"/>
              <p:cNvSpPr>
                <a:spLocks noEditPoints="1"/>
              </p:cNvSpPr>
              <p:nvPr/>
            </p:nvSpPr>
            <p:spPr bwMode="auto">
              <a:xfrm>
                <a:off x="1994"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7" name="Freeform 651"/>
              <p:cNvSpPr>
                <a:spLocks/>
              </p:cNvSpPr>
              <p:nvPr/>
            </p:nvSpPr>
            <p:spPr bwMode="auto">
              <a:xfrm>
                <a:off x="1994"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8" name="Freeform 652"/>
              <p:cNvSpPr>
                <a:spLocks/>
              </p:cNvSpPr>
              <p:nvPr/>
            </p:nvSpPr>
            <p:spPr bwMode="auto">
              <a:xfrm>
                <a:off x="1996" y="82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9" name="Freeform 653"/>
              <p:cNvSpPr>
                <a:spLocks noEditPoints="1"/>
              </p:cNvSpPr>
              <p:nvPr/>
            </p:nvSpPr>
            <p:spPr bwMode="auto">
              <a:xfrm>
                <a:off x="2910" y="966"/>
                <a:ext cx="188" cy="146"/>
              </a:xfrm>
              <a:custGeom>
                <a:avLst/>
                <a:gdLst>
                  <a:gd name="T0" fmla="*/ 118 w 188"/>
                  <a:gd name="T1" fmla="*/ 130 h 146"/>
                  <a:gd name="T2" fmla="*/ 114 w 188"/>
                  <a:gd name="T3" fmla="*/ 130 h 146"/>
                  <a:gd name="T4" fmla="*/ 104 w 188"/>
                  <a:gd name="T5" fmla="*/ 130 h 146"/>
                  <a:gd name="T6" fmla="*/ 14 w 188"/>
                  <a:gd name="T7" fmla="*/ 100 h 146"/>
                  <a:gd name="T8" fmla="*/ 18 w 188"/>
                  <a:gd name="T9" fmla="*/ 122 h 146"/>
                  <a:gd name="T10" fmla="*/ 10 w 188"/>
                  <a:gd name="T11" fmla="*/ 50 h 146"/>
                  <a:gd name="T12" fmla="*/ 10 w 188"/>
                  <a:gd name="T13" fmla="*/ 50 h 146"/>
                  <a:gd name="T14" fmla="*/ 6 w 188"/>
                  <a:gd name="T15" fmla="*/ 64 h 146"/>
                  <a:gd name="T16" fmla="*/ 12 w 188"/>
                  <a:gd name="T17" fmla="*/ 66 h 146"/>
                  <a:gd name="T18" fmla="*/ 12 w 188"/>
                  <a:gd name="T19" fmla="*/ 68 h 146"/>
                  <a:gd name="T20" fmla="*/ 2 w 188"/>
                  <a:gd name="T21" fmla="*/ 54 h 146"/>
                  <a:gd name="T22" fmla="*/ 88 w 188"/>
                  <a:gd name="T23" fmla="*/ 12 h 146"/>
                  <a:gd name="T24" fmla="*/ 144 w 188"/>
                  <a:gd name="T25" fmla="*/ 20 h 146"/>
                  <a:gd name="T26" fmla="*/ 150 w 188"/>
                  <a:gd name="T27" fmla="*/ 40 h 146"/>
                  <a:gd name="T28" fmla="*/ 146 w 188"/>
                  <a:gd name="T29" fmla="*/ 52 h 146"/>
                  <a:gd name="T30" fmla="*/ 152 w 188"/>
                  <a:gd name="T31" fmla="*/ 56 h 146"/>
                  <a:gd name="T32" fmla="*/ 162 w 188"/>
                  <a:gd name="T33" fmla="*/ 50 h 146"/>
                  <a:gd name="T34" fmla="*/ 176 w 188"/>
                  <a:gd name="T35" fmla="*/ 28 h 146"/>
                  <a:gd name="T36" fmla="*/ 184 w 188"/>
                  <a:gd name="T37" fmla="*/ 70 h 146"/>
                  <a:gd name="T38" fmla="*/ 132 w 188"/>
                  <a:gd name="T39" fmla="*/ 82 h 146"/>
                  <a:gd name="T40" fmla="*/ 138 w 188"/>
                  <a:gd name="T41" fmla="*/ 98 h 146"/>
                  <a:gd name="T42" fmla="*/ 140 w 188"/>
                  <a:gd name="T43" fmla="*/ 100 h 146"/>
                  <a:gd name="T44" fmla="*/ 106 w 188"/>
                  <a:gd name="T45" fmla="*/ 88 h 146"/>
                  <a:gd name="T46" fmla="*/ 100 w 188"/>
                  <a:gd name="T47" fmla="*/ 128 h 146"/>
                  <a:gd name="T48" fmla="*/ 76 w 188"/>
                  <a:gd name="T49" fmla="*/ 142 h 146"/>
                  <a:gd name="T50" fmla="*/ 78 w 188"/>
                  <a:gd name="T51" fmla="*/ 110 h 146"/>
                  <a:gd name="T52" fmla="*/ 56 w 188"/>
                  <a:gd name="T53" fmla="*/ 116 h 146"/>
                  <a:gd name="T54" fmla="*/ 52 w 188"/>
                  <a:gd name="T55" fmla="*/ 126 h 146"/>
                  <a:gd name="T56" fmla="*/ 26 w 188"/>
                  <a:gd name="T57" fmla="*/ 136 h 146"/>
                  <a:gd name="T58" fmla="*/ 26 w 188"/>
                  <a:gd name="T59" fmla="*/ 114 h 146"/>
                  <a:gd name="T60" fmla="*/ 24 w 188"/>
                  <a:gd name="T61" fmla="*/ 54 h 146"/>
                  <a:gd name="T62" fmla="*/ 48 w 188"/>
                  <a:gd name="T63" fmla="*/ 50 h 146"/>
                  <a:gd name="T64" fmla="*/ 50 w 188"/>
                  <a:gd name="T65" fmla="*/ 84 h 146"/>
                  <a:gd name="T66" fmla="*/ 68 w 188"/>
                  <a:gd name="T67" fmla="*/ 98 h 146"/>
                  <a:gd name="T68" fmla="*/ 98 w 188"/>
                  <a:gd name="T69" fmla="*/ 72 h 146"/>
                  <a:gd name="T70" fmla="*/ 92 w 188"/>
                  <a:gd name="T71" fmla="*/ 84 h 146"/>
                  <a:gd name="T72" fmla="*/ 54 w 188"/>
                  <a:gd name="T73" fmla="*/ 90 h 146"/>
                  <a:gd name="T74" fmla="*/ 52 w 188"/>
                  <a:gd name="T75" fmla="*/ 78 h 146"/>
                  <a:gd name="T76" fmla="*/ 72 w 188"/>
                  <a:gd name="T77" fmla="*/ 26 h 146"/>
                  <a:gd name="T78" fmla="*/ 112 w 188"/>
                  <a:gd name="T79" fmla="*/ 0 h 146"/>
                  <a:gd name="T80" fmla="*/ 72 w 188"/>
                  <a:gd name="T81" fmla="*/ 22 h 146"/>
                  <a:gd name="T82" fmla="*/ 24 w 188"/>
                  <a:gd name="T83" fmla="*/ 46 h 146"/>
                  <a:gd name="T84" fmla="*/ 14 w 188"/>
                  <a:gd name="T85" fmla="*/ 56 h 146"/>
                  <a:gd name="T86" fmla="*/ 0 w 188"/>
                  <a:gd name="T87" fmla="*/ 58 h 146"/>
                  <a:gd name="T88" fmla="*/ 12 w 188"/>
                  <a:gd name="T89" fmla="*/ 90 h 146"/>
                  <a:gd name="T90" fmla="*/ 10 w 188"/>
                  <a:gd name="T91" fmla="*/ 120 h 146"/>
                  <a:gd name="T92" fmla="*/ 24 w 188"/>
                  <a:gd name="T93" fmla="*/ 138 h 146"/>
                  <a:gd name="T94" fmla="*/ 50 w 188"/>
                  <a:gd name="T95" fmla="*/ 136 h 146"/>
                  <a:gd name="T96" fmla="*/ 64 w 188"/>
                  <a:gd name="T97" fmla="*/ 128 h 146"/>
                  <a:gd name="T98" fmla="*/ 88 w 188"/>
                  <a:gd name="T99" fmla="*/ 142 h 146"/>
                  <a:gd name="T100" fmla="*/ 124 w 188"/>
                  <a:gd name="T101" fmla="*/ 128 h 146"/>
                  <a:gd name="T102" fmla="*/ 118 w 188"/>
                  <a:gd name="T103" fmla="*/ 96 h 146"/>
                  <a:gd name="T104" fmla="*/ 146 w 188"/>
                  <a:gd name="T105" fmla="*/ 96 h 146"/>
                  <a:gd name="T106" fmla="*/ 168 w 188"/>
                  <a:gd name="T107" fmla="*/ 90 h 146"/>
                  <a:gd name="T108" fmla="*/ 184 w 188"/>
                  <a:gd name="T109" fmla="*/ 28 h 146"/>
                  <a:gd name="T110" fmla="*/ 166 w 188"/>
                  <a:gd name="T111" fmla="*/ 32 h 146"/>
                  <a:gd name="T112" fmla="*/ 138 w 188"/>
                  <a:gd name="T11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6" y="64"/>
                    </a:lnTo>
                    <a:lnTo>
                      <a:pt x="6" y="64"/>
                    </a:lnTo>
                    <a:lnTo>
                      <a:pt x="6" y="64"/>
                    </a:lnTo>
                    <a:lnTo>
                      <a:pt x="6" y="64"/>
                    </a:lnTo>
                    <a:lnTo>
                      <a:pt x="6" y="64"/>
                    </a:lnTo>
                    <a:lnTo>
                      <a:pt x="6" y="64"/>
                    </a:lnTo>
                    <a:lnTo>
                      <a:pt x="6" y="66"/>
                    </a:lnTo>
                    <a:lnTo>
                      <a:pt x="6"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6"/>
                    </a:lnTo>
                    <a:lnTo>
                      <a:pt x="12" y="68"/>
                    </a:lnTo>
                    <a:lnTo>
                      <a:pt x="12"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2"/>
                    </a:lnTo>
                    <a:lnTo>
                      <a:pt x="126" y="98"/>
                    </a:lnTo>
                    <a:lnTo>
                      <a:pt x="126" y="98"/>
                    </a:lnTo>
                    <a:lnTo>
                      <a:pt x="116" y="92"/>
                    </a:lnTo>
                    <a:lnTo>
                      <a:pt x="106" y="88"/>
                    </a:lnTo>
                    <a:lnTo>
                      <a:pt x="106" y="88"/>
                    </a:lnTo>
                    <a:lnTo>
                      <a:pt x="112" y="92"/>
                    </a:lnTo>
                    <a:lnTo>
                      <a:pt x="112" y="92"/>
                    </a:lnTo>
                    <a:lnTo>
                      <a:pt x="116" y="96"/>
                    </a:lnTo>
                    <a:lnTo>
                      <a:pt x="116" y="96"/>
                    </a:lnTo>
                    <a:lnTo>
                      <a:pt x="110" y="114"/>
                    </a:lnTo>
                    <a:lnTo>
                      <a:pt x="106" y="120"/>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2" y="122"/>
                    </a:lnTo>
                    <a:lnTo>
                      <a:pt x="72" y="122"/>
                    </a:lnTo>
                    <a:lnTo>
                      <a:pt x="78" y="118"/>
                    </a:lnTo>
                    <a:lnTo>
                      <a:pt x="78" y="118"/>
                    </a:lnTo>
                    <a:lnTo>
                      <a:pt x="78" y="110"/>
                    </a:lnTo>
                    <a:lnTo>
                      <a:pt x="78" y="110"/>
                    </a:lnTo>
                    <a:lnTo>
                      <a:pt x="78" y="112"/>
                    </a:lnTo>
                    <a:lnTo>
                      <a:pt x="76" y="116"/>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2" y="126"/>
                    </a:lnTo>
                    <a:lnTo>
                      <a:pt x="50" y="130"/>
                    </a:lnTo>
                    <a:lnTo>
                      <a:pt x="50" y="130"/>
                    </a:lnTo>
                    <a:lnTo>
                      <a:pt x="48" y="134"/>
                    </a:lnTo>
                    <a:lnTo>
                      <a:pt x="48" y="138"/>
                    </a:lnTo>
                    <a:lnTo>
                      <a:pt x="48"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8" y="96"/>
                    </a:lnTo>
                    <a:lnTo>
                      <a:pt x="16" y="88"/>
                    </a:lnTo>
                    <a:lnTo>
                      <a:pt x="14" y="78"/>
                    </a:lnTo>
                    <a:lnTo>
                      <a:pt x="14" y="78"/>
                    </a:lnTo>
                    <a:lnTo>
                      <a:pt x="16" y="68"/>
                    </a:lnTo>
                    <a:lnTo>
                      <a:pt x="20" y="60"/>
                    </a:lnTo>
                    <a:lnTo>
                      <a:pt x="24" y="54"/>
                    </a:lnTo>
                    <a:lnTo>
                      <a:pt x="30" y="46"/>
                    </a:lnTo>
                    <a:lnTo>
                      <a:pt x="30" y="46"/>
                    </a:lnTo>
                    <a:lnTo>
                      <a:pt x="42" y="40"/>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100"/>
                    </a:lnTo>
                    <a:lnTo>
                      <a:pt x="64" y="100"/>
                    </a:lnTo>
                    <a:lnTo>
                      <a:pt x="68" y="98"/>
                    </a:lnTo>
                    <a:lnTo>
                      <a:pt x="72" y="96"/>
                    </a:lnTo>
                    <a:lnTo>
                      <a:pt x="72" y="96"/>
                    </a:lnTo>
                    <a:lnTo>
                      <a:pt x="82" y="92"/>
                    </a:lnTo>
                    <a:lnTo>
                      <a:pt x="92" y="88"/>
                    </a:lnTo>
                    <a:lnTo>
                      <a:pt x="92" y="88"/>
                    </a:lnTo>
                    <a:lnTo>
                      <a:pt x="94" y="86"/>
                    </a:lnTo>
                    <a:lnTo>
                      <a:pt x="94" y="86"/>
                    </a:lnTo>
                    <a:lnTo>
                      <a:pt x="96" y="78"/>
                    </a:lnTo>
                    <a:lnTo>
                      <a:pt x="98" y="72"/>
                    </a:lnTo>
                    <a:lnTo>
                      <a:pt x="96" y="58"/>
                    </a:lnTo>
                    <a:lnTo>
                      <a:pt x="96" y="58"/>
                    </a:lnTo>
                    <a:lnTo>
                      <a:pt x="92" y="44"/>
                    </a:lnTo>
                    <a:lnTo>
                      <a:pt x="92" y="44"/>
                    </a:lnTo>
                    <a:lnTo>
                      <a:pt x="92" y="62"/>
                    </a:lnTo>
                    <a:lnTo>
                      <a:pt x="92" y="62"/>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8"/>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8"/>
                    </a:lnTo>
                    <a:lnTo>
                      <a:pt x="84" y="12"/>
                    </a:lnTo>
                    <a:lnTo>
                      <a:pt x="84" y="12"/>
                    </a:lnTo>
                    <a:lnTo>
                      <a:pt x="80" y="18"/>
                    </a:lnTo>
                    <a:lnTo>
                      <a:pt x="76" y="20"/>
                    </a:lnTo>
                    <a:lnTo>
                      <a:pt x="72" y="22"/>
                    </a:lnTo>
                    <a:lnTo>
                      <a:pt x="72" y="22"/>
                    </a:lnTo>
                    <a:lnTo>
                      <a:pt x="70" y="22"/>
                    </a:lnTo>
                    <a:lnTo>
                      <a:pt x="70" y="22"/>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0" name="Freeform 654"/>
              <p:cNvSpPr>
                <a:spLocks/>
              </p:cNvSpPr>
              <p:nvPr/>
            </p:nvSpPr>
            <p:spPr bwMode="auto">
              <a:xfrm>
                <a:off x="3014" y="1070"/>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4 w 16"/>
                  <a:gd name="T17" fmla="*/ 26 h 26"/>
                  <a:gd name="T18" fmla="*/ 14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8 w 16"/>
                  <a:gd name="T37" fmla="*/ 26 h 26"/>
                  <a:gd name="T38" fmla="*/ 8 w 16"/>
                  <a:gd name="T39" fmla="*/ 26 h 26"/>
                  <a:gd name="T40" fmla="*/ 0 w 16"/>
                  <a:gd name="T41" fmla="*/ 26 h 26"/>
                  <a:gd name="T42" fmla="*/ 0 w 16"/>
                  <a:gd name="T43" fmla="*/ 26 h 26"/>
                  <a:gd name="T44" fmla="*/ 0 w 16"/>
                  <a:gd name="T45" fmla="*/ 26 h 26"/>
                  <a:gd name="T46" fmla="*/ 0 w 16"/>
                  <a:gd name="T47" fmla="*/ 26 h 26"/>
                  <a:gd name="T48" fmla="*/ 0 w 16"/>
                  <a:gd name="T49" fmla="*/ 26 h 26"/>
                  <a:gd name="T50" fmla="*/ 0 w 16"/>
                  <a:gd name="T51" fmla="*/ 26 h 26"/>
                  <a:gd name="T52" fmla="*/ 0 w 16"/>
                  <a:gd name="T53" fmla="*/ 26 h 26"/>
                  <a:gd name="T54" fmla="*/ 10 w 16"/>
                  <a:gd name="T55" fmla="*/ 4 h 26"/>
                  <a:gd name="T56" fmla="*/ 10 w 16"/>
                  <a:gd name="T57" fmla="*/ 4 h 26"/>
                  <a:gd name="T58" fmla="*/ 14 w 16"/>
                  <a:gd name="T59" fmla="*/ 0 h 26"/>
                  <a:gd name="T60" fmla="*/ 14 w 16"/>
                  <a:gd name="T61" fmla="*/ 0 h 26"/>
                  <a:gd name="T62" fmla="*/ 14 w 16"/>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6">
                    <a:moveTo>
                      <a:pt x="14" y="0"/>
                    </a:moveTo>
                    <a:lnTo>
                      <a:pt x="14" y="0"/>
                    </a:lnTo>
                    <a:lnTo>
                      <a:pt x="14" y="0"/>
                    </a:lnTo>
                    <a:lnTo>
                      <a:pt x="14" y="0"/>
                    </a:lnTo>
                    <a:lnTo>
                      <a:pt x="16" y="8"/>
                    </a:lnTo>
                    <a:lnTo>
                      <a:pt x="16" y="8"/>
                    </a:lnTo>
                    <a:lnTo>
                      <a:pt x="16" y="24"/>
                    </a:lnTo>
                    <a:lnTo>
                      <a:pt x="16" y="24"/>
                    </a:lnTo>
                    <a:lnTo>
                      <a:pt x="14" y="26"/>
                    </a:lnTo>
                    <a:lnTo>
                      <a:pt x="14" y="26"/>
                    </a:lnTo>
                    <a:lnTo>
                      <a:pt x="10" y="26"/>
                    </a:lnTo>
                    <a:lnTo>
                      <a:pt x="10" y="26"/>
                    </a:lnTo>
                    <a:lnTo>
                      <a:pt x="10" y="26"/>
                    </a:lnTo>
                    <a:lnTo>
                      <a:pt x="10"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1" name="Freeform 655"/>
              <p:cNvSpPr>
                <a:spLocks/>
              </p:cNvSpPr>
              <p:nvPr/>
            </p:nvSpPr>
            <p:spPr bwMode="auto">
              <a:xfrm>
                <a:off x="2916" y="1066"/>
                <a:ext cx="18" cy="22"/>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2" name="Freeform 656"/>
              <p:cNvSpPr>
                <a:spLocks/>
              </p:cNvSpPr>
              <p:nvPr/>
            </p:nvSpPr>
            <p:spPr bwMode="auto">
              <a:xfrm>
                <a:off x="2912" y="1016"/>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6 h 20"/>
                  <a:gd name="T42" fmla="*/ 4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6 h 20"/>
                  <a:gd name="T70" fmla="*/ 10 w 12"/>
                  <a:gd name="T71" fmla="*/ 18 h 20"/>
                  <a:gd name="T72" fmla="*/ 10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8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4" y="14"/>
                    </a:lnTo>
                    <a:lnTo>
                      <a:pt x="4" y="14"/>
                    </a:lnTo>
                    <a:lnTo>
                      <a:pt x="4" y="14"/>
                    </a:lnTo>
                    <a:lnTo>
                      <a:pt x="4" y="14"/>
                    </a:lnTo>
                    <a:lnTo>
                      <a:pt x="4" y="14"/>
                    </a:lnTo>
                    <a:lnTo>
                      <a:pt x="4" y="14"/>
                    </a:lnTo>
                    <a:lnTo>
                      <a:pt x="4" y="16"/>
                    </a:lnTo>
                    <a:lnTo>
                      <a:pt x="4"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6"/>
                    </a:lnTo>
                    <a:lnTo>
                      <a:pt x="10" y="18"/>
                    </a:lnTo>
                    <a:lnTo>
                      <a:pt x="10"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3" name="Freeform 657"/>
              <p:cNvSpPr>
                <a:spLocks/>
              </p:cNvSpPr>
              <p:nvPr/>
            </p:nvSpPr>
            <p:spPr bwMode="auto">
              <a:xfrm>
                <a:off x="2924" y="970"/>
                <a:ext cx="172" cy="138"/>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38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8 h 138"/>
                  <a:gd name="T60" fmla="*/ 54 w 172"/>
                  <a:gd name="T61" fmla="*/ 122 h 138"/>
                  <a:gd name="T62" fmla="*/ 64 w 172"/>
                  <a:gd name="T63" fmla="*/ 114 h 138"/>
                  <a:gd name="T64" fmla="*/ 62 w 172"/>
                  <a:gd name="T65" fmla="*/ 112 h 138"/>
                  <a:gd name="T66" fmla="*/ 52 w 172"/>
                  <a:gd name="T67" fmla="*/ 112 h 138"/>
                  <a:gd name="T68" fmla="*/ 40 w 172"/>
                  <a:gd name="T69" fmla="*/ 110 h 138"/>
                  <a:gd name="T70" fmla="*/ 40 w 172"/>
                  <a:gd name="T71" fmla="*/ 108 h 138"/>
                  <a:gd name="T72" fmla="*/ 38 w 172"/>
                  <a:gd name="T73" fmla="*/ 122 h 138"/>
                  <a:gd name="T74" fmla="*/ 34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4 w 172"/>
                  <a:gd name="T91" fmla="*/ 46 h 138"/>
                  <a:gd name="T92" fmla="*/ 26 w 172"/>
                  <a:gd name="T93" fmla="*/ 60 h 138"/>
                  <a:gd name="T94" fmla="*/ 36 w 172"/>
                  <a:gd name="T95" fmla="*/ 76 h 138"/>
                  <a:gd name="T96" fmla="*/ 34 w 172"/>
                  <a:gd name="T97" fmla="*/ 86 h 138"/>
                  <a:gd name="T98" fmla="*/ 50 w 172"/>
                  <a:gd name="T99" fmla="*/ 96 h 138"/>
                  <a:gd name="T100" fmla="*/ 58 w 172"/>
                  <a:gd name="T101" fmla="*/ 92 h 138"/>
                  <a:gd name="T102" fmla="*/ 80 w 172"/>
                  <a:gd name="T103" fmla="*/ 82 h 138"/>
                  <a:gd name="T104" fmla="*/ 82 w 172"/>
                  <a:gd name="T105" fmla="*/ 54 h 138"/>
                  <a:gd name="T106" fmla="*/ 78 w 172"/>
                  <a:gd name="T107" fmla="*/ 58 h 138"/>
                  <a:gd name="T108" fmla="*/ 78 w 172"/>
                  <a:gd name="T109" fmla="*/ 80 h 138"/>
                  <a:gd name="T110" fmla="*/ 58 w 172"/>
                  <a:gd name="T111" fmla="*/ 88 h 138"/>
                  <a:gd name="T112" fmla="*/ 44 w 172"/>
                  <a:gd name="T113" fmla="*/ 90 h 138"/>
                  <a:gd name="T114" fmla="*/ 38 w 172"/>
                  <a:gd name="T115" fmla="*/ 80 h 138"/>
                  <a:gd name="T116" fmla="*/ 46 w 172"/>
                  <a:gd name="T117" fmla="*/ 64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8"/>
                    </a:lnTo>
                    <a:lnTo>
                      <a:pt x="112" y="94"/>
                    </a:lnTo>
                    <a:lnTo>
                      <a:pt x="112" y="94"/>
                    </a:lnTo>
                    <a:lnTo>
                      <a:pt x="102" y="88"/>
                    </a:lnTo>
                    <a:lnTo>
                      <a:pt x="92" y="84"/>
                    </a:lnTo>
                    <a:lnTo>
                      <a:pt x="92" y="84"/>
                    </a:lnTo>
                    <a:lnTo>
                      <a:pt x="98" y="88"/>
                    </a:lnTo>
                    <a:lnTo>
                      <a:pt x="98" y="88"/>
                    </a:lnTo>
                    <a:lnTo>
                      <a:pt x="102" y="92"/>
                    </a:lnTo>
                    <a:lnTo>
                      <a:pt x="102" y="92"/>
                    </a:lnTo>
                    <a:lnTo>
                      <a:pt x="96" y="110"/>
                    </a:lnTo>
                    <a:lnTo>
                      <a:pt x="92" y="116"/>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8" y="118"/>
                    </a:lnTo>
                    <a:lnTo>
                      <a:pt x="58" y="118"/>
                    </a:lnTo>
                    <a:lnTo>
                      <a:pt x="64" y="114"/>
                    </a:lnTo>
                    <a:lnTo>
                      <a:pt x="64" y="114"/>
                    </a:lnTo>
                    <a:lnTo>
                      <a:pt x="64" y="106"/>
                    </a:lnTo>
                    <a:lnTo>
                      <a:pt x="64" y="106"/>
                    </a:lnTo>
                    <a:lnTo>
                      <a:pt x="64" y="108"/>
                    </a:lnTo>
                    <a:lnTo>
                      <a:pt x="62" y="112"/>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8" y="122"/>
                    </a:lnTo>
                    <a:lnTo>
                      <a:pt x="36" y="126"/>
                    </a:lnTo>
                    <a:lnTo>
                      <a:pt x="36" y="126"/>
                    </a:lnTo>
                    <a:lnTo>
                      <a:pt x="34" y="130"/>
                    </a:lnTo>
                    <a:lnTo>
                      <a:pt x="34" y="134"/>
                    </a:lnTo>
                    <a:lnTo>
                      <a:pt x="34"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4" y="92"/>
                    </a:lnTo>
                    <a:lnTo>
                      <a:pt x="2" y="84"/>
                    </a:lnTo>
                    <a:lnTo>
                      <a:pt x="0" y="74"/>
                    </a:lnTo>
                    <a:lnTo>
                      <a:pt x="0" y="74"/>
                    </a:lnTo>
                    <a:lnTo>
                      <a:pt x="2" y="64"/>
                    </a:lnTo>
                    <a:lnTo>
                      <a:pt x="6" y="56"/>
                    </a:lnTo>
                    <a:lnTo>
                      <a:pt x="10" y="50"/>
                    </a:lnTo>
                    <a:lnTo>
                      <a:pt x="16" y="42"/>
                    </a:lnTo>
                    <a:lnTo>
                      <a:pt x="16" y="42"/>
                    </a:lnTo>
                    <a:lnTo>
                      <a:pt x="28" y="36"/>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6"/>
                    </a:lnTo>
                    <a:lnTo>
                      <a:pt x="50" y="96"/>
                    </a:lnTo>
                    <a:lnTo>
                      <a:pt x="54" y="94"/>
                    </a:lnTo>
                    <a:lnTo>
                      <a:pt x="58" y="92"/>
                    </a:lnTo>
                    <a:lnTo>
                      <a:pt x="58" y="92"/>
                    </a:lnTo>
                    <a:lnTo>
                      <a:pt x="68" y="88"/>
                    </a:lnTo>
                    <a:lnTo>
                      <a:pt x="78" y="84"/>
                    </a:lnTo>
                    <a:lnTo>
                      <a:pt x="78" y="84"/>
                    </a:lnTo>
                    <a:lnTo>
                      <a:pt x="80" y="82"/>
                    </a:lnTo>
                    <a:lnTo>
                      <a:pt x="80" y="82"/>
                    </a:lnTo>
                    <a:lnTo>
                      <a:pt x="82" y="74"/>
                    </a:lnTo>
                    <a:lnTo>
                      <a:pt x="84" y="68"/>
                    </a:lnTo>
                    <a:lnTo>
                      <a:pt x="82" y="54"/>
                    </a:lnTo>
                    <a:lnTo>
                      <a:pt x="82" y="54"/>
                    </a:lnTo>
                    <a:lnTo>
                      <a:pt x="78" y="40"/>
                    </a:lnTo>
                    <a:lnTo>
                      <a:pt x="78" y="40"/>
                    </a:lnTo>
                    <a:lnTo>
                      <a:pt x="78" y="58"/>
                    </a:lnTo>
                    <a:lnTo>
                      <a:pt x="78" y="58"/>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4"/>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4" name="Freeform 658"/>
              <p:cNvSpPr>
                <a:spLocks/>
              </p:cNvSpPr>
              <p:nvPr/>
            </p:nvSpPr>
            <p:spPr bwMode="auto">
              <a:xfrm>
                <a:off x="2910" y="966"/>
                <a:ext cx="188" cy="146"/>
              </a:xfrm>
              <a:custGeom>
                <a:avLst/>
                <a:gdLst>
                  <a:gd name="T0" fmla="*/ 106 w 188"/>
                  <a:gd name="T1" fmla="*/ 2 h 146"/>
                  <a:gd name="T2" fmla="*/ 84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2"/>
                    </a:lnTo>
                    <a:lnTo>
                      <a:pt x="98" y="4"/>
                    </a:lnTo>
                    <a:lnTo>
                      <a:pt x="92" y="8"/>
                    </a:lnTo>
                    <a:lnTo>
                      <a:pt x="84" y="12"/>
                    </a:lnTo>
                    <a:lnTo>
                      <a:pt x="84" y="12"/>
                    </a:lnTo>
                    <a:lnTo>
                      <a:pt x="80" y="18"/>
                    </a:lnTo>
                    <a:lnTo>
                      <a:pt x="76" y="20"/>
                    </a:lnTo>
                    <a:lnTo>
                      <a:pt x="72" y="22"/>
                    </a:lnTo>
                    <a:lnTo>
                      <a:pt x="72" y="22"/>
                    </a:lnTo>
                    <a:lnTo>
                      <a:pt x="70" y="22"/>
                    </a:lnTo>
                    <a:lnTo>
                      <a:pt x="70" y="22"/>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5" name="Freeform 659"/>
              <p:cNvSpPr>
                <a:spLocks/>
              </p:cNvSpPr>
              <p:nvPr/>
            </p:nvSpPr>
            <p:spPr bwMode="auto">
              <a:xfrm>
                <a:off x="2916" y="1066"/>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6" name="Freeform 660"/>
              <p:cNvSpPr>
                <a:spLocks/>
              </p:cNvSpPr>
              <p:nvPr/>
            </p:nvSpPr>
            <p:spPr bwMode="auto">
              <a:xfrm>
                <a:off x="2916" y="1066"/>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7" name="Freeform 661"/>
              <p:cNvSpPr>
                <a:spLocks/>
              </p:cNvSpPr>
              <p:nvPr/>
            </p:nvSpPr>
            <p:spPr bwMode="auto">
              <a:xfrm>
                <a:off x="2918" y="1066"/>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8" name="Freeform 662"/>
              <p:cNvSpPr>
                <a:spLocks/>
              </p:cNvSpPr>
              <p:nvPr/>
            </p:nvSpPr>
            <p:spPr bwMode="auto">
              <a:xfrm>
                <a:off x="2918" y="1066"/>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9" name="Freeform 663"/>
              <p:cNvSpPr>
                <a:spLocks/>
              </p:cNvSpPr>
              <p:nvPr/>
            </p:nvSpPr>
            <p:spPr bwMode="auto">
              <a:xfrm>
                <a:off x="3014" y="1070"/>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14 w 16"/>
                  <a:gd name="T37" fmla="*/ 26 h 26"/>
                  <a:gd name="T38" fmla="*/ 14 w 16"/>
                  <a:gd name="T39" fmla="*/ 26 h 26"/>
                  <a:gd name="T40" fmla="*/ 16 w 16"/>
                  <a:gd name="T41" fmla="*/ 24 h 26"/>
                  <a:gd name="T42" fmla="*/ 16 w 16"/>
                  <a:gd name="T43" fmla="*/ 24 h 26"/>
                  <a:gd name="T44" fmla="*/ 16 w 16"/>
                  <a:gd name="T45" fmla="*/ 8 h 26"/>
                  <a:gd name="T46" fmla="*/ 16 w 16"/>
                  <a:gd name="T47" fmla="*/ 8 h 26"/>
                  <a:gd name="T48" fmla="*/ 14 w 16"/>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0" y="26"/>
                    </a:lnTo>
                    <a:lnTo>
                      <a:pt x="1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0" name="Freeform 664"/>
              <p:cNvSpPr>
                <a:spLocks/>
              </p:cNvSpPr>
              <p:nvPr/>
            </p:nvSpPr>
            <p:spPr bwMode="auto">
              <a:xfrm>
                <a:off x="3014" y="1070"/>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14 w 16"/>
                  <a:gd name="T37" fmla="*/ 26 h 26"/>
                  <a:gd name="T38" fmla="*/ 14 w 16"/>
                  <a:gd name="T39" fmla="*/ 26 h 26"/>
                  <a:gd name="T40" fmla="*/ 16 w 16"/>
                  <a:gd name="T41" fmla="*/ 24 h 26"/>
                  <a:gd name="T42" fmla="*/ 16 w 16"/>
                  <a:gd name="T43" fmla="*/ 24 h 26"/>
                  <a:gd name="T44" fmla="*/ 16 w 16"/>
                  <a:gd name="T45" fmla="*/ 8 h 26"/>
                  <a:gd name="T46" fmla="*/ 16 w 16"/>
                  <a:gd name="T47" fmla="*/ 8 h 26"/>
                  <a:gd name="T48" fmla="*/ 14 w 16"/>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0" y="26"/>
                    </a:lnTo>
                    <a:lnTo>
                      <a:pt x="1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1" name="Freeform 665"/>
              <p:cNvSpPr>
                <a:spLocks noEditPoints="1"/>
              </p:cNvSpPr>
              <p:nvPr/>
            </p:nvSpPr>
            <p:spPr bwMode="auto">
              <a:xfrm>
                <a:off x="3014" y="1070"/>
                <a:ext cx="14" cy="26"/>
              </a:xfrm>
              <a:custGeom>
                <a:avLst/>
                <a:gdLst>
                  <a:gd name="T0" fmla="*/ 10 w 14"/>
                  <a:gd name="T1" fmla="*/ 26 h 26"/>
                  <a:gd name="T2" fmla="*/ 10 w 14"/>
                  <a:gd name="T3" fmla="*/ 26 h 26"/>
                  <a:gd name="T4" fmla="*/ 10 w 14"/>
                  <a:gd name="T5" fmla="*/ 26 h 26"/>
                  <a:gd name="T6" fmla="*/ 10 w 14"/>
                  <a:gd name="T7" fmla="*/ 26 h 26"/>
                  <a:gd name="T8" fmla="*/ 10 w 14"/>
                  <a:gd name="T9" fmla="*/ 26 h 26"/>
                  <a:gd name="T10" fmla="*/ 8 w 14"/>
                  <a:gd name="T11" fmla="*/ 26 h 26"/>
                  <a:gd name="T12" fmla="*/ 8 w 14"/>
                  <a:gd name="T13" fmla="*/ 26 h 26"/>
                  <a:gd name="T14" fmla="*/ 10 w 14"/>
                  <a:gd name="T15" fmla="*/ 26 h 26"/>
                  <a:gd name="T16" fmla="*/ 10 w 14"/>
                  <a:gd name="T17" fmla="*/ 26 h 26"/>
                  <a:gd name="T18" fmla="*/ 8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0 w 14"/>
                  <a:gd name="T31" fmla="*/ 26 h 26"/>
                  <a:gd name="T32" fmla="*/ 14 w 14"/>
                  <a:gd name="T33" fmla="*/ 0 h 26"/>
                  <a:gd name="T34" fmla="*/ 14 w 14"/>
                  <a:gd name="T35" fmla="*/ 0 h 26"/>
                  <a:gd name="T36" fmla="*/ 10 w 14"/>
                  <a:gd name="T37" fmla="*/ 4 h 26"/>
                  <a:gd name="T38" fmla="*/ 10 w 14"/>
                  <a:gd name="T39" fmla="*/ 4 h 26"/>
                  <a:gd name="T40" fmla="*/ 14 w 14"/>
                  <a:gd name="T41" fmla="*/ 0 h 26"/>
                  <a:gd name="T42" fmla="*/ 14 w 14"/>
                  <a:gd name="T43" fmla="*/ 0 h 26"/>
                  <a:gd name="T44" fmla="*/ 14 w 14"/>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6">
                    <a:moveTo>
                      <a:pt x="10" y="26"/>
                    </a:moveTo>
                    <a:lnTo>
                      <a:pt x="10" y="26"/>
                    </a:lnTo>
                    <a:lnTo>
                      <a:pt x="10" y="26"/>
                    </a:lnTo>
                    <a:lnTo>
                      <a:pt x="10" y="26"/>
                    </a:lnTo>
                    <a:lnTo>
                      <a:pt x="10" y="26"/>
                    </a:lnTo>
                    <a:close/>
                    <a:moveTo>
                      <a:pt x="8" y="26"/>
                    </a:moveTo>
                    <a:lnTo>
                      <a:pt x="8"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2" name="Rectangle 666"/>
              <p:cNvSpPr>
                <a:spLocks noChangeArrowheads="1"/>
              </p:cNvSpPr>
              <p:nvPr/>
            </p:nvSpPr>
            <p:spPr bwMode="auto">
              <a:xfrm>
                <a:off x="3024" y="109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3" name="Rectangle 667"/>
              <p:cNvSpPr>
                <a:spLocks noChangeArrowheads="1"/>
              </p:cNvSpPr>
              <p:nvPr/>
            </p:nvSpPr>
            <p:spPr bwMode="auto">
              <a:xfrm>
                <a:off x="3022" y="1096"/>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4" name="Freeform 668"/>
              <p:cNvSpPr>
                <a:spLocks/>
              </p:cNvSpPr>
              <p:nvPr/>
            </p:nvSpPr>
            <p:spPr bwMode="auto">
              <a:xfrm>
                <a:off x="3014" y="109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5" name="Freeform 669"/>
              <p:cNvSpPr>
                <a:spLocks/>
              </p:cNvSpPr>
              <p:nvPr/>
            </p:nvSpPr>
            <p:spPr bwMode="auto">
              <a:xfrm>
                <a:off x="3024" y="1070"/>
                <a:ext cx="4" cy="4"/>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6" name="Freeform 670"/>
              <p:cNvSpPr>
                <a:spLocks/>
              </p:cNvSpPr>
              <p:nvPr/>
            </p:nvSpPr>
            <p:spPr bwMode="auto">
              <a:xfrm>
                <a:off x="2912" y="1016"/>
                <a:ext cx="12" cy="20"/>
              </a:xfrm>
              <a:custGeom>
                <a:avLst/>
                <a:gdLst>
                  <a:gd name="T0" fmla="*/ 8 w 12"/>
                  <a:gd name="T1" fmla="*/ 0 h 20"/>
                  <a:gd name="T2" fmla="*/ 8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6 w 12"/>
                  <a:gd name="T49" fmla="*/ 16 h 20"/>
                  <a:gd name="T50" fmla="*/ 6 w 12"/>
                  <a:gd name="T51" fmla="*/ 16 h 20"/>
                  <a:gd name="T52" fmla="*/ 4 w 12"/>
                  <a:gd name="T53" fmla="*/ 14 h 20"/>
                  <a:gd name="T54" fmla="*/ 4 w 12"/>
                  <a:gd name="T55" fmla="*/ 14 h 20"/>
                  <a:gd name="T56" fmla="*/ 4 w 12"/>
                  <a:gd name="T57" fmla="*/ 14 h 20"/>
                  <a:gd name="T58" fmla="*/ 4 w 12"/>
                  <a:gd name="T59" fmla="*/ 14 h 20"/>
                  <a:gd name="T60" fmla="*/ 4 w 12"/>
                  <a:gd name="T61" fmla="*/ 12 h 20"/>
                  <a:gd name="T62" fmla="*/ 4 w 12"/>
                  <a:gd name="T63" fmla="*/ 12 h 20"/>
                  <a:gd name="T64" fmla="*/ 6 w 12"/>
                  <a:gd name="T65" fmla="*/ 2 h 20"/>
                  <a:gd name="T66" fmla="*/ 6 w 12"/>
                  <a:gd name="T67" fmla="*/ 2 h 20"/>
                  <a:gd name="T68" fmla="*/ 8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8" y="0"/>
                    </a:moveTo>
                    <a:lnTo>
                      <a:pt x="8"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6" y="16"/>
                    </a:lnTo>
                    <a:lnTo>
                      <a:pt x="6" y="16"/>
                    </a:lnTo>
                    <a:lnTo>
                      <a:pt x="4" y="14"/>
                    </a:lnTo>
                    <a:lnTo>
                      <a:pt x="4" y="14"/>
                    </a:lnTo>
                    <a:lnTo>
                      <a:pt x="4" y="14"/>
                    </a:lnTo>
                    <a:lnTo>
                      <a:pt x="4" y="14"/>
                    </a:lnTo>
                    <a:lnTo>
                      <a:pt x="4" y="12"/>
                    </a:lnTo>
                    <a:lnTo>
                      <a:pt x="4" y="12"/>
                    </a:lnTo>
                    <a:lnTo>
                      <a:pt x="6" y="2"/>
                    </a:lnTo>
                    <a:lnTo>
                      <a:pt x="6" y="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7" name="Freeform 671"/>
              <p:cNvSpPr>
                <a:spLocks/>
              </p:cNvSpPr>
              <p:nvPr/>
            </p:nvSpPr>
            <p:spPr bwMode="auto">
              <a:xfrm>
                <a:off x="2912" y="1016"/>
                <a:ext cx="12" cy="20"/>
              </a:xfrm>
              <a:custGeom>
                <a:avLst/>
                <a:gdLst>
                  <a:gd name="T0" fmla="*/ 8 w 12"/>
                  <a:gd name="T1" fmla="*/ 0 h 20"/>
                  <a:gd name="T2" fmla="*/ 8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6 w 12"/>
                  <a:gd name="T49" fmla="*/ 16 h 20"/>
                  <a:gd name="T50" fmla="*/ 6 w 12"/>
                  <a:gd name="T51" fmla="*/ 16 h 20"/>
                  <a:gd name="T52" fmla="*/ 4 w 12"/>
                  <a:gd name="T53" fmla="*/ 14 h 20"/>
                  <a:gd name="T54" fmla="*/ 4 w 12"/>
                  <a:gd name="T55" fmla="*/ 14 h 20"/>
                  <a:gd name="T56" fmla="*/ 4 w 12"/>
                  <a:gd name="T57" fmla="*/ 14 h 20"/>
                  <a:gd name="T58" fmla="*/ 4 w 12"/>
                  <a:gd name="T59" fmla="*/ 14 h 20"/>
                  <a:gd name="T60" fmla="*/ 4 w 12"/>
                  <a:gd name="T61" fmla="*/ 12 h 20"/>
                  <a:gd name="T62" fmla="*/ 4 w 12"/>
                  <a:gd name="T63" fmla="*/ 12 h 20"/>
                  <a:gd name="T64" fmla="*/ 6 w 12"/>
                  <a:gd name="T65" fmla="*/ 2 h 20"/>
                  <a:gd name="T66" fmla="*/ 6 w 12"/>
                  <a:gd name="T67" fmla="*/ 2 h 20"/>
                  <a:gd name="T68" fmla="*/ 8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8" y="0"/>
                    </a:moveTo>
                    <a:lnTo>
                      <a:pt x="8"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6" y="16"/>
                    </a:lnTo>
                    <a:lnTo>
                      <a:pt x="6" y="16"/>
                    </a:lnTo>
                    <a:lnTo>
                      <a:pt x="4" y="14"/>
                    </a:lnTo>
                    <a:lnTo>
                      <a:pt x="4" y="14"/>
                    </a:lnTo>
                    <a:lnTo>
                      <a:pt x="4" y="14"/>
                    </a:lnTo>
                    <a:lnTo>
                      <a:pt x="4" y="14"/>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8" name="Freeform 672"/>
              <p:cNvSpPr>
                <a:spLocks noEditPoints="1"/>
              </p:cNvSpPr>
              <p:nvPr/>
            </p:nvSpPr>
            <p:spPr bwMode="auto">
              <a:xfrm>
                <a:off x="2916" y="1016"/>
                <a:ext cx="8" cy="20"/>
              </a:xfrm>
              <a:custGeom>
                <a:avLst/>
                <a:gdLst>
                  <a:gd name="T0" fmla="*/ 0 w 8"/>
                  <a:gd name="T1" fmla="*/ 18 h 20"/>
                  <a:gd name="T2" fmla="*/ 0 w 8"/>
                  <a:gd name="T3" fmla="*/ 18 h 20"/>
                  <a:gd name="T4" fmla="*/ 0 w 8"/>
                  <a:gd name="T5" fmla="*/ 18 h 20"/>
                  <a:gd name="T6" fmla="*/ 0 w 8"/>
                  <a:gd name="T7" fmla="*/ 18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18 h 20"/>
                  <a:gd name="T22" fmla="*/ 0 w 8"/>
                  <a:gd name="T23" fmla="*/ 18 h 20"/>
                  <a:gd name="T24" fmla="*/ 0 w 8"/>
                  <a:gd name="T25" fmla="*/ 18 h 20"/>
                  <a:gd name="T26" fmla="*/ 0 w 8"/>
                  <a:gd name="T27" fmla="*/ 14 h 20"/>
                  <a:gd name="T28" fmla="*/ 0 w 8"/>
                  <a:gd name="T29" fmla="*/ 14 h 20"/>
                  <a:gd name="T30" fmla="*/ 2 w 8"/>
                  <a:gd name="T31" fmla="*/ 16 h 20"/>
                  <a:gd name="T32" fmla="*/ 2 w 8"/>
                  <a:gd name="T33" fmla="*/ 16 h 20"/>
                  <a:gd name="T34" fmla="*/ 0 w 8"/>
                  <a:gd name="T35" fmla="*/ 16 h 20"/>
                  <a:gd name="T36" fmla="*/ 0 w 8"/>
                  <a:gd name="T37" fmla="*/ 16 h 20"/>
                  <a:gd name="T38" fmla="*/ 0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0 w 8"/>
                  <a:gd name="T63" fmla="*/ 14 h 20"/>
                  <a:gd name="T64" fmla="*/ 0 w 8"/>
                  <a:gd name="T65" fmla="*/ 14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4 w 8"/>
                  <a:gd name="T89" fmla="*/ 0 h 20"/>
                  <a:gd name="T90" fmla="*/ 4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0" y="18"/>
                    </a:moveTo>
                    <a:lnTo>
                      <a:pt x="0" y="18"/>
                    </a:lnTo>
                    <a:lnTo>
                      <a:pt x="0" y="18"/>
                    </a:lnTo>
                    <a:lnTo>
                      <a:pt x="0" y="18"/>
                    </a:lnTo>
                    <a:lnTo>
                      <a:pt x="2" y="20"/>
                    </a:lnTo>
                    <a:lnTo>
                      <a:pt x="2" y="20"/>
                    </a:lnTo>
                    <a:lnTo>
                      <a:pt x="6" y="18"/>
                    </a:lnTo>
                    <a:lnTo>
                      <a:pt x="6" y="18"/>
                    </a:lnTo>
                    <a:lnTo>
                      <a:pt x="2" y="20"/>
                    </a:lnTo>
                    <a:lnTo>
                      <a:pt x="2" y="20"/>
                    </a:lnTo>
                    <a:lnTo>
                      <a:pt x="0" y="18"/>
                    </a:lnTo>
                    <a:lnTo>
                      <a:pt x="0" y="18"/>
                    </a:lnTo>
                    <a:lnTo>
                      <a:pt x="0" y="18"/>
                    </a:lnTo>
                    <a:close/>
                    <a:moveTo>
                      <a:pt x="0" y="14"/>
                    </a:moveTo>
                    <a:lnTo>
                      <a:pt x="0" y="14"/>
                    </a:lnTo>
                    <a:lnTo>
                      <a:pt x="2" y="16"/>
                    </a:lnTo>
                    <a:lnTo>
                      <a:pt x="2" y="16"/>
                    </a:lnTo>
                    <a:lnTo>
                      <a:pt x="0" y="16"/>
                    </a:lnTo>
                    <a:lnTo>
                      <a:pt x="0" y="16"/>
                    </a:lnTo>
                    <a:lnTo>
                      <a:pt x="0" y="14"/>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0" y="14"/>
                    </a:lnTo>
                    <a:lnTo>
                      <a:pt x="0" y="14"/>
                    </a:lnTo>
                    <a:lnTo>
                      <a:pt x="0" y="12"/>
                    </a:lnTo>
                    <a:lnTo>
                      <a:pt x="0" y="12"/>
                    </a:lnTo>
                    <a:lnTo>
                      <a:pt x="2" y="2"/>
                    </a:lnTo>
                    <a:close/>
                    <a:moveTo>
                      <a:pt x="4" y="0"/>
                    </a:moveTo>
                    <a:lnTo>
                      <a:pt x="4" y="0"/>
                    </a:lnTo>
                    <a:lnTo>
                      <a:pt x="2" y="0"/>
                    </a:lnTo>
                    <a:lnTo>
                      <a:pt x="2"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9" name="Freeform 673"/>
              <p:cNvSpPr>
                <a:spLocks/>
              </p:cNvSpPr>
              <p:nvPr/>
            </p:nvSpPr>
            <p:spPr bwMode="auto">
              <a:xfrm>
                <a:off x="2916" y="1034"/>
                <a:ext cx="6" cy="2"/>
              </a:xfrm>
              <a:custGeom>
                <a:avLst/>
                <a:gdLst>
                  <a:gd name="T0" fmla="*/ 0 w 6"/>
                  <a:gd name="T1" fmla="*/ 0 h 2"/>
                  <a:gd name="T2" fmla="*/ 0 w 6"/>
                  <a:gd name="T3" fmla="*/ 0 h 2"/>
                  <a:gd name="T4" fmla="*/ 0 w 6"/>
                  <a:gd name="T5" fmla="*/ 0 h 2"/>
                  <a:gd name="T6" fmla="*/ 0 w 6"/>
                  <a:gd name="T7" fmla="*/ 0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0 h 2"/>
                  <a:gd name="T22" fmla="*/ 0 w 6"/>
                  <a:gd name="T23" fmla="*/ 0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0"/>
                    </a:lnTo>
                    <a:lnTo>
                      <a:pt x="0" y="0"/>
                    </a:lnTo>
                    <a:lnTo>
                      <a:pt x="2" y="2"/>
                    </a:lnTo>
                    <a:lnTo>
                      <a:pt x="2" y="2"/>
                    </a:lnTo>
                    <a:lnTo>
                      <a:pt x="6" y="0"/>
                    </a:lnTo>
                    <a:lnTo>
                      <a:pt x="6"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0" name="Freeform 674"/>
              <p:cNvSpPr>
                <a:spLocks/>
              </p:cNvSpPr>
              <p:nvPr/>
            </p:nvSpPr>
            <p:spPr bwMode="auto">
              <a:xfrm>
                <a:off x="2916" y="1030"/>
                <a:ext cx="2" cy="2"/>
              </a:xfrm>
              <a:custGeom>
                <a:avLst/>
                <a:gdLst>
                  <a:gd name="T0" fmla="*/ 0 w 2"/>
                  <a:gd name="T1" fmla="*/ 0 h 2"/>
                  <a:gd name="T2" fmla="*/ 0 w 2"/>
                  <a:gd name="T3" fmla="*/ 0 h 2"/>
                  <a:gd name="T4" fmla="*/ 2 w 2"/>
                  <a:gd name="T5" fmla="*/ 2 h 2"/>
                  <a:gd name="T6" fmla="*/ 2 w 2"/>
                  <a:gd name="T7" fmla="*/ 2 h 2"/>
                  <a:gd name="T8" fmla="*/ 0 w 2"/>
                  <a:gd name="T9" fmla="*/ 2 h 2"/>
                  <a:gd name="T10" fmla="*/ 0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2"/>
                    </a:lnTo>
                    <a:lnTo>
                      <a:pt x="2"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1" name="Freeform 675"/>
              <p:cNvSpPr>
                <a:spLocks/>
              </p:cNvSpPr>
              <p:nvPr/>
            </p:nvSpPr>
            <p:spPr bwMode="auto">
              <a:xfrm>
                <a:off x="2922" y="103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2" name="Freeform 676"/>
              <p:cNvSpPr>
                <a:spLocks/>
              </p:cNvSpPr>
              <p:nvPr/>
            </p:nvSpPr>
            <p:spPr bwMode="auto">
              <a:xfrm>
                <a:off x="2916" y="1018"/>
                <a:ext cx="2" cy="12"/>
              </a:xfrm>
              <a:custGeom>
                <a:avLst/>
                <a:gdLst>
                  <a:gd name="T0" fmla="*/ 2 w 2"/>
                  <a:gd name="T1" fmla="*/ 0 h 12"/>
                  <a:gd name="T2" fmla="*/ 2 w 2"/>
                  <a:gd name="T3" fmla="*/ 0 h 12"/>
                  <a:gd name="T4" fmla="*/ 0 w 2"/>
                  <a:gd name="T5" fmla="*/ 10 h 12"/>
                  <a:gd name="T6" fmla="*/ 0 w 2"/>
                  <a:gd name="T7" fmla="*/ 10 h 12"/>
                  <a:gd name="T8" fmla="*/ 0 w 2"/>
                  <a:gd name="T9" fmla="*/ 12 h 12"/>
                  <a:gd name="T10" fmla="*/ 0 w 2"/>
                  <a:gd name="T11" fmla="*/ 12 h 12"/>
                  <a:gd name="T12" fmla="*/ 0 w 2"/>
                  <a:gd name="T13" fmla="*/ 10 h 12"/>
                  <a:gd name="T14" fmla="*/ 0 w 2"/>
                  <a:gd name="T15" fmla="*/ 10 h 12"/>
                  <a:gd name="T16" fmla="*/ 2 w 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2">
                    <a:moveTo>
                      <a:pt x="2" y="0"/>
                    </a:moveTo>
                    <a:lnTo>
                      <a:pt x="2" y="0"/>
                    </a:lnTo>
                    <a:lnTo>
                      <a:pt x="0" y="10"/>
                    </a:lnTo>
                    <a:lnTo>
                      <a:pt x="0" y="10"/>
                    </a:lnTo>
                    <a:lnTo>
                      <a:pt x="0" y="12"/>
                    </a:lnTo>
                    <a:lnTo>
                      <a:pt x="0" y="12"/>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3" name="Freeform 677"/>
              <p:cNvSpPr>
                <a:spLocks/>
              </p:cNvSpPr>
              <p:nvPr/>
            </p:nvSpPr>
            <p:spPr bwMode="auto">
              <a:xfrm>
                <a:off x="2918" y="1016"/>
                <a:ext cx="2" cy="0"/>
              </a:xfrm>
              <a:custGeom>
                <a:avLst/>
                <a:gdLst>
                  <a:gd name="T0" fmla="*/ 2 w 2"/>
                  <a:gd name="T1" fmla="*/ 2 w 2"/>
                  <a:gd name="T2" fmla="*/ 0 w 2"/>
                  <a:gd name="T3" fmla="*/ 0 w 2"/>
                  <a:gd name="T4" fmla="*/ 0 w 2"/>
                  <a:gd name="T5" fmla="*/ 0 w 2"/>
                  <a:gd name="T6" fmla="*/ 0 w 2"/>
                  <a:gd name="T7" fmla="*/ 0 w 2"/>
                  <a:gd name="T8" fmla="*/ 2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4" name="Freeform 678"/>
              <p:cNvSpPr>
                <a:spLocks noEditPoints="1"/>
              </p:cNvSpPr>
              <p:nvPr/>
            </p:nvSpPr>
            <p:spPr bwMode="auto">
              <a:xfrm>
                <a:off x="3026" y="1004"/>
                <a:ext cx="20" cy="14"/>
              </a:xfrm>
              <a:custGeom>
                <a:avLst/>
                <a:gdLst>
                  <a:gd name="T0" fmla="*/ 8 w 20"/>
                  <a:gd name="T1" fmla="*/ 8 h 14"/>
                  <a:gd name="T2" fmla="*/ 8 w 20"/>
                  <a:gd name="T3" fmla="*/ 8 h 14"/>
                  <a:gd name="T4" fmla="*/ 8 w 20"/>
                  <a:gd name="T5" fmla="*/ 8 h 14"/>
                  <a:gd name="T6" fmla="*/ 8 w 20"/>
                  <a:gd name="T7" fmla="*/ 8 h 14"/>
                  <a:gd name="T8" fmla="*/ 10 w 20"/>
                  <a:gd name="T9" fmla="*/ 8 h 14"/>
                  <a:gd name="T10" fmla="*/ 10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2 h 14"/>
                  <a:gd name="T26" fmla="*/ 8 w 20"/>
                  <a:gd name="T27" fmla="*/ 12 h 14"/>
                  <a:gd name="T28" fmla="*/ 8 w 20"/>
                  <a:gd name="T29" fmla="*/ 12 h 14"/>
                  <a:gd name="T30" fmla="*/ 8 w 20"/>
                  <a:gd name="T31" fmla="*/ 12 h 14"/>
                  <a:gd name="T32" fmla="*/ 6 w 20"/>
                  <a:gd name="T33" fmla="*/ 10 h 14"/>
                  <a:gd name="T34" fmla="*/ 6 w 20"/>
                  <a:gd name="T35" fmla="*/ 10 h 14"/>
                  <a:gd name="T36" fmla="*/ 8 w 20"/>
                  <a:gd name="T37" fmla="*/ 8 h 14"/>
                  <a:gd name="T38" fmla="*/ 8 w 20"/>
                  <a:gd name="T39" fmla="*/ 8 h 14"/>
                  <a:gd name="T40" fmla="*/ 8 w 20"/>
                  <a:gd name="T41" fmla="*/ 8 h 14"/>
                  <a:gd name="T42" fmla="*/ 14 w 20"/>
                  <a:gd name="T43" fmla="*/ 0 h 14"/>
                  <a:gd name="T44" fmla="*/ 14 w 20"/>
                  <a:gd name="T45" fmla="*/ 0 h 14"/>
                  <a:gd name="T46" fmla="*/ 6 w 20"/>
                  <a:gd name="T47" fmla="*/ 4 h 14"/>
                  <a:gd name="T48" fmla="*/ 0 w 20"/>
                  <a:gd name="T49" fmla="*/ 10 h 14"/>
                  <a:gd name="T50" fmla="*/ 0 w 20"/>
                  <a:gd name="T51" fmla="*/ 10 h 14"/>
                  <a:gd name="T52" fmla="*/ 4 w 20"/>
                  <a:gd name="T53" fmla="*/ 10 h 14"/>
                  <a:gd name="T54" fmla="*/ 4 w 20"/>
                  <a:gd name="T55" fmla="*/ 10 h 14"/>
                  <a:gd name="T56" fmla="*/ 8 w 20"/>
                  <a:gd name="T57" fmla="*/ 14 h 14"/>
                  <a:gd name="T58" fmla="*/ 8 w 20"/>
                  <a:gd name="T59" fmla="*/ 14 h 14"/>
                  <a:gd name="T60" fmla="*/ 20 w 20"/>
                  <a:gd name="T61" fmla="*/ 6 h 14"/>
                  <a:gd name="T62" fmla="*/ 20 w 20"/>
                  <a:gd name="T63" fmla="*/ 6 h 14"/>
                  <a:gd name="T64" fmla="*/ 16 w 20"/>
                  <a:gd name="T65" fmla="*/ 6 h 14"/>
                  <a:gd name="T66" fmla="*/ 14 w 2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4">
                    <a:moveTo>
                      <a:pt x="8" y="8"/>
                    </a:moveTo>
                    <a:lnTo>
                      <a:pt x="8" y="8"/>
                    </a:lnTo>
                    <a:lnTo>
                      <a:pt x="8" y="8"/>
                    </a:lnTo>
                    <a:lnTo>
                      <a:pt x="8" y="8"/>
                    </a:lnTo>
                    <a:lnTo>
                      <a:pt x="10" y="8"/>
                    </a:lnTo>
                    <a:lnTo>
                      <a:pt x="10" y="8"/>
                    </a:lnTo>
                    <a:lnTo>
                      <a:pt x="12" y="10"/>
                    </a:lnTo>
                    <a:lnTo>
                      <a:pt x="12" y="10"/>
                    </a:lnTo>
                    <a:lnTo>
                      <a:pt x="12" y="10"/>
                    </a:lnTo>
                    <a:lnTo>
                      <a:pt x="12" y="10"/>
                    </a:lnTo>
                    <a:lnTo>
                      <a:pt x="12" y="10"/>
                    </a:lnTo>
                    <a:lnTo>
                      <a:pt x="12" y="10"/>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5" name="Freeform 679"/>
              <p:cNvSpPr>
                <a:spLocks/>
              </p:cNvSpPr>
              <p:nvPr/>
            </p:nvSpPr>
            <p:spPr bwMode="auto">
              <a:xfrm>
                <a:off x="3032" y="1012"/>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0 w 6"/>
                  <a:gd name="T33" fmla="*/ 2 h 4"/>
                  <a:gd name="T34" fmla="*/ 0 w 6"/>
                  <a:gd name="T35" fmla="*/ 2 h 4"/>
                  <a:gd name="T36" fmla="*/ 2 w 6"/>
                  <a:gd name="T37" fmla="*/ 0 h 4"/>
                  <a:gd name="T38" fmla="*/ 2 w 6"/>
                  <a:gd name="T39" fmla="*/ 0 h 4"/>
                  <a:gd name="T40" fmla="*/ 2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6" name="Freeform 680"/>
              <p:cNvSpPr>
                <a:spLocks/>
              </p:cNvSpPr>
              <p:nvPr/>
            </p:nvSpPr>
            <p:spPr bwMode="auto">
              <a:xfrm>
                <a:off x="3026" y="1004"/>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7" name="Freeform 681"/>
              <p:cNvSpPr>
                <a:spLocks/>
              </p:cNvSpPr>
              <p:nvPr/>
            </p:nvSpPr>
            <p:spPr bwMode="auto">
              <a:xfrm>
                <a:off x="2980" y="99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8" name="Freeform 682"/>
              <p:cNvSpPr>
                <a:spLocks/>
              </p:cNvSpPr>
              <p:nvPr/>
            </p:nvSpPr>
            <p:spPr bwMode="auto">
              <a:xfrm>
                <a:off x="2980" y="99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9" name="Freeform 683"/>
              <p:cNvSpPr>
                <a:spLocks/>
              </p:cNvSpPr>
              <p:nvPr/>
            </p:nvSpPr>
            <p:spPr bwMode="auto">
              <a:xfrm>
                <a:off x="3076" y="99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0" name="Freeform 684"/>
              <p:cNvSpPr>
                <a:spLocks/>
              </p:cNvSpPr>
              <p:nvPr/>
            </p:nvSpPr>
            <p:spPr bwMode="auto">
              <a:xfrm>
                <a:off x="3076" y="99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1" name="Freeform 685"/>
              <p:cNvSpPr>
                <a:spLocks/>
              </p:cNvSpPr>
              <p:nvPr/>
            </p:nvSpPr>
            <p:spPr bwMode="auto">
              <a:xfrm>
                <a:off x="3022" y="994"/>
                <a:ext cx="6" cy="6"/>
              </a:xfrm>
              <a:custGeom>
                <a:avLst/>
                <a:gdLst>
                  <a:gd name="T0" fmla="*/ 6 w 6"/>
                  <a:gd name="T1" fmla="*/ 0 h 6"/>
                  <a:gd name="T2" fmla="*/ 6 w 6"/>
                  <a:gd name="T3" fmla="*/ 0 h 6"/>
                  <a:gd name="T4" fmla="*/ 0 w 6"/>
                  <a:gd name="T5" fmla="*/ 4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4"/>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2" name="Freeform 686"/>
              <p:cNvSpPr>
                <a:spLocks/>
              </p:cNvSpPr>
              <p:nvPr/>
            </p:nvSpPr>
            <p:spPr bwMode="auto">
              <a:xfrm>
                <a:off x="3022" y="994"/>
                <a:ext cx="6" cy="6"/>
              </a:xfrm>
              <a:custGeom>
                <a:avLst/>
                <a:gdLst>
                  <a:gd name="T0" fmla="*/ 6 w 6"/>
                  <a:gd name="T1" fmla="*/ 0 h 6"/>
                  <a:gd name="T2" fmla="*/ 6 w 6"/>
                  <a:gd name="T3" fmla="*/ 0 h 6"/>
                  <a:gd name="T4" fmla="*/ 0 w 6"/>
                  <a:gd name="T5" fmla="*/ 4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4"/>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3" name="Freeform 687"/>
              <p:cNvSpPr>
                <a:spLocks/>
              </p:cNvSpPr>
              <p:nvPr/>
            </p:nvSpPr>
            <p:spPr bwMode="auto">
              <a:xfrm>
                <a:off x="3036" y="1044"/>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4" name="Freeform 688"/>
              <p:cNvSpPr>
                <a:spLocks/>
              </p:cNvSpPr>
              <p:nvPr/>
            </p:nvSpPr>
            <p:spPr bwMode="auto">
              <a:xfrm>
                <a:off x="3036" y="1044"/>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5" name="Freeform 689"/>
              <p:cNvSpPr>
                <a:spLocks/>
              </p:cNvSpPr>
              <p:nvPr/>
            </p:nvSpPr>
            <p:spPr bwMode="auto">
              <a:xfrm>
                <a:off x="3032" y="101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6" name="Freeform 690"/>
              <p:cNvSpPr>
                <a:spLocks/>
              </p:cNvSpPr>
              <p:nvPr/>
            </p:nvSpPr>
            <p:spPr bwMode="auto">
              <a:xfrm>
                <a:off x="3032" y="101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7" name="Freeform 691"/>
              <p:cNvSpPr>
                <a:spLocks noEditPoints="1"/>
              </p:cNvSpPr>
              <p:nvPr/>
            </p:nvSpPr>
            <p:spPr bwMode="auto">
              <a:xfrm>
                <a:off x="3034" y="101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4 w 4"/>
                  <a:gd name="T21" fmla="*/ 2 h 4"/>
                  <a:gd name="T22" fmla="*/ 0 w 4"/>
                  <a:gd name="T23" fmla="*/ 0 h 4"/>
                  <a:gd name="T24" fmla="*/ 0 w 4"/>
                  <a:gd name="T25" fmla="*/ 0 h 4"/>
                  <a:gd name="T26" fmla="*/ 0 w 4"/>
                  <a:gd name="T27" fmla="*/ 0 h 4"/>
                  <a:gd name="T28" fmla="*/ 0 w 4"/>
                  <a:gd name="T29" fmla="*/ 0 h 4"/>
                  <a:gd name="T30" fmla="*/ 2 w 4"/>
                  <a:gd name="T31" fmla="*/ 0 h 4"/>
                  <a:gd name="T32" fmla="*/ 2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4" y="2"/>
                    </a:moveTo>
                    <a:lnTo>
                      <a:pt x="4" y="2"/>
                    </a:lnTo>
                    <a:lnTo>
                      <a:pt x="0" y="4"/>
                    </a:lnTo>
                    <a:lnTo>
                      <a:pt x="0" y="4"/>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8" name="Freeform 692"/>
              <p:cNvSpPr>
                <a:spLocks/>
              </p:cNvSpPr>
              <p:nvPr/>
            </p:nvSpPr>
            <p:spPr bwMode="auto">
              <a:xfrm>
                <a:off x="3034" y="101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0 w 4"/>
                  <a:gd name="T13" fmla="*/ 2 h 2"/>
                  <a:gd name="T14" fmla="*/ 0 w 4"/>
                  <a:gd name="T15" fmla="*/ 2 h 2"/>
                  <a:gd name="T16" fmla="*/ 4 w 4"/>
                  <a:gd name="T17" fmla="*/ 0 h 2"/>
                  <a:gd name="T18" fmla="*/ 4 w 4"/>
                  <a:gd name="T19" fmla="*/ 0 h 2"/>
                  <a:gd name="T20" fmla="*/ 4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4" y="0"/>
                    </a:moveTo>
                    <a:lnTo>
                      <a:pt x="4" y="0"/>
                    </a:lnTo>
                    <a:lnTo>
                      <a:pt x="0" y="2"/>
                    </a:lnTo>
                    <a:lnTo>
                      <a:pt x="0" y="2"/>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9" name="Freeform 693"/>
              <p:cNvSpPr>
                <a:spLocks/>
              </p:cNvSpPr>
              <p:nvPr/>
            </p:nvSpPr>
            <p:spPr bwMode="auto">
              <a:xfrm>
                <a:off x="3034" y="101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0" name="Freeform 694"/>
              <p:cNvSpPr>
                <a:spLocks/>
              </p:cNvSpPr>
              <p:nvPr/>
            </p:nvSpPr>
            <p:spPr bwMode="auto">
              <a:xfrm>
                <a:off x="2098"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1" name="Freeform 695"/>
              <p:cNvSpPr>
                <a:spLocks/>
              </p:cNvSpPr>
              <p:nvPr/>
            </p:nvSpPr>
            <p:spPr bwMode="auto">
              <a:xfrm>
                <a:off x="2192"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2" name="Freeform 696"/>
              <p:cNvSpPr>
                <a:spLocks/>
              </p:cNvSpPr>
              <p:nvPr/>
            </p:nvSpPr>
            <p:spPr bwMode="auto">
              <a:xfrm>
                <a:off x="2284"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3" name="Freeform 697"/>
              <p:cNvSpPr>
                <a:spLocks/>
              </p:cNvSpPr>
              <p:nvPr/>
            </p:nvSpPr>
            <p:spPr bwMode="auto">
              <a:xfrm>
                <a:off x="2602"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4" name="Freeform 698"/>
              <p:cNvSpPr>
                <a:spLocks/>
              </p:cNvSpPr>
              <p:nvPr/>
            </p:nvSpPr>
            <p:spPr bwMode="auto">
              <a:xfrm>
                <a:off x="2602"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5" name="Freeform 699"/>
              <p:cNvSpPr>
                <a:spLocks/>
              </p:cNvSpPr>
              <p:nvPr/>
            </p:nvSpPr>
            <p:spPr bwMode="auto">
              <a:xfrm>
                <a:off x="2662" y="7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6" name="Freeform 700"/>
              <p:cNvSpPr>
                <a:spLocks/>
              </p:cNvSpPr>
              <p:nvPr/>
            </p:nvSpPr>
            <p:spPr bwMode="auto">
              <a:xfrm>
                <a:off x="2662" y="7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7" name="Freeform 701"/>
              <p:cNvSpPr>
                <a:spLocks/>
              </p:cNvSpPr>
              <p:nvPr/>
            </p:nvSpPr>
            <p:spPr bwMode="auto">
              <a:xfrm>
                <a:off x="274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8" name="Freeform 702"/>
              <p:cNvSpPr>
                <a:spLocks/>
              </p:cNvSpPr>
              <p:nvPr/>
            </p:nvSpPr>
            <p:spPr bwMode="auto">
              <a:xfrm>
                <a:off x="284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9" name="Freeform 703"/>
              <p:cNvSpPr>
                <a:spLocks/>
              </p:cNvSpPr>
              <p:nvPr/>
            </p:nvSpPr>
            <p:spPr bwMode="auto">
              <a:xfrm>
                <a:off x="293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0" name="Freeform 704"/>
              <p:cNvSpPr>
                <a:spLocks noEditPoints="1"/>
              </p:cNvSpPr>
              <p:nvPr/>
            </p:nvSpPr>
            <p:spPr bwMode="auto">
              <a:xfrm>
                <a:off x="2374" y="778"/>
                <a:ext cx="188" cy="146"/>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0 h 146"/>
                  <a:gd name="T14" fmla="*/ 6 w 188"/>
                  <a:gd name="T15" fmla="*/ 66 h 146"/>
                  <a:gd name="T16" fmla="*/ 12 w 188"/>
                  <a:gd name="T17" fmla="*/ 64 h 146"/>
                  <a:gd name="T18" fmla="*/ 6 w 188"/>
                  <a:gd name="T19" fmla="*/ 68 h 146"/>
                  <a:gd name="T20" fmla="*/ 8 w 188"/>
                  <a:gd name="T21" fmla="*/ 50 h 146"/>
                  <a:gd name="T22" fmla="*/ 114 w 188"/>
                  <a:gd name="T23" fmla="*/ 4 h 146"/>
                  <a:gd name="T24" fmla="*/ 152 w 188"/>
                  <a:gd name="T25" fmla="*/ 26 h 146"/>
                  <a:gd name="T26" fmla="*/ 156 w 188"/>
                  <a:gd name="T27" fmla="*/ 40 h 146"/>
                  <a:gd name="T28" fmla="*/ 152 w 188"/>
                  <a:gd name="T29" fmla="*/ 44 h 146"/>
                  <a:gd name="T30" fmla="*/ 158 w 188"/>
                  <a:gd name="T31" fmla="*/ 46 h 146"/>
                  <a:gd name="T32" fmla="*/ 164 w 188"/>
                  <a:gd name="T33" fmla="*/ 36 h 146"/>
                  <a:gd name="T34" fmla="*/ 184 w 188"/>
                  <a:gd name="T35" fmla="*/ 40 h 146"/>
                  <a:gd name="T36" fmla="*/ 158 w 188"/>
                  <a:gd name="T37" fmla="*/ 88 h 146"/>
                  <a:gd name="T38" fmla="*/ 130 w 188"/>
                  <a:gd name="T39" fmla="*/ 98 h 146"/>
                  <a:gd name="T40" fmla="*/ 142 w 188"/>
                  <a:gd name="T41" fmla="*/ 92 h 146"/>
                  <a:gd name="T42" fmla="*/ 132 w 188"/>
                  <a:gd name="T43" fmla="*/ 102 h 146"/>
                  <a:gd name="T44" fmla="*/ 114 w 188"/>
                  <a:gd name="T45" fmla="*/ 96 h 146"/>
                  <a:gd name="T46" fmla="*/ 86 w 188"/>
                  <a:gd name="T47" fmla="*/ 140 h 146"/>
                  <a:gd name="T48" fmla="*/ 70 w 188"/>
                  <a:gd name="T49" fmla="*/ 122 h 146"/>
                  <a:gd name="T50" fmla="*/ 70 w 188"/>
                  <a:gd name="T51" fmla="*/ 116 h 146"/>
                  <a:gd name="T52" fmla="*/ 52 w 188"/>
                  <a:gd name="T53" fmla="*/ 112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2 w 188"/>
                  <a:gd name="T71" fmla="*/ 92 h 146"/>
                  <a:gd name="T72" fmla="*/ 52 w 188"/>
                  <a:gd name="T73" fmla="*/ 84 h 146"/>
                  <a:gd name="T74" fmla="*/ 44 w 188"/>
                  <a:gd name="T75" fmla="*/ 62 h 146"/>
                  <a:gd name="T76" fmla="*/ 86 w 188"/>
                  <a:gd name="T77" fmla="*/ 22 h 146"/>
                  <a:gd name="T78" fmla="*/ 90 w 188"/>
                  <a:gd name="T79" fmla="*/ 6 h 146"/>
                  <a:gd name="T80" fmla="*/ 62 w 188"/>
                  <a:gd name="T81" fmla="*/ 28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2 w 188"/>
                  <a:gd name="T105" fmla="*/ 90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14" y="130"/>
                    </a:lnTo>
                    <a:lnTo>
                      <a:pt x="114" y="130"/>
                    </a:lnTo>
                    <a:lnTo>
                      <a:pt x="110" y="130"/>
                    </a:lnTo>
                    <a:lnTo>
                      <a:pt x="110" y="130"/>
                    </a:lnTo>
                    <a:lnTo>
                      <a:pt x="104" y="130"/>
                    </a:lnTo>
                    <a:lnTo>
                      <a:pt x="104" y="130"/>
                    </a:lnTo>
                    <a:lnTo>
                      <a:pt x="104" y="130"/>
                    </a:lnTo>
                    <a:lnTo>
                      <a:pt x="104" y="130"/>
                    </a:lnTo>
                    <a:lnTo>
                      <a:pt x="104" y="130"/>
                    </a:lnTo>
                    <a:lnTo>
                      <a:pt x="102" y="130"/>
                    </a:lnTo>
                    <a:lnTo>
                      <a:pt x="102" y="130"/>
                    </a:lnTo>
                    <a:lnTo>
                      <a:pt x="114" y="108"/>
                    </a:lnTo>
                    <a:lnTo>
                      <a:pt x="114" y="108"/>
                    </a:lnTo>
                    <a:lnTo>
                      <a:pt x="116" y="104"/>
                    </a:lnTo>
                    <a:lnTo>
                      <a:pt x="116" y="104"/>
                    </a:lnTo>
                    <a:lnTo>
                      <a:pt x="116" y="104"/>
                    </a:lnTo>
                    <a:close/>
                    <a:moveTo>
                      <a:pt x="8" y="104"/>
                    </a:moveTo>
                    <a:lnTo>
                      <a:pt x="8" y="104"/>
                    </a:lnTo>
                    <a:lnTo>
                      <a:pt x="14" y="100"/>
                    </a:lnTo>
                    <a:lnTo>
                      <a:pt x="14" y="100"/>
                    </a:lnTo>
                    <a:lnTo>
                      <a:pt x="22" y="116"/>
                    </a:lnTo>
                    <a:lnTo>
                      <a:pt x="22" y="116"/>
                    </a:lnTo>
                    <a:lnTo>
                      <a:pt x="24" y="120"/>
                    </a:lnTo>
                    <a:lnTo>
                      <a:pt x="20" y="122"/>
                    </a:lnTo>
                    <a:lnTo>
                      <a:pt x="20" y="122"/>
                    </a:lnTo>
                    <a:lnTo>
                      <a:pt x="20" y="122"/>
                    </a:lnTo>
                    <a:lnTo>
                      <a:pt x="20"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0"/>
                    </a:lnTo>
                    <a:lnTo>
                      <a:pt x="4" y="60"/>
                    </a:lnTo>
                    <a:lnTo>
                      <a:pt x="6" y="64"/>
                    </a:lnTo>
                    <a:lnTo>
                      <a:pt x="6" y="64"/>
                    </a:lnTo>
                    <a:lnTo>
                      <a:pt x="6" y="64"/>
                    </a:lnTo>
                    <a:lnTo>
                      <a:pt x="6" y="64"/>
                    </a:lnTo>
                    <a:lnTo>
                      <a:pt x="6" y="64"/>
                    </a:lnTo>
                    <a:lnTo>
                      <a:pt x="6" y="64"/>
                    </a:lnTo>
                    <a:lnTo>
                      <a:pt x="6" y="64"/>
                    </a:lnTo>
                    <a:lnTo>
                      <a:pt x="6" y="64"/>
                    </a:lnTo>
                    <a:lnTo>
                      <a:pt x="6" y="66"/>
                    </a:lnTo>
                    <a:lnTo>
                      <a:pt x="6" y="66"/>
                    </a:lnTo>
                    <a:lnTo>
                      <a:pt x="10" y="66"/>
                    </a:lnTo>
                    <a:lnTo>
                      <a:pt x="10" y="66"/>
                    </a:lnTo>
                    <a:lnTo>
                      <a:pt x="10" y="66"/>
                    </a:lnTo>
                    <a:lnTo>
                      <a:pt x="10" y="66"/>
                    </a:lnTo>
                    <a:lnTo>
                      <a:pt x="12" y="64"/>
                    </a:lnTo>
                    <a:lnTo>
                      <a:pt x="12" y="64"/>
                    </a:lnTo>
                    <a:lnTo>
                      <a:pt x="12" y="64"/>
                    </a:lnTo>
                    <a:lnTo>
                      <a:pt x="12" y="64"/>
                    </a:lnTo>
                    <a:lnTo>
                      <a:pt x="14" y="64"/>
                    </a:lnTo>
                    <a:lnTo>
                      <a:pt x="14" y="64"/>
                    </a:lnTo>
                    <a:lnTo>
                      <a:pt x="12" y="66"/>
                    </a:lnTo>
                    <a:lnTo>
                      <a:pt x="10" y="68"/>
                    </a:lnTo>
                    <a:lnTo>
                      <a:pt x="10"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2" y="50"/>
                    </a:lnTo>
                    <a:lnTo>
                      <a:pt x="160" y="42"/>
                    </a:lnTo>
                    <a:lnTo>
                      <a:pt x="160"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6" y="98"/>
                    </a:lnTo>
                    <a:lnTo>
                      <a:pt x="126"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50" y="126"/>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8"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1" name="Freeform 705"/>
              <p:cNvSpPr>
                <a:spLocks/>
              </p:cNvSpPr>
              <p:nvPr/>
            </p:nvSpPr>
            <p:spPr bwMode="auto">
              <a:xfrm>
                <a:off x="2476" y="882"/>
                <a:ext cx="18" cy="26"/>
              </a:xfrm>
              <a:custGeom>
                <a:avLst/>
                <a:gdLst>
                  <a:gd name="T0" fmla="*/ 14 w 18"/>
                  <a:gd name="T1" fmla="*/ 0 h 26"/>
                  <a:gd name="T2" fmla="*/ 14 w 18"/>
                  <a:gd name="T3" fmla="*/ 0 h 26"/>
                  <a:gd name="T4" fmla="*/ 14 w 18"/>
                  <a:gd name="T5" fmla="*/ 0 h 26"/>
                  <a:gd name="T6" fmla="*/ 14 w 18"/>
                  <a:gd name="T7" fmla="*/ 0 h 26"/>
                  <a:gd name="T8" fmla="*/ 18 w 18"/>
                  <a:gd name="T9" fmla="*/ 8 h 26"/>
                  <a:gd name="T10" fmla="*/ 18 w 18"/>
                  <a:gd name="T11" fmla="*/ 8 h 26"/>
                  <a:gd name="T12" fmla="*/ 18 w 18"/>
                  <a:gd name="T13" fmla="*/ 22 h 26"/>
                  <a:gd name="T14" fmla="*/ 18 w 18"/>
                  <a:gd name="T15" fmla="*/ 22 h 26"/>
                  <a:gd name="T16" fmla="*/ 16 w 18"/>
                  <a:gd name="T17" fmla="*/ 26 h 26"/>
                  <a:gd name="T18" fmla="*/ 16 w 18"/>
                  <a:gd name="T19" fmla="*/ 26 h 26"/>
                  <a:gd name="T20" fmla="*/ 12 w 18"/>
                  <a:gd name="T21" fmla="*/ 26 h 26"/>
                  <a:gd name="T22" fmla="*/ 12 w 18"/>
                  <a:gd name="T23" fmla="*/ 26 h 26"/>
                  <a:gd name="T24" fmla="*/ 12 w 18"/>
                  <a:gd name="T25" fmla="*/ 26 h 26"/>
                  <a:gd name="T26" fmla="*/ 12 w 18"/>
                  <a:gd name="T27" fmla="*/ 26 h 26"/>
                  <a:gd name="T28" fmla="*/ 8 w 18"/>
                  <a:gd name="T29" fmla="*/ 26 h 26"/>
                  <a:gd name="T30" fmla="*/ 8 w 18"/>
                  <a:gd name="T31" fmla="*/ 26 h 26"/>
                  <a:gd name="T32" fmla="*/ 2 w 18"/>
                  <a:gd name="T33" fmla="*/ 26 h 26"/>
                  <a:gd name="T34" fmla="*/ 2 w 18"/>
                  <a:gd name="T35" fmla="*/ 26 h 26"/>
                  <a:gd name="T36" fmla="*/ 2 w 18"/>
                  <a:gd name="T37" fmla="*/ 26 h 26"/>
                  <a:gd name="T38" fmla="*/ 2 w 18"/>
                  <a:gd name="T39" fmla="*/ 26 h 26"/>
                  <a:gd name="T40" fmla="*/ 2 w 18"/>
                  <a:gd name="T41" fmla="*/ 26 h 26"/>
                  <a:gd name="T42" fmla="*/ 0 w 18"/>
                  <a:gd name="T43" fmla="*/ 26 h 26"/>
                  <a:gd name="T44" fmla="*/ 0 w 18"/>
                  <a:gd name="T45" fmla="*/ 26 h 26"/>
                  <a:gd name="T46" fmla="*/ 12 w 18"/>
                  <a:gd name="T47" fmla="*/ 4 h 26"/>
                  <a:gd name="T48" fmla="*/ 12 w 18"/>
                  <a:gd name="T49" fmla="*/ 4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8" y="8"/>
                    </a:lnTo>
                    <a:lnTo>
                      <a:pt x="18" y="8"/>
                    </a:lnTo>
                    <a:lnTo>
                      <a:pt x="18" y="22"/>
                    </a:lnTo>
                    <a:lnTo>
                      <a:pt x="18" y="22"/>
                    </a:lnTo>
                    <a:lnTo>
                      <a:pt x="16" y="26"/>
                    </a:lnTo>
                    <a:lnTo>
                      <a:pt x="16" y="26"/>
                    </a:lnTo>
                    <a:lnTo>
                      <a:pt x="12" y="26"/>
                    </a:lnTo>
                    <a:lnTo>
                      <a:pt x="12" y="26"/>
                    </a:lnTo>
                    <a:lnTo>
                      <a:pt x="12" y="26"/>
                    </a:lnTo>
                    <a:lnTo>
                      <a:pt x="12" y="26"/>
                    </a:lnTo>
                    <a:lnTo>
                      <a:pt x="8" y="26"/>
                    </a:lnTo>
                    <a:lnTo>
                      <a:pt x="8" y="26"/>
                    </a:lnTo>
                    <a:lnTo>
                      <a:pt x="2" y="26"/>
                    </a:lnTo>
                    <a:lnTo>
                      <a:pt x="2" y="26"/>
                    </a:lnTo>
                    <a:lnTo>
                      <a:pt x="2" y="26"/>
                    </a:lnTo>
                    <a:lnTo>
                      <a:pt x="2" y="26"/>
                    </a:lnTo>
                    <a:lnTo>
                      <a:pt x="2" y="26"/>
                    </a:lnTo>
                    <a:lnTo>
                      <a:pt x="0" y="26"/>
                    </a:lnTo>
                    <a:lnTo>
                      <a:pt x="0" y="26"/>
                    </a:lnTo>
                    <a:lnTo>
                      <a:pt x="12" y="4"/>
                    </a:lnTo>
                    <a:lnTo>
                      <a:pt x="12"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2" name="Freeform 706"/>
              <p:cNvSpPr>
                <a:spLocks/>
              </p:cNvSpPr>
              <p:nvPr/>
            </p:nvSpPr>
            <p:spPr bwMode="auto">
              <a:xfrm>
                <a:off x="2378" y="878"/>
                <a:ext cx="20" cy="22"/>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6 w 20"/>
                  <a:gd name="T19" fmla="*/ 22 h 22"/>
                  <a:gd name="T20" fmla="*/ 16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3" name="Freeform 707"/>
              <p:cNvSpPr>
                <a:spLocks/>
              </p:cNvSpPr>
              <p:nvPr/>
            </p:nvSpPr>
            <p:spPr bwMode="auto">
              <a:xfrm>
                <a:off x="2376" y="8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2 h 20"/>
                  <a:gd name="T22" fmla="*/ 6 w 12"/>
                  <a:gd name="T23" fmla="*/ 2 h 20"/>
                  <a:gd name="T24" fmla="*/ 2 w 12"/>
                  <a:gd name="T25" fmla="*/ 10 h 20"/>
                  <a:gd name="T26" fmla="*/ 2 w 12"/>
                  <a:gd name="T27" fmla="*/ 10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4 h 20"/>
                  <a:gd name="T42" fmla="*/ 4 w 12"/>
                  <a:gd name="T43" fmla="*/ 14 h 20"/>
                  <a:gd name="T44" fmla="*/ 4 w 12"/>
                  <a:gd name="T45" fmla="*/ 16 h 20"/>
                  <a:gd name="T46" fmla="*/ 4 w 12"/>
                  <a:gd name="T47" fmla="*/ 16 h 20"/>
                  <a:gd name="T48" fmla="*/ 8 w 12"/>
                  <a:gd name="T49" fmla="*/ 16 h 20"/>
                  <a:gd name="T50" fmla="*/ 8 w 12"/>
                  <a:gd name="T51" fmla="*/ 16 h 20"/>
                  <a:gd name="T52" fmla="*/ 8 w 12"/>
                  <a:gd name="T53" fmla="*/ 16 h 20"/>
                  <a:gd name="T54" fmla="*/ 8 w 12"/>
                  <a:gd name="T55" fmla="*/ 16 h 20"/>
                  <a:gd name="T56" fmla="*/ 10 w 12"/>
                  <a:gd name="T57" fmla="*/ 14 h 20"/>
                  <a:gd name="T58" fmla="*/ 10 w 12"/>
                  <a:gd name="T59" fmla="*/ 14 h 20"/>
                  <a:gd name="T60" fmla="*/ 10 w 12"/>
                  <a:gd name="T61" fmla="*/ 14 h 20"/>
                  <a:gd name="T62" fmla="*/ 10 w 12"/>
                  <a:gd name="T63" fmla="*/ 14 h 20"/>
                  <a:gd name="T64" fmla="*/ 12 w 12"/>
                  <a:gd name="T65" fmla="*/ 14 h 20"/>
                  <a:gd name="T66" fmla="*/ 12 w 12"/>
                  <a:gd name="T67" fmla="*/ 14 h 20"/>
                  <a:gd name="T68" fmla="*/ 10 w 12"/>
                  <a:gd name="T69" fmla="*/ 16 h 20"/>
                  <a:gd name="T70" fmla="*/ 8 w 12"/>
                  <a:gd name="T71" fmla="*/ 18 h 20"/>
                  <a:gd name="T72" fmla="*/ 8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6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0"/>
                    </a:lnTo>
                    <a:lnTo>
                      <a:pt x="2" y="10"/>
                    </a:lnTo>
                    <a:lnTo>
                      <a:pt x="4" y="14"/>
                    </a:lnTo>
                    <a:lnTo>
                      <a:pt x="4" y="14"/>
                    </a:lnTo>
                    <a:lnTo>
                      <a:pt x="4" y="14"/>
                    </a:lnTo>
                    <a:lnTo>
                      <a:pt x="4" y="14"/>
                    </a:lnTo>
                    <a:lnTo>
                      <a:pt x="4" y="14"/>
                    </a:lnTo>
                    <a:lnTo>
                      <a:pt x="4" y="14"/>
                    </a:lnTo>
                    <a:lnTo>
                      <a:pt x="4" y="14"/>
                    </a:lnTo>
                    <a:lnTo>
                      <a:pt x="4" y="14"/>
                    </a:lnTo>
                    <a:lnTo>
                      <a:pt x="4" y="16"/>
                    </a:lnTo>
                    <a:lnTo>
                      <a:pt x="4" y="16"/>
                    </a:lnTo>
                    <a:lnTo>
                      <a:pt x="8" y="16"/>
                    </a:lnTo>
                    <a:lnTo>
                      <a:pt x="8" y="16"/>
                    </a:lnTo>
                    <a:lnTo>
                      <a:pt x="8" y="16"/>
                    </a:lnTo>
                    <a:lnTo>
                      <a:pt x="8" y="16"/>
                    </a:lnTo>
                    <a:lnTo>
                      <a:pt x="10" y="14"/>
                    </a:lnTo>
                    <a:lnTo>
                      <a:pt x="10" y="14"/>
                    </a:lnTo>
                    <a:lnTo>
                      <a:pt x="10" y="14"/>
                    </a:lnTo>
                    <a:lnTo>
                      <a:pt x="10" y="14"/>
                    </a:lnTo>
                    <a:lnTo>
                      <a:pt x="12" y="14"/>
                    </a:lnTo>
                    <a:lnTo>
                      <a:pt x="12" y="14"/>
                    </a:lnTo>
                    <a:lnTo>
                      <a:pt x="10" y="16"/>
                    </a:lnTo>
                    <a:lnTo>
                      <a:pt x="8" y="18"/>
                    </a:lnTo>
                    <a:lnTo>
                      <a:pt x="8"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4" name="Freeform 708"/>
              <p:cNvSpPr>
                <a:spLocks/>
              </p:cNvSpPr>
              <p:nvPr/>
            </p:nvSpPr>
            <p:spPr bwMode="auto">
              <a:xfrm>
                <a:off x="2388" y="782"/>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30 w 170"/>
                  <a:gd name="T77" fmla="*/ 136 h 138"/>
                  <a:gd name="T78" fmla="*/ 10 w 170"/>
                  <a:gd name="T79" fmla="*/ 126 h 138"/>
                  <a:gd name="T80" fmla="*/ 12 w 170"/>
                  <a:gd name="T81" fmla="*/ 118 h 138"/>
                  <a:gd name="T82" fmla="*/ 6 w 170"/>
                  <a:gd name="T83" fmla="*/ 102 h 138"/>
                  <a:gd name="T84" fmla="*/ 0 w 170"/>
                  <a:gd name="T85" fmla="*/ 74 h 138"/>
                  <a:gd name="T86" fmla="*/ 16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4 h 138"/>
                  <a:gd name="T100" fmla="*/ 58 w 170"/>
                  <a:gd name="T101" fmla="*/ 92 h 138"/>
                  <a:gd name="T102" fmla="*/ 80 w 170"/>
                  <a:gd name="T103" fmla="*/ 80 h 138"/>
                  <a:gd name="T104" fmla="*/ 82 w 170"/>
                  <a:gd name="T105" fmla="*/ 54 h 138"/>
                  <a:gd name="T106" fmla="*/ 78 w 170"/>
                  <a:gd name="T107" fmla="*/ 56 h 138"/>
                  <a:gd name="T108" fmla="*/ 76 w 170"/>
                  <a:gd name="T109" fmla="*/ 80 h 138"/>
                  <a:gd name="T110" fmla="*/ 58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8" y="46"/>
                    </a:lnTo>
                    <a:lnTo>
                      <a:pt x="146" y="38"/>
                    </a:lnTo>
                    <a:lnTo>
                      <a:pt x="146"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2" y="94"/>
                    </a:lnTo>
                    <a:lnTo>
                      <a:pt x="112"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4"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5" name="Freeform 709"/>
              <p:cNvSpPr>
                <a:spLocks/>
              </p:cNvSpPr>
              <p:nvPr/>
            </p:nvSpPr>
            <p:spPr bwMode="auto">
              <a:xfrm>
                <a:off x="2374" y="778"/>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6 h 146"/>
                  <a:gd name="T34" fmla="*/ 6 w 188"/>
                  <a:gd name="T35" fmla="*/ 118 h 146"/>
                  <a:gd name="T36" fmla="*/ 14 w 188"/>
                  <a:gd name="T37" fmla="*/ 124 h 146"/>
                  <a:gd name="T38" fmla="*/ 20 w 188"/>
                  <a:gd name="T39" fmla="*/ 130 h 146"/>
                  <a:gd name="T40" fmla="*/ 22 w 188"/>
                  <a:gd name="T41" fmla="*/ 138 h 146"/>
                  <a:gd name="T42" fmla="*/ 32 w 188"/>
                  <a:gd name="T43" fmla="*/ 142 h 146"/>
                  <a:gd name="T44" fmla="*/ 44 w 188"/>
                  <a:gd name="T45" fmla="*/ 144 h 146"/>
                  <a:gd name="T46" fmla="*/ 48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6" name="Freeform 710"/>
              <p:cNvSpPr>
                <a:spLocks/>
              </p:cNvSpPr>
              <p:nvPr/>
            </p:nvSpPr>
            <p:spPr bwMode="auto">
              <a:xfrm>
                <a:off x="2380"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7" name="Freeform 711"/>
              <p:cNvSpPr>
                <a:spLocks/>
              </p:cNvSpPr>
              <p:nvPr/>
            </p:nvSpPr>
            <p:spPr bwMode="auto">
              <a:xfrm>
                <a:off x="2380"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8" name="Freeform 712"/>
              <p:cNvSpPr>
                <a:spLocks/>
              </p:cNvSpPr>
              <p:nvPr/>
            </p:nvSpPr>
            <p:spPr bwMode="auto">
              <a:xfrm>
                <a:off x="2382"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2" y="22"/>
                    </a:lnTo>
                    <a:lnTo>
                      <a:pt x="12" y="22"/>
                    </a:lnTo>
                    <a:lnTo>
                      <a:pt x="12" y="22"/>
                    </a:lnTo>
                    <a:lnTo>
                      <a:pt x="12" y="22"/>
                    </a:lnTo>
                    <a:lnTo>
                      <a:pt x="16" y="20"/>
                    </a:lnTo>
                    <a:lnTo>
                      <a:pt x="14" y="16"/>
                    </a:lnTo>
                    <a:lnTo>
                      <a:pt x="14"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9" name="Freeform 713"/>
              <p:cNvSpPr>
                <a:spLocks/>
              </p:cNvSpPr>
              <p:nvPr/>
            </p:nvSpPr>
            <p:spPr bwMode="auto">
              <a:xfrm>
                <a:off x="2382"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2" y="22"/>
                    </a:lnTo>
                    <a:lnTo>
                      <a:pt x="12"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0" name="Freeform 714"/>
              <p:cNvSpPr>
                <a:spLocks/>
              </p:cNvSpPr>
              <p:nvPr/>
            </p:nvSpPr>
            <p:spPr bwMode="auto">
              <a:xfrm>
                <a:off x="2478" y="882"/>
                <a:ext cx="16" cy="26"/>
              </a:xfrm>
              <a:custGeom>
                <a:avLst/>
                <a:gdLst>
                  <a:gd name="T0" fmla="*/ 12 w 16"/>
                  <a:gd name="T1" fmla="*/ 0 h 26"/>
                  <a:gd name="T2" fmla="*/ 12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4"/>
                    </a:lnTo>
                    <a:lnTo>
                      <a:pt x="10" y="4"/>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2"/>
                    </a:lnTo>
                    <a:lnTo>
                      <a:pt x="16" y="22"/>
                    </a:lnTo>
                    <a:lnTo>
                      <a:pt x="14" y="8"/>
                    </a:lnTo>
                    <a:lnTo>
                      <a:pt x="14" y="8"/>
                    </a:lnTo>
                    <a:lnTo>
                      <a:pt x="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1" name="Freeform 715"/>
              <p:cNvSpPr>
                <a:spLocks/>
              </p:cNvSpPr>
              <p:nvPr/>
            </p:nvSpPr>
            <p:spPr bwMode="auto">
              <a:xfrm>
                <a:off x="2478" y="882"/>
                <a:ext cx="16" cy="26"/>
              </a:xfrm>
              <a:custGeom>
                <a:avLst/>
                <a:gdLst>
                  <a:gd name="T0" fmla="*/ 12 w 16"/>
                  <a:gd name="T1" fmla="*/ 0 h 26"/>
                  <a:gd name="T2" fmla="*/ 12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4"/>
                    </a:lnTo>
                    <a:lnTo>
                      <a:pt x="10" y="4"/>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2" name="Freeform 716"/>
              <p:cNvSpPr>
                <a:spLocks noEditPoints="1"/>
              </p:cNvSpPr>
              <p:nvPr/>
            </p:nvSpPr>
            <p:spPr bwMode="auto">
              <a:xfrm>
                <a:off x="2478" y="882"/>
                <a:ext cx="12" cy="26"/>
              </a:xfrm>
              <a:custGeom>
                <a:avLst/>
                <a:gdLst>
                  <a:gd name="T0" fmla="*/ 6 w 12"/>
                  <a:gd name="T1" fmla="*/ 26 h 26"/>
                  <a:gd name="T2" fmla="*/ 6 w 12"/>
                  <a:gd name="T3" fmla="*/ 26 h 26"/>
                  <a:gd name="T4" fmla="*/ 10 w 12"/>
                  <a:gd name="T5" fmla="*/ 26 h 26"/>
                  <a:gd name="T6" fmla="*/ 10 w 12"/>
                  <a:gd name="T7" fmla="*/ 26 h 26"/>
                  <a:gd name="T8" fmla="*/ 10 w 12"/>
                  <a:gd name="T9" fmla="*/ 26 h 26"/>
                  <a:gd name="T10" fmla="*/ 10 w 12"/>
                  <a:gd name="T11" fmla="*/ 26 h 26"/>
                  <a:gd name="T12" fmla="*/ 10 w 12"/>
                  <a:gd name="T13" fmla="*/ 26 h 26"/>
                  <a:gd name="T14" fmla="*/ 10 w 12"/>
                  <a:gd name="T15" fmla="*/ 26 h 26"/>
                  <a:gd name="T16" fmla="*/ 6 w 12"/>
                  <a:gd name="T17" fmla="*/ 26 h 26"/>
                  <a:gd name="T18" fmla="*/ 0 w 12"/>
                  <a:gd name="T19" fmla="*/ 26 h 26"/>
                  <a:gd name="T20" fmla="*/ 0 w 12"/>
                  <a:gd name="T21" fmla="*/ 26 h 26"/>
                  <a:gd name="T22" fmla="*/ 0 w 12"/>
                  <a:gd name="T23" fmla="*/ 26 h 26"/>
                  <a:gd name="T24" fmla="*/ 0 w 12"/>
                  <a:gd name="T25" fmla="*/ 26 h 26"/>
                  <a:gd name="T26" fmla="*/ 0 w 12"/>
                  <a:gd name="T27" fmla="*/ 26 h 26"/>
                  <a:gd name="T28" fmla="*/ 0 w 12"/>
                  <a:gd name="T29" fmla="*/ 26 h 26"/>
                  <a:gd name="T30" fmla="*/ 12 w 12"/>
                  <a:gd name="T31" fmla="*/ 0 h 26"/>
                  <a:gd name="T32" fmla="*/ 12 w 12"/>
                  <a:gd name="T33" fmla="*/ 0 h 26"/>
                  <a:gd name="T34" fmla="*/ 10 w 12"/>
                  <a:gd name="T35" fmla="*/ 4 h 26"/>
                  <a:gd name="T36" fmla="*/ 10 w 12"/>
                  <a:gd name="T37" fmla="*/ 4 h 26"/>
                  <a:gd name="T38" fmla="*/ 12 w 12"/>
                  <a:gd name="T39" fmla="*/ 0 h 26"/>
                  <a:gd name="T40" fmla="*/ 12 w 12"/>
                  <a:gd name="T41" fmla="*/ 0 h 26"/>
                  <a:gd name="T42" fmla="*/ 12 w 12"/>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6">
                    <a:moveTo>
                      <a:pt x="6" y="26"/>
                    </a:moveTo>
                    <a:lnTo>
                      <a:pt x="6" y="26"/>
                    </a:lnTo>
                    <a:lnTo>
                      <a:pt x="10" y="26"/>
                    </a:lnTo>
                    <a:lnTo>
                      <a:pt x="10" y="26"/>
                    </a:lnTo>
                    <a:lnTo>
                      <a:pt x="10" y="26"/>
                    </a:lnTo>
                    <a:lnTo>
                      <a:pt x="10" y="26"/>
                    </a:lnTo>
                    <a:lnTo>
                      <a:pt x="10" y="26"/>
                    </a:lnTo>
                    <a:lnTo>
                      <a:pt x="10" y="26"/>
                    </a:lnTo>
                    <a:lnTo>
                      <a:pt x="6" y="26"/>
                    </a:lnTo>
                    <a:close/>
                    <a:moveTo>
                      <a:pt x="0" y="26"/>
                    </a:moveTo>
                    <a:lnTo>
                      <a:pt x="0" y="26"/>
                    </a:lnTo>
                    <a:lnTo>
                      <a:pt x="0" y="26"/>
                    </a:lnTo>
                    <a:lnTo>
                      <a:pt x="0" y="26"/>
                    </a:lnTo>
                    <a:lnTo>
                      <a:pt x="0" y="26"/>
                    </a:lnTo>
                    <a:lnTo>
                      <a:pt x="0" y="26"/>
                    </a:lnTo>
                    <a:close/>
                    <a:moveTo>
                      <a:pt x="12" y="0"/>
                    </a:moveTo>
                    <a:lnTo>
                      <a:pt x="12" y="0"/>
                    </a:lnTo>
                    <a:lnTo>
                      <a:pt x="10" y="4"/>
                    </a:lnTo>
                    <a:lnTo>
                      <a:pt x="10" y="4"/>
                    </a:lnTo>
                    <a:lnTo>
                      <a:pt x="12" y="0"/>
                    </a:lnTo>
                    <a:lnTo>
                      <a:pt x="12" y="0"/>
                    </a:lnTo>
                    <a:lnTo>
                      <a:pt x="1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3" name="Freeform 717"/>
              <p:cNvSpPr>
                <a:spLocks/>
              </p:cNvSpPr>
              <p:nvPr/>
            </p:nvSpPr>
            <p:spPr bwMode="auto">
              <a:xfrm>
                <a:off x="2484" y="908"/>
                <a:ext cx="4" cy="0"/>
              </a:xfrm>
              <a:custGeom>
                <a:avLst/>
                <a:gdLst>
                  <a:gd name="T0" fmla="*/ 0 w 4"/>
                  <a:gd name="T1" fmla="*/ 0 w 4"/>
                  <a:gd name="T2" fmla="*/ 4 w 4"/>
                  <a:gd name="T3" fmla="*/ 4 w 4"/>
                  <a:gd name="T4" fmla="*/ 4 w 4"/>
                  <a:gd name="T5" fmla="*/ 4 w 4"/>
                  <a:gd name="T6" fmla="*/ 4 w 4"/>
                  <a:gd name="T7" fmla="*/ 4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4" name="Freeform 718"/>
              <p:cNvSpPr>
                <a:spLocks/>
              </p:cNvSpPr>
              <p:nvPr/>
            </p:nvSpPr>
            <p:spPr bwMode="auto">
              <a:xfrm>
                <a:off x="2478" y="90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5" name="Freeform 719"/>
              <p:cNvSpPr>
                <a:spLocks/>
              </p:cNvSpPr>
              <p:nvPr/>
            </p:nvSpPr>
            <p:spPr bwMode="auto">
              <a:xfrm>
                <a:off x="2488" y="882"/>
                <a:ext cx="2" cy="4"/>
              </a:xfrm>
              <a:custGeom>
                <a:avLst/>
                <a:gdLst>
                  <a:gd name="T0" fmla="*/ 2 w 2"/>
                  <a:gd name="T1" fmla="*/ 0 h 4"/>
                  <a:gd name="T2" fmla="*/ 2 w 2"/>
                  <a:gd name="T3" fmla="*/ 0 h 4"/>
                  <a:gd name="T4" fmla="*/ 0 w 2"/>
                  <a:gd name="T5" fmla="*/ 4 h 4"/>
                  <a:gd name="T6" fmla="*/ 0 w 2"/>
                  <a:gd name="T7" fmla="*/ 4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4"/>
                    </a:lnTo>
                    <a:lnTo>
                      <a:pt x="0" y="4"/>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6" name="Freeform 720"/>
              <p:cNvSpPr>
                <a:spLocks/>
              </p:cNvSpPr>
              <p:nvPr/>
            </p:nvSpPr>
            <p:spPr bwMode="auto">
              <a:xfrm>
                <a:off x="2376" y="828"/>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0 w 10"/>
                  <a:gd name="T13" fmla="*/ 4 h 20"/>
                  <a:gd name="T14" fmla="*/ 0 w 10"/>
                  <a:gd name="T15" fmla="*/ 4 h 20"/>
                  <a:gd name="T16" fmla="*/ 0 w 10"/>
                  <a:gd name="T17" fmla="*/ 12 h 20"/>
                  <a:gd name="T18" fmla="*/ 4 w 10"/>
                  <a:gd name="T19" fmla="*/ 18 h 20"/>
                  <a:gd name="T20" fmla="*/ 4 w 10"/>
                  <a:gd name="T21" fmla="*/ 18 h 20"/>
                  <a:gd name="T22" fmla="*/ 4 w 10"/>
                  <a:gd name="T23" fmla="*/ 18 h 20"/>
                  <a:gd name="T24" fmla="*/ 4 w 10"/>
                  <a:gd name="T25" fmla="*/ 18 h 20"/>
                  <a:gd name="T26" fmla="*/ 6 w 10"/>
                  <a:gd name="T27" fmla="*/ 20 h 20"/>
                  <a:gd name="T28" fmla="*/ 6 w 10"/>
                  <a:gd name="T29" fmla="*/ 20 h 20"/>
                  <a:gd name="T30" fmla="*/ 8 w 10"/>
                  <a:gd name="T31" fmla="*/ 18 h 20"/>
                  <a:gd name="T32" fmla="*/ 8 w 10"/>
                  <a:gd name="T33" fmla="*/ 18 h 20"/>
                  <a:gd name="T34" fmla="*/ 10 w 10"/>
                  <a:gd name="T35" fmla="*/ 16 h 20"/>
                  <a:gd name="T36" fmla="*/ 10 w 10"/>
                  <a:gd name="T37" fmla="*/ 14 h 20"/>
                  <a:gd name="T38" fmla="*/ 10 w 10"/>
                  <a:gd name="T39" fmla="*/ 14 h 20"/>
                  <a:gd name="T40" fmla="*/ 8 w 10"/>
                  <a:gd name="T41" fmla="*/ 16 h 20"/>
                  <a:gd name="T42" fmla="*/ 8 w 10"/>
                  <a:gd name="T43" fmla="*/ 16 h 20"/>
                  <a:gd name="T44" fmla="*/ 8 w 10"/>
                  <a:gd name="T45" fmla="*/ 16 h 20"/>
                  <a:gd name="T46" fmla="*/ 8 w 10"/>
                  <a:gd name="T47" fmla="*/ 16 h 20"/>
                  <a:gd name="T48" fmla="*/ 4 w 10"/>
                  <a:gd name="T49" fmla="*/ 16 h 20"/>
                  <a:gd name="T50" fmla="*/ 4 w 10"/>
                  <a:gd name="T51" fmla="*/ 16 h 20"/>
                  <a:gd name="T52" fmla="*/ 4 w 10"/>
                  <a:gd name="T53" fmla="*/ 14 h 20"/>
                  <a:gd name="T54" fmla="*/ 4 w 10"/>
                  <a:gd name="T55" fmla="*/ 14 h 20"/>
                  <a:gd name="T56" fmla="*/ 4 w 10"/>
                  <a:gd name="T57" fmla="*/ 14 h 20"/>
                  <a:gd name="T58" fmla="*/ 4 w 10"/>
                  <a:gd name="T59" fmla="*/ 14 h 20"/>
                  <a:gd name="T60" fmla="*/ 2 w 10"/>
                  <a:gd name="T61" fmla="*/ 10 h 20"/>
                  <a:gd name="T62" fmla="*/ 2 w 10"/>
                  <a:gd name="T63" fmla="*/ 10 h 20"/>
                  <a:gd name="T64" fmla="*/ 6 w 10"/>
                  <a:gd name="T65" fmla="*/ 2 h 20"/>
                  <a:gd name="T66" fmla="*/ 6 w 10"/>
                  <a:gd name="T67" fmla="*/ 2 h 20"/>
                  <a:gd name="T68" fmla="*/ 6 w 10"/>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4"/>
                    </a:lnTo>
                    <a:lnTo>
                      <a:pt x="4" y="14"/>
                    </a:lnTo>
                    <a:lnTo>
                      <a:pt x="4" y="14"/>
                    </a:lnTo>
                    <a:lnTo>
                      <a:pt x="4" y="14"/>
                    </a:lnTo>
                    <a:lnTo>
                      <a:pt x="2" y="10"/>
                    </a:lnTo>
                    <a:lnTo>
                      <a:pt x="2" y="10"/>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7" name="Freeform 721"/>
              <p:cNvSpPr>
                <a:spLocks/>
              </p:cNvSpPr>
              <p:nvPr/>
            </p:nvSpPr>
            <p:spPr bwMode="auto">
              <a:xfrm>
                <a:off x="2376" y="828"/>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0 w 10"/>
                  <a:gd name="T13" fmla="*/ 4 h 20"/>
                  <a:gd name="T14" fmla="*/ 0 w 10"/>
                  <a:gd name="T15" fmla="*/ 4 h 20"/>
                  <a:gd name="T16" fmla="*/ 0 w 10"/>
                  <a:gd name="T17" fmla="*/ 12 h 20"/>
                  <a:gd name="T18" fmla="*/ 4 w 10"/>
                  <a:gd name="T19" fmla="*/ 18 h 20"/>
                  <a:gd name="T20" fmla="*/ 4 w 10"/>
                  <a:gd name="T21" fmla="*/ 18 h 20"/>
                  <a:gd name="T22" fmla="*/ 4 w 10"/>
                  <a:gd name="T23" fmla="*/ 18 h 20"/>
                  <a:gd name="T24" fmla="*/ 4 w 10"/>
                  <a:gd name="T25" fmla="*/ 18 h 20"/>
                  <a:gd name="T26" fmla="*/ 6 w 10"/>
                  <a:gd name="T27" fmla="*/ 20 h 20"/>
                  <a:gd name="T28" fmla="*/ 6 w 10"/>
                  <a:gd name="T29" fmla="*/ 20 h 20"/>
                  <a:gd name="T30" fmla="*/ 8 w 10"/>
                  <a:gd name="T31" fmla="*/ 18 h 20"/>
                  <a:gd name="T32" fmla="*/ 8 w 10"/>
                  <a:gd name="T33" fmla="*/ 18 h 20"/>
                  <a:gd name="T34" fmla="*/ 10 w 10"/>
                  <a:gd name="T35" fmla="*/ 16 h 20"/>
                  <a:gd name="T36" fmla="*/ 10 w 10"/>
                  <a:gd name="T37" fmla="*/ 14 h 20"/>
                  <a:gd name="T38" fmla="*/ 10 w 10"/>
                  <a:gd name="T39" fmla="*/ 14 h 20"/>
                  <a:gd name="T40" fmla="*/ 8 w 10"/>
                  <a:gd name="T41" fmla="*/ 16 h 20"/>
                  <a:gd name="T42" fmla="*/ 8 w 10"/>
                  <a:gd name="T43" fmla="*/ 16 h 20"/>
                  <a:gd name="T44" fmla="*/ 8 w 10"/>
                  <a:gd name="T45" fmla="*/ 16 h 20"/>
                  <a:gd name="T46" fmla="*/ 8 w 10"/>
                  <a:gd name="T47" fmla="*/ 16 h 20"/>
                  <a:gd name="T48" fmla="*/ 4 w 10"/>
                  <a:gd name="T49" fmla="*/ 16 h 20"/>
                  <a:gd name="T50" fmla="*/ 4 w 10"/>
                  <a:gd name="T51" fmla="*/ 16 h 20"/>
                  <a:gd name="T52" fmla="*/ 4 w 10"/>
                  <a:gd name="T53" fmla="*/ 14 h 20"/>
                  <a:gd name="T54" fmla="*/ 4 w 10"/>
                  <a:gd name="T55" fmla="*/ 14 h 20"/>
                  <a:gd name="T56" fmla="*/ 4 w 10"/>
                  <a:gd name="T57" fmla="*/ 14 h 20"/>
                  <a:gd name="T58" fmla="*/ 4 w 10"/>
                  <a:gd name="T59" fmla="*/ 14 h 20"/>
                  <a:gd name="T60" fmla="*/ 2 w 10"/>
                  <a:gd name="T61" fmla="*/ 10 h 20"/>
                  <a:gd name="T62" fmla="*/ 2 w 10"/>
                  <a:gd name="T63" fmla="*/ 10 h 20"/>
                  <a:gd name="T64" fmla="*/ 6 w 10"/>
                  <a:gd name="T65" fmla="*/ 2 h 20"/>
                  <a:gd name="T66" fmla="*/ 6 w 10"/>
                  <a:gd name="T67" fmla="*/ 2 h 20"/>
                  <a:gd name="T68" fmla="*/ 6 w 10"/>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4"/>
                    </a:lnTo>
                    <a:lnTo>
                      <a:pt x="4" y="14"/>
                    </a:lnTo>
                    <a:lnTo>
                      <a:pt x="4" y="14"/>
                    </a:lnTo>
                    <a:lnTo>
                      <a:pt x="4" y="14"/>
                    </a:lnTo>
                    <a:lnTo>
                      <a:pt x="2" y="10"/>
                    </a:lnTo>
                    <a:lnTo>
                      <a:pt x="2" y="10"/>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8" name="Freeform 722"/>
              <p:cNvSpPr>
                <a:spLocks noEditPoints="1"/>
              </p:cNvSpPr>
              <p:nvPr/>
            </p:nvSpPr>
            <p:spPr bwMode="auto">
              <a:xfrm>
                <a:off x="2378" y="828"/>
                <a:ext cx="8" cy="20"/>
              </a:xfrm>
              <a:custGeom>
                <a:avLst/>
                <a:gdLst>
                  <a:gd name="T0" fmla="*/ 2 w 8"/>
                  <a:gd name="T1" fmla="*/ 18 h 20"/>
                  <a:gd name="T2" fmla="*/ 2 w 8"/>
                  <a:gd name="T3" fmla="*/ 18 h 20"/>
                  <a:gd name="T4" fmla="*/ 2 w 8"/>
                  <a:gd name="T5" fmla="*/ 18 h 20"/>
                  <a:gd name="T6" fmla="*/ 2 w 8"/>
                  <a:gd name="T7" fmla="*/ 18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4 h 20"/>
                  <a:gd name="T28" fmla="*/ 2 w 8"/>
                  <a:gd name="T29" fmla="*/ 14 h 20"/>
                  <a:gd name="T30" fmla="*/ 2 w 8"/>
                  <a:gd name="T31" fmla="*/ 16 h 20"/>
                  <a:gd name="T32" fmla="*/ 2 w 8"/>
                  <a:gd name="T33" fmla="*/ 16 h 20"/>
                  <a:gd name="T34" fmla="*/ 2 w 8"/>
                  <a:gd name="T35" fmla="*/ 14 h 20"/>
                  <a:gd name="T36" fmla="*/ 2 w 8"/>
                  <a:gd name="T37" fmla="*/ 14 h 20"/>
                  <a:gd name="T38" fmla="*/ 2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0 h 20"/>
                  <a:gd name="T60" fmla="*/ 0 w 8"/>
                  <a:gd name="T61" fmla="*/ 10 h 20"/>
                  <a:gd name="T62" fmla="*/ 2 w 8"/>
                  <a:gd name="T63" fmla="*/ 14 h 20"/>
                  <a:gd name="T64" fmla="*/ 2 w 8"/>
                  <a:gd name="T65" fmla="*/ 14 h 20"/>
                  <a:gd name="T66" fmla="*/ 0 w 8"/>
                  <a:gd name="T67" fmla="*/ 10 h 20"/>
                  <a:gd name="T68" fmla="*/ 0 w 8"/>
                  <a:gd name="T69" fmla="*/ 10 h 20"/>
                  <a:gd name="T70" fmla="*/ 4 w 8"/>
                  <a:gd name="T71" fmla="*/ 2 h 20"/>
                  <a:gd name="T72" fmla="*/ 4 w 8"/>
                  <a:gd name="T73" fmla="*/ 0 h 20"/>
                  <a:gd name="T74" fmla="*/ 4 w 8"/>
                  <a:gd name="T75" fmla="*/ 0 h 20"/>
                  <a:gd name="T76" fmla="*/ 4 w 8"/>
                  <a:gd name="T77" fmla="*/ 0 h 20"/>
                  <a:gd name="T78" fmla="*/ 4 w 8"/>
                  <a:gd name="T79" fmla="*/ 0 h 20"/>
                  <a:gd name="T80" fmla="*/ 4 w 8"/>
                  <a:gd name="T81" fmla="*/ 0 h 20"/>
                  <a:gd name="T82" fmla="*/ 4 w 8"/>
                  <a:gd name="T83" fmla="*/ 0 h 20"/>
                  <a:gd name="T84" fmla="*/ 4 w 8"/>
                  <a:gd name="T85" fmla="*/ 0 h 20"/>
                  <a:gd name="T86" fmla="*/ 4 w 8"/>
                  <a:gd name="T87" fmla="*/ 0 h 20"/>
                  <a:gd name="T88" fmla="*/ 4 w 8"/>
                  <a:gd name="T89" fmla="*/ 0 h 20"/>
                  <a:gd name="T90" fmla="*/ 4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2" y="18"/>
                    </a:moveTo>
                    <a:lnTo>
                      <a:pt x="2" y="18"/>
                    </a:lnTo>
                    <a:lnTo>
                      <a:pt x="2" y="18"/>
                    </a:lnTo>
                    <a:lnTo>
                      <a:pt x="2" y="18"/>
                    </a:lnTo>
                    <a:lnTo>
                      <a:pt x="4" y="20"/>
                    </a:lnTo>
                    <a:lnTo>
                      <a:pt x="4" y="20"/>
                    </a:lnTo>
                    <a:lnTo>
                      <a:pt x="6" y="18"/>
                    </a:lnTo>
                    <a:lnTo>
                      <a:pt x="6" y="18"/>
                    </a:lnTo>
                    <a:lnTo>
                      <a:pt x="4" y="20"/>
                    </a:lnTo>
                    <a:lnTo>
                      <a:pt x="4" y="20"/>
                    </a:lnTo>
                    <a:lnTo>
                      <a:pt x="2" y="18"/>
                    </a:lnTo>
                    <a:lnTo>
                      <a:pt x="2" y="18"/>
                    </a:lnTo>
                    <a:lnTo>
                      <a:pt x="2" y="18"/>
                    </a:lnTo>
                    <a:close/>
                    <a:moveTo>
                      <a:pt x="2" y="14"/>
                    </a:moveTo>
                    <a:lnTo>
                      <a:pt x="2" y="14"/>
                    </a:lnTo>
                    <a:lnTo>
                      <a:pt x="2" y="16"/>
                    </a:lnTo>
                    <a:lnTo>
                      <a:pt x="2" y="16"/>
                    </a:lnTo>
                    <a:lnTo>
                      <a:pt x="2" y="14"/>
                    </a:lnTo>
                    <a:lnTo>
                      <a:pt x="2" y="14"/>
                    </a:lnTo>
                    <a:lnTo>
                      <a:pt x="2" y="14"/>
                    </a:lnTo>
                    <a:close/>
                    <a:moveTo>
                      <a:pt x="8" y="14"/>
                    </a:moveTo>
                    <a:lnTo>
                      <a:pt x="8" y="14"/>
                    </a:lnTo>
                    <a:lnTo>
                      <a:pt x="6" y="16"/>
                    </a:lnTo>
                    <a:lnTo>
                      <a:pt x="6" y="16"/>
                    </a:lnTo>
                    <a:lnTo>
                      <a:pt x="8" y="14"/>
                    </a:lnTo>
                    <a:lnTo>
                      <a:pt x="8" y="14"/>
                    </a:lnTo>
                    <a:lnTo>
                      <a:pt x="8" y="14"/>
                    </a:lnTo>
                    <a:close/>
                    <a:moveTo>
                      <a:pt x="4" y="2"/>
                    </a:moveTo>
                    <a:lnTo>
                      <a:pt x="4" y="2"/>
                    </a:lnTo>
                    <a:lnTo>
                      <a:pt x="0" y="10"/>
                    </a:lnTo>
                    <a:lnTo>
                      <a:pt x="0" y="10"/>
                    </a:lnTo>
                    <a:lnTo>
                      <a:pt x="2" y="14"/>
                    </a:lnTo>
                    <a:lnTo>
                      <a:pt x="2" y="14"/>
                    </a:lnTo>
                    <a:lnTo>
                      <a:pt x="0" y="10"/>
                    </a:lnTo>
                    <a:lnTo>
                      <a:pt x="0" y="10"/>
                    </a:lnTo>
                    <a:lnTo>
                      <a:pt x="4" y="2"/>
                    </a:lnTo>
                    <a:close/>
                    <a:moveTo>
                      <a:pt x="4" y="0"/>
                    </a:moveTo>
                    <a:lnTo>
                      <a:pt x="4" y="0"/>
                    </a:lnTo>
                    <a:lnTo>
                      <a:pt x="4" y="0"/>
                    </a:lnTo>
                    <a:lnTo>
                      <a:pt x="4" y="0"/>
                    </a:lnTo>
                    <a:lnTo>
                      <a:pt x="4" y="0"/>
                    </a:lnTo>
                    <a:lnTo>
                      <a:pt x="4" y="0"/>
                    </a:lnTo>
                    <a:lnTo>
                      <a:pt x="4" y="0"/>
                    </a:lnTo>
                    <a:lnTo>
                      <a:pt x="4"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9" name="Freeform 723"/>
              <p:cNvSpPr>
                <a:spLocks/>
              </p:cNvSpPr>
              <p:nvPr/>
            </p:nvSpPr>
            <p:spPr bwMode="auto">
              <a:xfrm>
                <a:off x="2380" y="846"/>
                <a:ext cx="4" cy="2"/>
              </a:xfrm>
              <a:custGeom>
                <a:avLst/>
                <a:gdLst>
                  <a:gd name="T0" fmla="*/ 0 w 4"/>
                  <a:gd name="T1" fmla="*/ 0 h 2"/>
                  <a:gd name="T2" fmla="*/ 0 w 4"/>
                  <a:gd name="T3" fmla="*/ 0 h 2"/>
                  <a:gd name="T4" fmla="*/ 0 w 4"/>
                  <a:gd name="T5" fmla="*/ 0 h 2"/>
                  <a:gd name="T6" fmla="*/ 0 w 4"/>
                  <a:gd name="T7" fmla="*/ 0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0"/>
                    </a:lnTo>
                    <a:lnTo>
                      <a:pt x="0" y="0"/>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0" name="Freeform 724"/>
              <p:cNvSpPr>
                <a:spLocks/>
              </p:cNvSpPr>
              <p:nvPr/>
            </p:nvSpPr>
            <p:spPr bwMode="auto">
              <a:xfrm>
                <a:off x="2380" y="842"/>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1" name="Freeform 725"/>
              <p:cNvSpPr>
                <a:spLocks/>
              </p:cNvSpPr>
              <p:nvPr/>
            </p:nvSpPr>
            <p:spPr bwMode="auto">
              <a:xfrm>
                <a:off x="2384" y="8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2" name="Freeform 726"/>
              <p:cNvSpPr>
                <a:spLocks/>
              </p:cNvSpPr>
              <p:nvPr/>
            </p:nvSpPr>
            <p:spPr bwMode="auto">
              <a:xfrm>
                <a:off x="2378" y="830"/>
                <a:ext cx="4" cy="12"/>
              </a:xfrm>
              <a:custGeom>
                <a:avLst/>
                <a:gdLst>
                  <a:gd name="T0" fmla="*/ 4 w 4"/>
                  <a:gd name="T1" fmla="*/ 0 h 12"/>
                  <a:gd name="T2" fmla="*/ 4 w 4"/>
                  <a:gd name="T3" fmla="*/ 0 h 12"/>
                  <a:gd name="T4" fmla="*/ 0 w 4"/>
                  <a:gd name="T5" fmla="*/ 8 h 12"/>
                  <a:gd name="T6" fmla="*/ 0 w 4"/>
                  <a:gd name="T7" fmla="*/ 8 h 12"/>
                  <a:gd name="T8" fmla="*/ 2 w 4"/>
                  <a:gd name="T9" fmla="*/ 12 h 12"/>
                  <a:gd name="T10" fmla="*/ 2 w 4"/>
                  <a:gd name="T11" fmla="*/ 12 h 12"/>
                  <a:gd name="T12" fmla="*/ 0 w 4"/>
                  <a:gd name="T13" fmla="*/ 8 h 12"/>
                  <a:gd name="T14" fmla="*/ 0 w 4"/>
                  <a:gd name="T15" fmla="*/ 8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8"/>
                    </a:lnTo>
                    <a:lnTo>
                      <a:pt x="0" y="8"/>
                    </a:lnTo>
                    <a:lnTo>
                      <a:pt x="2" y="12"/>
                    </a:lnTo>
                    <a:lnTo>
                      <a:pt x="2" y="12"/>
                    </a:lnTo>
                    <a:lnTo>
                      <a:pt x="0" y="8"/>
                    </a:lnTo>
                    <a:lnTo>
                      <a:pt x="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3" name="Freeform 727"/>
              <p:cNvSpPr>
                <a:spLocks/>
              </p:cNvSpPr>
              <p:nvPr/>
            </p:nvSpPr>
            <p:spPr bwMode="auto">
              <a:xfrm>
                <a:off x="2382" y="82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4" name="Freeform 728"/>
              <p:cNvSpPr>
                <a:spLocks noEditPoints="1"/>
              </p:cNvSpPr>
              <p:nvPr/>
            </p:nvSpPr>
            <p:spPr bwMode="auto">
              <a:xfrm>
                <a:off x="2490" y="816"/>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0 h 14"/>
                  <a:gd name="T34" fmla="*/ 6 w 18"/>
                  <a:gd name="T35" fmla="*/ 10 h 14"/>
                  <a:gd name="T36" fmla="*/ 8 w 18"/>
                  <a:gd name="T37" fmla="*/ 8 h 14"/>
                  <a:gd name="T38" fmla="*/ 8 w 18"/>
                  <a:gd name="T39" fmla="*/ 8 h 14"/>
                  <a:gd name="T40" fmla="*/ 8 w 18"/>
                  <a:gd name="T41" fmla="*/ 8 h 14"/>
                  <a:gd name="T42" fmla="*/ 14 w 18"/>
                  <a:gd name="T43" fmla="*/ 0 h 14"/>
                  <a:gd name="T44" fmla="*/ 14 w 18"/>
                  <a:gd name="T45" fmla="*/ 0 h 14"/>
                  <a:gd name="T46" fmla="*/ 6 w 18"/>
                  <a:gd name="T47" fmla="*/ 4 h 14"/>
                  <a:gd name="T48" fmla="*/ 0 w 18"/>
                  <a:gd name="T49" fmla="*/ 10 h 14"/>
                  <a:gd name="T50" fmla="*/ 0 w 18"/>
                  <a:gd name="T51" fmla="*/ 10 h 14"/>
                  <a:gd name="T52" fmla="*/ 2 w 18"/>
                  <a:gd name="T53" fmla="*/ 8 h 14"/>
                  <a:gd name="T54" fmla="*/ 2 w 18"/>
                  <a:gd name="T55" fmla="*/ 8 h 14"/>
                  <a:gd name="T56" fmla="*/ 6 w 18"/>
                  <a:gd name="T57" fmla="*/ 14 h 14"/>
                  <a:gd name="T58" fmla="*/ 6 w 18"/>
                  <a:gd name="T59" fmla="*/ 14 h 14"/>
                  <a:gd name="T60" fmla="*/ 18 w 18"/>
                  <a:gd name="T61" fmla="*/ 6 h 14"/>
                  <a:gd name="T62" fmla="*/ 18 w 18"/>
                  <a:gd name="T63" fmla="*/ 6 h 14"/>
                  <a:gd name="T64" fmla="*/ 16 w 18"/>
                  <a:gd name="T65" fmla="*/ 6 h 14"/>
                  <a:gd name="T66" fmla="*/ 14 w 18"/>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0"/>
                    </a:lnTo>
                    <a:lnTo>
                      <a:pt x="6"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5" name="Freeform 729"/>
              <p:cNvSpPr>
                <a:spLocks/>
              </p:cNvSpPr>
              <p:nvPr/>
            </p:nvSpPr>
            <p:spPr bwMode="auto">
              <a:xfrm>
                <a:off x="2496" y="824"/>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0 h 4"/>
                  <a:gd name="T14" fmla="*/ 6 w 6"/>
                  <a:gd name="T15" fmla="*/ 0 h 4"/>
                  <a:gd name="T16" fmla="*/ 6 w 6"/>
                  <a:gd name="T17" fmla="*/ 0 h 4"/>
                  <a:gd name="T18" fmla="*/ 6 w 6"/>
                  <a:gd name="T19" fmla="*/ 0 h 4"/>
                  <a:gd name="T20" fmla="*/ 6 w 6"/>
                  <a:gd name="T21" fmla="*/ 0 h 4"/>
                  <a:gd name="T22" fmla="*/ 6 w 6"/>
                  <a:gd name="T23" fmla="*/ 0 h 4"/>
                  <a:gd name="T24" fmla="*/ 0 w 6"/>
                  <a:gd name="T25" fmla="*/ 4 h 4"/>
                  <a:gd name="T26" fmla="*/ 0 w 6"/>
                  <a:gd name="T27" fmla="*/ 4 h 4"/>
                  <a:gd name="T28" fmla="*/ 0 w 6"/>
                  <a:gd name="T29" fmla="*/ 4 h 4"/>
                  <a:gd name="T30" fmla="*/ 0 w 6"/>
                  <a:gd name="T31" fmla="*/ 4 h 4"/>
                  <a:gd name="T32" fmla="*/ 0 w 6"/>
                  <a:gd name="T33" fmla="*/ 2 h 4"/>
                  <a:gd name="T34" fmla="*/ 0 w 6"/>
                  <a:gd name="T35" fmla="*/ 2 h 4"/>
                  <a:gd name="T36" fmla="*/ 2 w 6"/>
                  <a:gd name="T37" fmla="*/ 0 h 4"/>
                  <a:gd name="T38" fmla="*/ 2 w 6"/>
                  <a:gd name="T39" fmla="*/ 0 h 4"/>
                  <a:gd name="T40" fmla="*/ 2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0"/>
                    </a:moveTo>
                    <a:lnTo>
                      <a:pt x="2" y="0"/>
                    </a:lnTo>
                    <a:lnTo>
                      <a:pt x="2" y="0"/>
                    </a:lnTo>
                    <a:lnTo>
                      <a:pt x="2" y="0"/>
                    </a:lnTo>
                    <a:lnTo>
                      <a:pt x="4" y="0"/>
                    </a:lnTo>
                    <a:lnTo>
                      <a:pt x="4" y="0"/>
                    </a:lnTo>
                    <a:lnTo>
                      <a:pt x="6" y="0"/>
                    </a:lnTo>
                    <a:lnTo>
                      <a:pt x="6" y="0"/>
                    </a:lnTo>
                    <a:lnTo>
                      <a:pt x="6" y="0"/>
                    </a:lnTo>
                    <a:lnTo>
                      <a:pt x="6" y="0"/>
                    </a:lnTo>
                    <a:lnTo>
                      <a:pt x="6" y="0"/>
                    </a:lnTo>
                    <a:lnTo>
                      <a:pt x="6" y="0"/>
                    </a:lnTo>
                    <a:lnTo>
                      <a:pt x="0" y="4"/>
                    </a:lnTo>
                    <a:lnTo>
                      <a:pt x="0" y="4"/>
                    </a:lnTo>
                    <a:lnTo>
                      <a:pt x="0" y="4"/>
                    </a:lnTo>
                    <a:lnTo>
                      <a:pt x="0"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6" name="Freeform 730"/>
              <p:cNvSpPr>
                <a:spLocks/>
              </p:cNvSpPr>
              <p:nvPr/>
            </p:nvSpPr>
            <p:spPr bwMode="auto">
              <a:xfrm>
                <a:off x="2490" y="816"/>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6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7" name="Freeform 731"/>
              <p:cNvSpPr>
                <a:spLocks/>
              </p:cNvSpPr>
              <p:nvPr/>
            </p:nvSpPr>
            <p:spPr bwMode="auto">
              <a:xfrm>
                <a:off x="2444"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8" name="Freeform 732"/>
              <p:cNvSpPr>
                <a:spLocks/>
              </p:cNvSpPr>
              <p:nvPr/>
            </p:nvSpPr>
            <p:spPr bwMode="auto">
              <a:xfrm>
                <a:off x="2444"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9" name="Freeform 733"/>
              <p:cNvSpPr>
                <a:spLocks/>
              </p:cNvSpPr>
              <p:nvPr/>
            </p:nvSpPr>
            <p:spPr bwMode="auto">
              <a:xfrm>
                <a:off x="2540" y="808"/>
                <a:ext cx="10" cy="10"/>
              </a:xfrm>
              <a:custGeom>
                <a:avLst/>
                <a:gdLst>
                  <a:gd name="T0" fmla="*/ 10 w 10"/>
                  <a:gd name="T1" fmla="*/ 0 h 10"/>
                  <a:gd name="T2" fmla="*/ 10 w 10"/>
                  <a:gd name="T3" fmla="*/ 0 h 10"/>
                  <a:gd name="T4" fmla="*/ 0 w 10"/>
                  <a:gd name="T5" fmla="*/ 10 h 10"/>
                  <a:gd name="T6" fmla="*/ 0 w 10"/>
                  <a:gd name="T7" fmla="*/ 10 h 10"/>
                  <a:gd name="T8" fmla="*/ 0 w 10"/>
                  <a:gd name="T9" fmla="*/ 10 h 10"/>
                  <a:gd name="T10" fmla="*/ 0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0" y="10"/>
                    </a:lnTo>
                    <a:lnTo>
                      <a:pt x="0" y="10"/>
                    </a:lnTo>
                    <a:lnTo>
                      <a:pt x="6" y="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0" name="Freeform 734"/>
              <p:cNvSpPr>
                <a:spLocks/>
              </p:cNvSpPr>
              <p:nvPr/>
            </p:nvSpPr>
            <p:spPr bwMode="auto">
              <a:xfrm>
                <a:off x="2540" y="808"/>
                <a:ext cx="10" cy="10"/>
              </a:xfrm>
              <a:custGeom>
                <a:avLst/>
                <a:gdLst>
                  <a:gd name="T0" fmla="*/ 10 w 10"/>
                  <a:gd name="T1" fmla="*/ 0 h 10"/>
                  <a:gd name="T2" fmla="*/ 10 w 10"/>
                  <a:gd name="T3" fmla="*/ 0 h 10"/>
                  <a:gd name="T4" fmla="*/ 0 w 10"/>
                  <a:gd name="T5" fmla="*/ 10 h 10"/>
                  <a:gd name="T6" fmla="*/ 0 w 10"/>
                  <a:gd name="T7" fmla="*/ 10 h 10"/>
                  <a:gd name="T8" fmla="*/ 0 w 10"/>
                  <a:gd name="T9" fmla="*/ 10 h 10"/>
                  <a:gd name="T10" fmla="*/ 0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0" y="10"/>
                    </a:lnTo>
                    <a:lnTo>
                      <a:pt x="0"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1" name="Freeform 735"/>
              <p:cNvSpPr>
                <a:spLocks/>
              </p:cNvSpPr>
              <p:nvPr/>
            </p:nvSpPr>
            <p:spPr bwMode="auto">
              <a:xfrm>
                <a:off x="2484"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2" name="Freeform 736"/>
              <p:cNvSpPr>
                <a:spLocks/>
              </p:cNvSpPr>
              <p:nvPr/>
            </p:nvSpPr>
            <p:spPr bwMode="auto">
              <a:xfrm>
                <a:off x="2484"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3" name="Freeform 737"/>
              <p:cNvSpPr>
                <a:spLocks/>
              </p:cNvSpPr>
              <p:nvPr/>
            </p:nvSpPr>
            <p:spPr bwMode="auto">
              <a:xfrm>
                <a:off x="2500" y="8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4" name="Freeform 738"/>
              <p:cNvSpPr>
                <a:spLocks/>
              </p:cNvSpPr>
              <p:nvPr/>
            </p:nvSpPr>
            <p:spPr bwMode="auto">
              <a:xfrm>
                <a:off x="2500" y="8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5" name="Freeform 739"/>
              <p:cNvSpPr>
                <a:spLocks/>
              </p:cNvSpPr>
              <p:nvPr/>
            </p:nvSpPr>
            <p:spPr bwMode="auto">
              <a:xfrm>
                <a:off x="2496"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0" y="4"/>
                    </a:lnTo>
                    <a:lnTo>
                      <a:pt x="0" y="4"/>
                    </a:lnTo>
                    <a:lnTo>
                      <a:pt x="0" y="4"/>
                    </a:lnTo>
                    <a:lnTo>
                      <a:pt x="0" y="4"/>
                    </a:lnTo>
                    <a:lnTo>
                      <a:pt x="6" y="0"/>
                    </a:lnTo>
                    <a:lnTo>
                      <a:pt x="6" y="0"/>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6" name="Freeform 740"/>
              <p:cNvSpPr>
                <a:spLocks/>
              </p:cNvSpPr>
              <p:nvPr/>
            </p:nvSpPr>
            <p:spPr bwMode="auto">
              <a:xfrm>
                <a:off x="2496"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0" y="4"/>
                    </a:lnTo>
                    <a:lnTo>
                      <a:pt x="0" y="4"/>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7" name="Freeform 741"/>
              <p:cNvSpPr>
                <a:spLocks noEditPoints="1"/>
              </p:cNvSpPr>
              <p:nvPr/>
            </p:nvSpPr>
            <p:spPr bwMode="auto">
              <a:xfrm>
                <a:off x="2496"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6 w 6"/>
                  <a:gd name="T21" fmla="*/ 0 h 4"/>
                  <a:gd name="T22" fmla="*/ 2 w 6"/>
                  <a:gd name="T23" fmla="*/ 0 h 4"/>
                  <a:gd name="T24" fmla="*/ 2 w 6"/>
                  <a:gd name="T25" fmla="*/ 0 h 4"/>
                  <a:gd name="T26" fmla="*/ 2 w 6"/>
                  <a:gd name="T27" fmla="*/ 0 h 4"/>
                  <a:gd name="T28" fmla="*/ 2 w 6"/>
                  <a:gd name="T29" fmla="*/ 0 h 4"/>
                  <a:gd name="T30" fmla="*/ 4 w 6"/>
                  <a:gd name="T31" fmla="*/ 0 h 4"/>
                  <a:gd name="T32" fmla="*/ 4 w 6"/>
                  <a:gd name="T33" fmla="*/ 0 h 4"/>
                  <a:gd name="T34" fmla="*/ 2 w 6"/>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6" y="0"/>
                    </a:moveTo>
                    <a:lnTo>
                      <a:pt x="6" y="0"/>
                    </a:lnTo>
                    <a:lnTo>
                      <a:pt x="0" y="4"/>
                    </a:lnTo>
                    <a:lnTo>
                      <a:pt x="0" y="4"/>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8" name="Freeform 742"/>
              <p:cNvSpPr>
                <a:spLocks/>
              </p:cNvSpPr>
              <p:nvPr/>
            </p:nvSpPr>
            <p:spPr bwMode="auto">
              <a:xfrm>
                <a:off x="2496"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0" y="4"/>
                    </a:lnTo>
                    <a:lnTo>
                      <a:pt x="0" y="4"/>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9" name="Freeform 743"/>
              <p:cNvSpPr>
                <a:spLocks/>
              </p:cNvSpPr>
              <p:nvPr/>
            </p:nvSpPr>
            <p:spPr bwMode="auto">
              <a:xfrm>
                <a:off x="2498" y="82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0" name="Freeform 744"/>
              <p:cNvSpPr>
                <a:spLocks/>
              </p:cNvSpPr>
              <p:nvPr/>
            </p:nvSpPr>
            <p:spPr bwMode="auto">
              <a:xfrm>
                <a:off x="3020"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1" name="Freeform 745"/>
              <p:cNvSpPr>
                <a:spLocks/>
              </p:cNvSpPr>
              <p:nvPr/>
            </p:nvSpPr>
            <p:spPr bwMode="auto">
              <a:xfrm>
                <a:off x="325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2" name="Freeform 746"/>
              <p:cNvSpPr>
                <a:spLocks/>
              </p:cNvSpPr>
              <p:nvPr/>
            </p:nvSpPr>
            <p:spPr bwMode="auto">
              <a:xfrm>
                <a:off x="335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3" name="Freeform 747"/>
              <p:cNvSpPr>
                <a:spLocks/>
              </p:cNvSpPr>
              <p:nvPr/>
            </p:nvSpPr>
            <p:spPr bwMode="auto">
              <a:xfrm>
                <a:off x="344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4" name="Freeform 748"/>
              <p:cNvSpPr>
                <a:spLocks/>
              </p:cNvSpPr>
              <p:nvPr/>
            </p:nvSpPr>
            <p:spPr bwMode="auto">
              <a:xfrm>
                <a:off x="3110" y="780"/>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5" name="Freeform 749"/>
              <p:cNvSpPr>
                <a:spLocks/>
              </p:cNvSpPr>
              <p:nvPr/>
            </p:nvSpPr>
            <p:spPr bwMode="auto">
              <a:xfrm>
                <a:off x="3110" y="780"/>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6" name="Freeform 750"/>
              <p:cNvSpPr>
                <a:spLocks/>
              </p:cNvSpPr>
              <p:nvPr/>
            </p:nvSpPr>
            <p:spPr bwMode="auto">
              <a:xfrm>
                <a:off x="3172"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7" name="Freeform 751"/>
              <p:cNvSpPr>
                <a:spLocks/>
              </p:cNvSpPr>
              <p:nvPr/>
            </p:nvSpPr>
            <p:spPr bwMode="auto">
              <a:xfrm>
                <a:off x="3172"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8" name="Freeform 752"/>
              <p:cNvSpPr>
                <a:spLocks noEditPoints="1"/>
              </p:cNvSpPr>
              <p:nvPr/>
            </p:nvSpPr>
            <p:spPr bwMode="auto">
              <a:xfrm>
                <a:off x="3532" y="7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9" name="Freeform 753"/>
              <p:cNvSpPr>
                <a:spLocks noEditPoints="1"/>
              </p:cNvSpPr>
              <p:nvPr/>
            </p:nvSpPr>
            <p:spPr bwMode="auto">
              <a:xfrm>
                <a:off x="3670"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0" name="Freeform 754"/>
              <p:cNvSpPr>
                <a:spLocks/>
              </p:cNvSpPr>
              <p:nvPr/>
            </p:nvSpPr>
            <p:spPr bwMode="auto">
              <a:xfrm>
                <a:off x="2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1" name="Freeform 755"/>
              <p:cNvSpPr>
                <a:spLocks/>
              </p:cNvSpPr>
              <p:nvPr/>
            </p:nvSpPr>
            <p:spPr bwMode="auto">
              <a:xfrm>
                <a:off x="12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2" name="Freeform 756"/>
              <p:cNvSpPr>
                <a:spLocks/>
              </p:cNvSpPr>
              <p:nvPr/>
            </p:nvSpPr>
            <p:spPr bwMode="auto">
              <a:xfrm>
                <a:off x="214"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3" name="Freeform 757"/>
              <p:cNvSpPr>
                <a:spLocks noEditPoints="1"/>
              </p:cNvSpPr>
              <p:nvPr/>
            </p:nvSpPr>
            <p:spPr bwMode="auto">
              <a:xfrm>
                <a:off x="306"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4" name="Freeform 758"/>
              <p:cNvSpPr>
                <a:spLocks noEditPoints="1"/>
              </p:cNvSpPr>
              <p:nvPr/>
            </p:nvSpPr>
            <p:spPr bwMode="auto">
              <a:xfrm>
                <a:off x="444" y="96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5" name="Freeform 759"/>
              <p:cNvSpPr>
                <a:spLocks noEditPoints="1"/>
              </p:cNvSpPr>
              <p:nvPr/>
            </p:nvSpPr>
            <p:spPr bwMode="auto">
              <a:xfrm>
                <a:off x="862" y="964"/>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6" name="Freeform 760"/>
              <p:cNvSpPr>
                <a:spLocks noEditPoints="1"/>
              </p:cNvSpPr>
              <p:nvPr/>
            </p:nvSpPr>
            <p:spPr bwMode="auto">
              <a:xfrm>
                <a:off x="1094" y="964"/>
                <a:ext cx="98" cy="150"/>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7" name="Freeform 761"/>
              <p:cNvSpPr>
                <a:spLocks/>
              </p:cNvSpPr>
              <p:nvPr/>
            </p:nvSpPr>
            <p:spPr bwMode="auto">
              <a:xfrm>
                <a:off x="100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8" name="Freeform 762"/>
              <p:cNvSpPr>
                <a:spLocks noEditPoints="1"/>
              </p:cNvSpPr>
              <p:nvPr/>
            </p:nvSpPr>
            <p:spPr bwMode="auto">
              <a:xfrm>
                <a:off x="1234"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9" name="Freeform 763"/>
              <p:cNvSpPr>
                <a:spLocks/>
              </p:cNvSpPr>
              <p:nvPr/>
            </p:nvSpPr>
            <p:spPr bwMode="auto">
              <a:xfrm>
                <a:off x="1372"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0" name="Freeform 764"/>
              <p:cNvSpPr>
                <a:spLocks/>
              </p:cNvSpPr>
              <p:nvPr/>
            </p:nvSpPr>
            <p:spPr bwMode="auto">
              <a:xfrm>
                <a:off x="1372"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1" name="Freeform 765"/>
              <p:cNvSpPr>
                <a:spLocks/>
              </p:cNvSpPr>
              <p:nvPr/>
            </p:nvSpPr>
            <p:spPr bwMode="auto">
              <a:xfrm>
                <a:off x="1432"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2" name="Freeform 766"/>
              <p:cNvSpPr>
                <a:spLocks/>
              </p:cNvSpPr>
              <p:nvPr/>
            </p:nvSpPr>
            <p:spPr bwMode="auto">
              <a:xfrm>
                <a:off x="1432"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3" name="Freeform 767"/>
              <p:cNvSpPr>
                <a:spLocks noEditPoints="1"/>
              </p:cNvSpPr>
              <p:nvPr/>
            </p:nvSpPr>
            <p:spPr bwMode="auto">
              <a:xfrm>
                <a:off x="1668" y="964"/>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4" name="Freeform 768"/>
              <p:cNvSpPr>
                <a:spLocks/>
              </p:cNvSpPr>
              <p:nvPr/>
            </p:nvSpPr>
            <p:spPr bwMode="auto">
              <a:xfrm>
                <a:off x="180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5" name="Freeform 769"/>
              <p:cNvSpPr>
                <a:spLocks noEditPoints="1"/>
              </p:cNvSpPr>
              <p:nvPr/>
            </p:nvSpPr>
            <p:spPr bwMode="auto">
              <a:xfrm>
                <a:off x="1520" y="972"/>
                <a:ext cx="108" cy="142"/>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6" name="Freeform 770"/>
              <p:cNvSpPr>
                <a:spLocks/>
              </p:cNvSpPr>
              <p:nvPr/>
            </p:nvSpPr>
            <p:spPr bwMode="auto">
              <a:xfrm>
                <a:off x="1564" y="1030"/>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7" name="Freeform 771"/>
              <p:cNvSpPr>
                <a:spLocks/>
              </p:cNvSpPr>
              <p:nvPr/>
            </p:nvSpPr>
            <p:spPr bwMode="auto">
              <a:xfrm>
                <a:off x="1520" y="972"/>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8" name="Freeform 772"/>
              <p:cNvSpPr>
                <a:spLocks/>
              </p:cNvSpPr>
              <p:nvPr/>
            </p:nvSpPr>
            <p:spPr bwMode="auto">
              <a:xfrm>
                <a:off x="58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9" name="Freeform 773"/>
              <p:cNvSpPr>
                <a:spLocks/>
              </p:cNvSpPr>
              <p:nvPr/>
            </p:nvSpPr>
            <p:spPr bwMode="auto">
              <a:xfrm>
                <a:off x="67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0" name="Freeform 774"/>
              <p:cNvSpPr>
                <a:spLocks/>
              </p:cNvSpPr>
              <p:nvPr/>
            </p:nvSpPr>
            <p:spPr bwMode="auto">
              <a:xfrm>
                <a:off x="772"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1" name="Freeform 775"/>
              <p:cNvSpPr>
                <a:spLocks/>
              </p:cNvSpPr>
              <p:nvPr/>
            </p:nvSpPr>
            <p:spPr bwMode="auto">
              <a:xfrm>
                <a:off x="117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2" name="Freeform 776"/>
              <p:cNvSpPr>
                <a:spLocks/>
              </p:cNvSpPr>
              <p:nvPr/>
            </p:nvSpPr>
            <p:spPr bwMode="auto">
              <a:xfrm>
                <a:off x="126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3" name="Freeform 777"/>
              <p:cNvSpPr>
                <a:spLocks/>
              </p:cNvSpPr>
              <p:nvPr/>
            </p:nvSpPr>
            <p:spPr bwMode="auto">
              <a:xfrm>
                <a:off x="1358"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4" name="Freeform 778"/>
              <p:cNvSpPr>
                <a:spLocks/>
              </p:cNvSpPr>
              <p:nvPr/>
            </p:nvSpPr>
            <p:spPr bwMode="auto">
              <a:xfrm>
                <a:off x="144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5" name="Freeform 779"/>
              <p:cNvSpPr>
                <a:spLocks/>
              </p:cNvSpPr>
              <p:nvPr/>
            </p:nvSpPr>
            <p:spPr bwMode="auto">
              <a:xfrm>
                <a:off x="168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6" name="Freeform 780"/>
              <p:cNvSpPr>
                <a:spLocks/>
              </p:cNvSpPr>
              <p:nvPr/>
            </p:nvSpPr>
            <p:spPr bwMode="auto">
              <a:xfrm>
                <a:off x="1778"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7" name="Freeform 781"/>
              <p:cNvSpPr>
                <a:spLocks/>
              </p:cNvSpPr>
              <p:nvPr/>
            </p:nvSpPr>
            <p:spPr bwMode="auto">
              <a:xfrm>
                <a:off x="1540" y="7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8" name="Freeform 782"/>
              <p:cNvSpPr>
                <a:spLocks/>
              </p:cNvSpPr>
              <p:nvPr/>
            </p:nvSpPr>
            <p:spPr bwMode="auto">
              <a:xfrm>
                <a:off x="1540" y="7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9" name="Freeform 783"/>
              <p:cNvSpPr>
                <a:spLocks/>
              </p:cNvSpPr>
              <p:nvPr/>
            </p:nvSpPr>
            <p:spPr bwMode="auto">
              <a:xfrm>
                <a:off x="1600" y="7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0" name="Freeform 784"/>
              <p:cNvSpPr>
                <a:spLocks/>
              </p:cNvSpPr>
              <p:nvPr/>
            </p:nvSpPr>
            <p:spPr bwMode="auto">
              <a:xfrm>
                <a:off x="1600" y="7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1" name="Freeform 785"/>
              <p:cNvSpPr>
                <a:spLocks noEditPoints="1"/>
              </p:cNvSpPr>
              <p:nvPr/>
            </p:nvSpPr>
            <p:spPr bwMode="auto">
              <a:xfrm>
                <a:off x="396" y="776"/>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2" name="Freeform 786"/>
              <p:cNvSpPr>
                <a:spLocks noEditPoints="1"/>
              </p:cNvSpPr>
              <p:nvPr/>
            </p:nvSpPr>
            <p:spPr bwMode="auto">
              <a:xfrm>
                <a:off x="534" y="776"/>
                <a:ext cx="100" cy="150"/>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3" name="Freeform 787"/>
              <p:cNvSpPr>
                <a:spLocks noEditPoints="1"/>
              </p:cNvSpPr>
              <p:nvPr/>
            </p:nvSpPr>
            <p:spPr bwMode="auto">
              <a:xfrm>
                <a:off x="946" y="776"/>
                <a:ext cx="98" cy="150"/>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4" name="Freeform 788"/>
              <p:cNvSpPr>
                <a:spLocks/>
              </p:cNvSpPr>
              <p:nvPr/>
            </p:nvSpPr>
            <p:spPr bwMode="auto">
              <a:xfrm>
                <a:off x="108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5" name="Freeform 789"/>
              <p:cNvSpPr>
                <a:spLocks/>
              </p:cNvSpPr>
              <p:nvPr/>
            </p:nvSpPr>
            <p:spPr bwMode="auto">
              <a:xfrm>
                <a:off x="67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6" name="Freeform 790"/>
              <p:cNvSpPr>
                <a:spLocks/>
              </p:cNvSpPr>
              <p:nvPr/>
            </p:nvSpPr>
            <p:spPr bwMode="auto">
              <a:xfrm>
                <a:off x="76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7" name="Freeform 791"/>
              <p:cNvSpPr>
                <a:spLocks/>
              </p:cNvSpPr>
              <p:nvPr/>
            </p:nvSpPr>
            <p:spPr bwMode="auto">
              <a:xfrm>
                <a:off x="856"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8" name="Freeform 792"/>
              <p:cNvSpPr>
                <a:spLocks noEditPoints="1"/>
              </p:cNvSpPr>
              <p:nvPr/>
            </p:nvSpPr>
            <p:spPr bwMode="auto">
              <a:xfrm>
                <a:off x="10"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9" name="Freeform 793"/>
              <p:cNvSpPr>
                <a:spLocks/>
              </p:cNvSpPr>
              <p:nvPr/>
            </p:nvSpPr>
            <p:spPr bwMode="auto">
              <a:xfrm>
                <a:off x="12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0" name="Freeform 794"/>
              <p:cNvSpPr>
                <a:spLocks/>
              </p:cNvSpPr>
              <p:nvPr/>
            </p:nvSpPr>
            <p:spPr bwMode="auto">
              <a:xfrm>
                <a:off x="21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1" name="Freeform 795"/>
              <p:cNvSpPr>
                <a:spLocks/>
              </p:cNvSpPr>
              <p:nvPr/>
            </p:nvSpPr>
            <p:spPr bwMode="auto">
              <a:xfrm>
                <a:off x="306"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2" name="Freeform 796"/>
              <p:cNvSpPr>
                <a:spLocks/>
              </p:cNvSpPr>
              <p:nvPr/>
            </p:nvSpPr>
            <p:spPr bwMode="auto">
              <a:xfrm>
                <a:off x="28" y="136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3" name="Freeform 797"/>
              <p:cNvSpPr>
                <a:spLocks/>
              </p:cNvSpPr>
              <p:nvPr/>
            </p:nvSpPr>
            <p:spPr bwMode="auto">
              <a:xfrm>
                <a:off x="32"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4" name="Freeform 798"/>
              <p:cNvSpPr>
                <a:spLocks noEditPoints="1"/>
              </p:cNvSpPr>
              <p:nvPr/>
            </p:nvSpPr>
            <p:spPr bwMode="auto">
              <a:xfrm>
                <a:off x="1884" y="598"/>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5" name="Freeform 799"/>
              <p:cNvSpPr>
                <a:spLocks/>
              </p:cNvSpPr>
              <p:nvPr/>
            </p:nvSpPr>
            <p:spPr bwMode="auto">
              <a:xfrm>
                <a:off x="202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6" name="Freeform 800"/>
              <p:cNvSpPr>
                <a:spLocks/>
              </p:cNvSpPr>
              <p:nvPr/>
            </p:nvSpPr>
            <p:spPr bwMode="auto">
              <a:xfrm>
                <a:off x="2118"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7" name="Freeform 801"/>
              <p:cNvSpPr>
                <a:spLocks/>
              </p:cNvSpPr>
              <p:nvPr/>
            </p:nvSpPr>
            <p:spPr bwMode="auto">
              <a:xfrm>
                <a:off x="2210"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8" name="Freeform 802"/>
              <p:cNvSpPr>
                <a:spLocks/>
              </p:cNvSpPr>
              <p:nvPr/>
            </p:nvSpPr>
            <p:spPr bwMode="auto">
              <a:xfrm>
                <a:off x="2300"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9" name="Freeform 803"/>
              <p:cNvSpPr>
                <a:spLocks/>
              </p:cNvSpPr>
              <p:nvPr/>
            </p:nvSpPr>
            <p:spPr bwMode="auto">
              <a:xfrm>
                <a:off x="2542"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0" name="Freeform 804"/>
              <p:cNvSpPr>
                <a:spLocks/>
              </p:cNvSpPr>
              <p:nvPr/>
            </p:nvSpPr>
            <p:spPr bwMode="auto">
              <a:xfrm>
                <a:off x="2636"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1" name="Freeform 805"/>
              <p:cNvSpPr>
                <a:spLocks/>
              </p:cNvSpPr>
              <p:nvPr/>
            </p:nvSpPr>
            <p:spPr bwMode="auto">
              <a:xfrm>
                <a:off x="272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2" name="Freeform 806"/>
              <p:cNvSpPr>
                <a:spLocks/>
              </p:cNvSpPr>
              <p:nvPr/>
            </p:nvSpPr>
            <p:spPr bwMode="auto">
              <a:xfrm>
                <a:off x="2822"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3" name="Freeform 807"/>
              <p:cNvSpPr>
                <a:spLocks/>
              </p:cNvSpPr>
              <p:nvPr/>
            </p:nvSpPr>
            <p:spPr bwMode="auto">
              <a:xfrm>
                <a:off x="2394"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7" name="Group 1009"/>
            <p:cNvGrpSpPr>
              <a:grpSpLocks/>
            </p:cNvGrpSpPr>
            <p:nvPr/>
          </p:nvGrpSpPr>
          <p:grpSpPr bwMode="auto">
            <a:xfrm>
              <a:off x="19050" y="0"/>
              <a:ext cx="5968978" cy="869950"/>
              <a:chOff x="12" y="200"/>
              <a:chExt cx="3760" cy="548"/>
            </a:xfrm>
          </p:grpSpPr>
          <p:sp>
            <p:nvSpPr>
              <p:cNvPr id="1994" name="Freeform 809"/>
              <p:cNvSpPr>
                <a:spLocks/>
              </p:cNvSpPr>
              <p:nvPr/>
            </p:nvSpPr>
            <p:spPr bwMode="auto">
              <a:xfrm>
                <a:off x="2394"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5" name="Freeform 810"/>
              <p:cNvSpPr>
                <a:spLocks/>
              </p:cNvSpPr>
              <p:nvPr/>
            </p:nvSpPr>
            <p:spPr bwMode="auto">
              <a:xfrm>
                <a:off x="2454"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6" name="Freeform 811"/>
              <p:cNvSpPr>
                <a:spLocks/>
              </p:cNvSpPr>
              <p:nvPr/>
            </p:nvSpPr>
            <p:spPr bwMode="auto">
              <a:xfrm>
                <a:off x="2454"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7" name="Freeform 812"/>
              <p:cNvSpPr>
                <a:spLocks/>
              </p:cNvSpPr>
              <p:nvPr/>
            </p:nvSpPr>
            <p:spPr bwMode="auto">
              <a:xfrm>
                <a:off x="3144"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8" name="Freeform 813"/>
              <p:cNvSpPr>
                <a:spLocks/>
              </p:cNvSpPr>
              <p:nvPr/>
            </p:nvSpPr>
            <p:spPr bwMode="auto">
              <a:xfrm>
                <a:off x="3144"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9" name="Freeform 814"/>
              <p:cNvSpPr>
                <a:spLocks/>
              </p:cNvSpPr>
              <p:nvPr/>
            </p:nvSpPr>
            <p:spPr bwMode="auto">
              <a:xfrm>
                <a:off x="3204"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0" name="Freeform 815"/>
              <p:cNvSpPr>
                <a:spLocks/>
              </p:cNvSpPr>
              <p:nvPr/>
            </p:nvSpPr>
            <p:spPr bwMode="auto">
              <a:xfrm>
                <a:off x="3204"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1" name="Freeform 816"/>
              <p:cNvSpPr>
                <a:spLocks/>
              </p:cNvSpPr>
              <p:nvPr/>
            </p:nvSpPr>
            <p:spPr bwMode="auto">
              <a:xfrm>
                <a:off x="329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2" name="Freeform 817"/>
              <p:cNvSpPr>
                <a:spLocks/>
              </p:cNvSpPr>
              <p:nvPr/>
            </p:nvSpPr>
            <p:spPr bwMode="auto">
              <a:xfrm>
                <a:off x="338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3" name="Freeform 818"/>
              <p:cNvSpPr>
                <a:spLocks/>
              </p:cNvSpPr>
              <p:nvPr/>
            </p:nvSpPr>
            <p:spPr bwMode="auto">
              <a:xfrm>
                <a:off x="347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4" name="Freeform 819"/>
              <p:cNvSpPr>
                <a:spLocks/>
              </p:cNvSpPr>
              <p:nvPr/>
            </p:nvSpPr>
            <p:spPr bwMode="auto">
              <a:xfrm>
                <a:off x="3716"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5" name="Freeform 820"/>
              <p:cNvSpPr>
                <a:spLocks/>
              </p:cNvSpPr>
              <p:nvPr/>
            </p:nvSpPr>
            <p:spPr bwMode="auto">
              <a:xfrm>
                <a:off x="3568"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6" name="Freeform 821"/>
              <p:cNvSpPr>
                <a:spLocks/>
              </p:cNvSpPr>
              <p:nvPr/>
            </p:nvSpPr>
            <p:spPr bwMode="auto">
              <a:xfrm>
                <a:off x="3568"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7" name="Freeform 822"/>
              <p:cNvSpPr>
                <a:spLocks/>
              </p:cNvSpPr>
              <p:nvPr/>
            </p:nvSpPr>
            <p:spPr bwMode="auto">
              <a:xfrm>
                <a:off x="3628"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8" name="Freeform 823"/>
              <p:cNvSpPr>
                <a:spLocks/>
              </p:cNvSpPr>
              <p:nvPr/>
            </p:nvSpPr>
            <p:spPr bwMode="auto">
              <a:xfrm>
                <a:off x="3628"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9" name="Freeform 824"/>
              <p:cNvSpPr>
                <a:spLocks noEditPoints="1"/>
              </p:cNvSpPr>
              <p:nvPr/>
            </p:nvSpPr>
            <p:spPr bwMode="auto">
              <a:xfrm>
                <a:off x="1876" y="412"/>
                <a:ext cx="188" cy="146"/>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0" name="Freeform 825"/>
              <p:cNvSpPr>
                <a:spLocks/>
              </p:cNvSpPr>
              <p:nvPr/>
            </p:nvSpPr>
            <p:spPr bwMode="auto">
              <a:xfrm>
                <a:off x="1978" y="516"/>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1" name="Freeform 826"/>
              <p:cNvSpPr>
                <a:spLocks/>
              </p:cNvSpPr>
              <p:nvPr/>
            </p:nvSpPr>
            <p:spPr bwMode="auto">
              <a:xfrm>
                <a:off x="1880" y="512"/>
                <a:ext cx="18" cy="22"/>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2" name="Freeform 827"/>
              <p:cNvSpPr>
                <a:spLocks/>
              </p:cNvSpPr>
              <p:nvPr/>
            </p:nvSpPr>
            <p:spPr bwMode="auto">
              <a:xfrm>
                <a:off x="1878" y="462"/>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3" name="Freeform 828"/>
              <p:cNvSpPr>
                <a:spLocks/>
              </p:cNvSpPr>
              <p:nvPr/>
            </p:nvSpPr>
            <p:spPr bwMode="auto">
              <a:xfrm>
                <a:off x="1890" y="41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4" name="Freeform 829"/>
              <p:cNvSpPr>
                <a:spLocks/>
              </p:cNvSpPr>
              <p:nvPr/>
            </p:nvSpPr>
            <p:spPr bwMode="auto">
              <a:xfrm>
                <a:off x="1876" y="412"/>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5" name="Freeform 830"/>
              <p:cNvSpPr>
                <a:spLocks/>
              </p:cNvSpPr>
              <p:nvPr/>
            </p:nvSpPr>
            <p:spPr bwMode="auto">
              <a:xfrm>
                <a:off x="1882" y="512"/>
                <a:ext cx="16" cy="22"/>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6" name="Freeform 831"/>
              <p:cNvSpPr>
                <a:spLocks/>
              </p:cNvSpPr>
              <p:nvPr/>
            </p:nvSpPr>
            <p:spPr bwMode="auto">
              <a:xfrm>
                <a:off x="1882" y="512"/>
                <a:ext cx="16" cy="22"/>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7" name="Freeform 832"/>
              <p:cNvSpPr>
                <a:spLocks/>
              </p:cNvSpPr>
              <p:nvPr/>
            </p:nvSpPr>
            <p:spPr bwMode="auto">
              <a:xfrm>
                <a:off x="1884" y="512"/>
                <a:ext cx="14" cy="22"/>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8" name="Freeform 833"/>
              <p:cNvSpPr>
                <a:spLocks/>
              </p:cNvSpPr>
              <p:nvPr/>
            </p:nvSpPr>
            <p:spPr bwMode="auto">
              <a:xfrm>
                <a:off x="1884" y="512"/>
                <a:ext cx="14" cy="22"/>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9" name="Freeform 834"/>
              <p:cNvSpPr>
                <a:spLocks/>
              </p:cNvSpPr>
              <p:nvPr/>
            </p:nvSpPr>
            <p:spPr bwMode="auto">
              <a:xfrm>
                <a:off x="1978" y="516"/>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0" name="Freeform 835"/>
              <p:cNvSpPr>
                <a:spLocks/>
              </p:cNvSpPr>
              <p:nvPr/>
            </p:nvSpPr>
            <p:spPr bwMode="auto">
              <a:xfrm>
                <a:off x="1978" y="516"/>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1" name="Freeform 836"/>
              <p:cNvSpPr>
                <a:spLocks noEditPoints="1"/>
              </p:cNvSpPr>
              <p:nvPr/>
            </p:nvSpPr>
            <p:spPr bwMode="auto">
              <a:xfrm>
                <a:off x="1978" y="516"/>
                <a:ext cx="14" cy="26"/>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2" name="Freeform 837"/>
              <p:cNvSpPr>
                <a:spLocks/>
              </p:cNvSpPr>
              <p:nvPr/>
            </p:nvSpPr>
            <p:spPr bwMode="auto">
              <a:xfrm>
                <a:off x="1986" y="542"/>
                <a:ext cx="4"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3" name="Freeform 838"/>
              <p:cNvSpPr>
                <a:spLocks/>
              </p:cNvSpPr>
              <p:nvPr/>
            </p:nvSpPr>
            <p:spPr bwMode="auto">
              <a:xfrm>
                <a:off x="1978" y="542"/>
                <a:ext cx="2"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4" name="Freeform 839"/>
              <p:cNvSpPr>
                <a:spLocks/>
              </p:cNvSpPr>
              <p:nvPr/>
            </p:nvSpPr>
            <p:spPr bwMode="auto">
              <a:xfrm>
                <a:off x="1990" y="516"/>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5" name="Freeform 840"/>
              <p:cNvSpPr>
                <a:spLocks/>
              </p:cNvSpPr>
              <p:nvPr/>
            </p:nvSpPr>
            <p:spPr bwMode="auto">
              <a:xfrm>
                <a:off x="1878" y="462"/>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6" name="Freeform 841"/>
              <p:cNvSpPr>
                <a:spLocks/>
              </p:cNvSpPr>
              <p:nvPr/>
            </p:nvSpPr>
            <p:spPr bwMode="auto">
              <a:xfrm>
                <a:off x="1878" y="462"/>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7" name="Freeform 842"/>
              <p:cNvSpPr>
                <a:spLocks noEditPoints="1"/>
              </p:cNvSpPr>
              <p:nvPr/>
            </p:nvSpPr>
            <p:spPr bwMode="auto">
              <a:xfrm>
                <a:off x="1880" y="462"/>
                <a:ext cx="8" cy="2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8" name="Freeform 843"/>
              <p:cNvSpPr>
                <a:spLocks/>
              </p:cNvSpPr>
              <p:nvPr/>
            </p:nvSpPr>
            <p:spPr bwMode="auto">
              <a:xfrm>
                <a:off x="1882" y="480"/>
                <a:ext cx="4" cy="2"/>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9" name="Freeform 844"/>
              <p:cNvSpPr>
                <a:spLocks/>
              </p:cNvSpPr>
              <p:nvPr/>
            </p:nvSpPr>
            <p:spPr bwMode="auto">
              <a:xfrm>
                <a:off x="1882" y="478"/>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0" name="Freeform 845"/>
              <p:cNvSpPr>
                <a:spLocks/>
              </p:cNvSpPr>
              <p:nvPr/>
            </p:nvSpPr>
            <p:spPr bwMode="auto">
              <a:xfrm>
                <a:off x="1886"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1" name="Freeform 846"/>
              <p:cNvSpPr>
                <a:spLocks/>
              </p:cNvSpPr>
              <p:nvPr/>
            </p:nvSpPr>
            <p:spPr bwMode="auto">
              <a:xfrm>
                <a:off x="1880" y="464"/>
                <a:ext cx="4" cy="12"/>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2" name="Freeform 847"/>
              <p:cNvSpPr>
                <a:spLocks/>
              </p:cNvSpPr>
              <p:nvPr/>
            </p:nvSpPr>
            <p:spPr bwMode="auto">
              <a:xfrm>
                <a:off x="1882" y="462"/>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3" name="Freeform 848"/>
              <p:cNvSpPr>
                <a:spLocks noEditPoints="1"/>
              </p:cNvSpPr>
              <p:nvPr/>
            </p:nvSpPr>
            <p:spPr bwMode="auto">
              <a:xfrm>
                <a:off x="1992" y="450"/>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4" name="Freeform 849"/>
              <p:cNvSpPr>
                <a:spLocks/>
              </p:cNvSpPr>
              <p:nvPr/>
            </p:nvSpPr>
            <p:spPr bwMode="auto">
              <a:xfrm>
                <a:off x="1996" y="458"/>
                <a:ext cx="6" cy="4"/>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5" name="Freeform 850"/>
              <p:cNvSpPr>
                <a:spLocks/>
              </p:cNvSpPr>
              <p:nvPr/>
            </p:nvSpPr>
            <p:spPr bwMode="auto">
              <a:xfrm>
                <a:off x="1992"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6" name="Freeform 851"/>
              <p:cNvSpPr>
                <a:spLocks/>
              </p:cNvSpPr>
              <p:nvPr/>
            </p:nvSpPr>
            <p:spPr bwMode="auto">
              <a:xfrm>
                <a:off x="1946"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7" name="Freeform 852"/>
              <p:cNvSpPr>
                <a:spLocks/>
              </p:cNvSpPr>
              <p:nvPr/>
            </p:nvSpPr>
            <p:spPr bwMode="auto">
              <a:xfrm>
                <a:off x="1946"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8" name="Freeform 853"/>
              <p:cNvSpPr>
                <a:spLocks/>
              </p:cNvSpPr>
              <p:nvPr/>
            </p:nvSpPr>
            <p:spPr bwMode="auto">
              <a:xfrm>
                <a:off x="2042"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9" name="Freeform 854"/>
              <p:cNvSpPr>
                <a:spLocks/>
              </p:cNvSpPr>
              <p:nvPr/>
            </p:nvSpPr>
            <p:spPr bwMode="auto">
              <a:xfrm>
                <a:off x="2042"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0" name="Freeform 855"/>
              <p:cNvSpPr>
                <a:spLocks/>
              </p:cNvSpPr>
              <p:nvPr/>
            </p:nvSpPr>
            <p:spPr bwMode="auto">
              <a:xfrm>
                <a:off x="1986"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1" name="Freeform 856"/>
              <p:cNvSpPr>
                <a:spLocks/>
              </p:cNvSpPr>
              <p:nvPr/>
            </p:nvSpPr>
            <p:spPr bwMode="auto">
              <a:xfrm>
                <a:off x="1986"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2" name="Freeform 857"/>
              <p:cNvSpPr>
                <a:spLocks/>
              </p:cNvSpPr>
              <p:nvPr/>
            </p:nvSpPr>
            <p:spPr bwMode="auto">
              <a:xfrm>
                <a:off x="2002"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3" name="Freeform 858"/>
              <p:cNvSpPr>
                <a:spLocks/>
              </p:cNvSpPr>
              <p:nvPr/>
            </p:nvSpPr>
            <p:spPr bwMode="auto">
              <a:xfrm>
                <a:off x="2002"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4" name="Freeform 859"/>
              <p:cNvSpPr>
                <a:spLocks/>
              </p:cNvSpPr>
              <p:nvPr/>
            </p:nvSpPr>
            <p:spPr bwMode="auto">
              <a:xfrm>
                <a:off x="1998"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5" name="Freeform 860"/>
              <p:cNvSpPr>
                <a:spLocks/>
              </p:cNvSpPr>
              <p:nvPr/>
            </p:nvSpPr>
            <p:spPr bwMode="auto">
              <a:xfrm>
                <a:off x="1998"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6" name="Freeform 861"/>
              <p:cNvSpPr>
                <a:spLocks noEditPoints="1"/>
              </p:cNvSpPr>
              <p:nvPr/>
            </p:nvSpPr>
            <p:spPr bwMode="auto">
              <a:xfrm>
                <a:off x="1998" y="458"/>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7" name="Freeform 862"/>
              <p:cNvSpPr>
                <a:spLocks/>
              </p:cNvSpPr>
              <p:nvPr/>
            </p:nvSpPr>
            <p:spPr bwMode="auto">
              <a:xfrm>
                <a:off x="1998" y="460"/>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8" name="Freeform 863"/>
              <p:cNvSpPr>
                <a:spLocks/>
              </p:cNvSpPr>
              <p:nvPr/>
            </p:nvSpPr>
            <p:spPr bwMode="auto">
              <a:xfrm>
                <a:off x="2000" y="458"/>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9" name="Freeform 864"/>
              <p:cNvSpPr>
                <a:spLocks noEditPoints="1"/>
              </p:cNvSpPr>
              <p:nvPr/>
            </p:nvSpPr>
            <p:spPr bwMode="auto">
              <a:xfrm>
                <a:off x="2914" y="600"/>
                <a:ext cx="188" cy="146"/>
              </a:xfrm>
              <a:custGeom>
                <a:avLst/>
                <a:gdLst>
                  <a:gd name="T0" fmla="*/ 118 w 188"/>
                  <a:gd name="T1" fmla="*/ 130 h 146"/>
                  <a:gd name="T2" fmla="*/ 104 w 188"/>
                  <a:gd name="T3" fmla="*/ 130 h 146"/>
                  <a:gd name="T4" fmla="*/ 118 w 188"/>
                  <a:gd name="T5" fmla="*/ 104 h 146"/>
                  <a:gd name="T6" fmla="*/ 20 w 188"/>
                  <a:gd name="T7" fmla="*/ 122 h 146"/>
                  <a:gd name="T8" fmla="*/ 6 w 188"/>
                  <a:gd name="T9" fmla="*/ 110 h 146"/>
                  <a:gd name="T10" fmla="*/ 8 w 188"/>
                  <a:gd name="T11" fmla="*/ 50 h 146"/>
                  <a:gd name="T12" fmla="*/ 6 w 188"/>
                  <a:gd name="T13" fmla="*/ 62 h 146"/>
                  <a:gd name="T14" fmla="*/ 6 w 188"/>
                  <a:gd name="T15" fmla="*/ 66 h 146"/>
                  <a:gd name="T16" fmla="*/ 14 w 188"/>
                  <a:gd name="T17" fmla="*/ 64 h 146"/>
                  <a:gd name="T18" fmla="*/ 6 w 188"/>
                  <a:gd name="T19" fmla="*/ 70 h 146"/>
                  <a:gd name="T20" fmla="*/ 8 w 188"/>
                  <a:gd name="T21" fmla="*/ 50 h 146"/>
                  <a:gd name="T22" fmla="*/ 114 w 188"/>
                  <a:gd name="T23" fmla="*/ 4 h 146"/>
                  <a:gd name="T24" fmla="*/ 150 w 188"/>
                  <a:gd name="T25" fmla="*/ 24 h 146"/>
                  <a:gd name="T26" fmla="*/ 156 w 188"/>
                  <a:gd name="T27" fmla="*/ 42 h 146"/>
                  <a:gd name="T28" fmla="*/ 148 w 188"/>
                  <a:gd name="T29" fmla="*/ 48 h 146"/>
                  <a:gd name="T30" fmla="*/ 158 w 188"/>
                  <a:gd name="T31" fmla="*/ 46 h 146"/>
                  <a:gd name="T32" fmla="*/ 162 w 188"/>
                  <a:gd name="T33" fmla="*/ 38 h 146"/>
                  <a:gd name="T34" fmla="*/ 180 w 188"/>
                  <a:gd name="T35" fmla="*/ 30 h 146"/>
                  <a:gd name="T36" fmla="*/ 166 w 188"/>
                  <a:gd name="T37" fmla="*/ 88 h 146"/>
                  <a:gd name="T38" fmla="*/ 130 w 188"/>
                  <a:gd name="T39" fmla="*/ 96 h 146"/>
                  <a:gd name="T40" fmla="*/ 142 w 188"/>
                  <a:gd name="T41" fmla="*/ 92 h 146"/>
                  <a:gd name="T42" fmla="*/ 134 w 188"/>
                  <a:gd name="T43" fmla="*/ 102 h 146"/>
                  <a:gd name="T44" fmla="*/ 112 w 188"/>
                  <a:gd name="T45" fmla="*/ 94 h 146"/>
                  <a:gd name="T46" fmla="*/ 86 w 188"/>
                  <a:gd name="T47" fmla="*/ 140 h 146"/>
                  <a:gd name="T48" fmla="*/ 68 w 188"/>
                  <a:gd name="T49" fmla="*/ 126 h 146"/>
                  <a:gd name="T50" fmla="*/ 70 w 188"/>
                  <a:gd name="T51" fmla="*/ 116 h 146"/>
                  <a:gd name="T52" fmla="*/ 54 w 188"/>
                  <a:gd name="T53" fmla="*/ 112 h 146"/>
                  <a:gd name="T54" fmla="*/ 48 w 188"/>
                  <a:gd name="T55" fmla="*/ 134 h 146"/>
                  <a:gd name="T56" fmla="*/ 24 w 188"/>
                  <a:gd name="T57" fmla="*/ 130 h 146"/>
                  <a:gd name="T58" fmla="*/ 16 w 188"/>
                  <a:gd name="T59" fmla="*/ 98 h 146"/>
                  <a:gd name="T60" fmla="*/ 42 w 188"/>
                  <a:gd name="T61" fmla="*/ 40 h 146"/>
                  <a:gd name="T62" fmla="*/ 42 w 188"/>
                  <a:gd name="T63" fmla="*/ 60 h 146"/>
                  <a:gd name="T64" fmla="*/ 48 w 188"/>
                  <a:gd name="T65" fmla="*/ 90 h 146"/>
                  <a:gd name="T66" fmla="*/ 82 w 188"/>
                  <a:gd name="T67" fmla="*/ 92 h 146"/>
                  <a:gd name="T68" fmla="*/ 92 w 188"/>
                  <a:gd name="T69" fmla="*/ 44 h 146"/>
                  <a:gd name="T70" fmla="*/ 80 w 188"/>
                  <a:gd name="T71" fmla="*/ 90 h 146"/>
                  <a:gd name="T72" fmla="*/ 52 w 188"/>
                  <a:gd name="T73" fmla="*/ 84 h 146"/>
                  <a:gd name="T74" fmla="*/ 44 w 188"/>
                  <a:gd name="T75" fmla="*/ 66 h 146"/>
                  <a:gd name="T76" fmla="*/ 80 w 188"/>
                  <a:gd name="T77" fmla="*/ 22 h 146"/>
                  <a:gd name="T78" fmla="*/ 98 w 188"/>
                  <a:gd name="T79" fmla="*/ 4 h 146"/>
                  <a:gd name="T80" fmla="*/ 70 w 188"/>
                  <a:gd name="T81" fmla="*/ 24 h 146"/>
                  <a:gd name="T82" fmla="*/ 12 w 188"/>
                  <a:gd name="T83" fmla="*/ 62 h 146"/>
                  <a:gd name="T84" fmla="*/ 12 w 188"/>
                  <a:gd name="T85" fmla="*/ 50 h 146"/>
                  <a:gd name="T86" fmla="*/ 4 w 188"/>
                  <a:gd name="T87" fmla="*/ 68 h 146"/>
                  <a:gd name="T88" fmla="*/ 6 w 188"/>
                  <a:gd name="T89" fmla="*/ 102 h 146"/>
                  <a:gd name="T90" fmla="*/ 22 w 188"/>
                  <a:gd name="T91" fmla="*/ 128 h 146"/>
                  <a:gd name="T92" fmla="*/ 42 w 188"/>
                  <a:gd name="T93" fmla="*/ 144 h 146"/>
                  <a:gd name="T94" fmla="*/ 52 w 188"/>
                  <a:gd name="T95" fmla="*/ 132 h 146"/>
                  <a:gd name="T96" fmla="*/ 74 w 188"/>
                  <a:gd name="T97" fmla="*/ 144 h 146"/>
                  <a:gd name="T98" fmla="*/ 100 w 188"/>
                  <a:gd name="T99" fmla="*/ 132 h 146"/>
                  <a:gd name="T100" fmla="*/ 122 w 188"/>
                  <a:gd name="T101" fmla="*/ 114 h 146"/>
                  <a:gd name="T102" fmla="*/ 124 w 188"/>
                  <a:gd name="T103" fmla="*/ 102 h 146"/>
                  <a:gd name="T104" fmla="*/ 152 w 188"/>
                  <a:gd name="T105" fmla="*/ 92 h 146"/>
                  <a:gd name="T106" fmla="*/ 186 w 188"/>
                  <a:gd name="T107" fmla="*/ 72 h 146"/>
                  <a:gd name="T108" fmla="*/ 178 w 188"/>
                  <a:gd name="T109" fmla="*/ 24 h 146"/>
                  <a:gd name="T110" fmla="*/ 160 w 188"/>
                  <a:gd name="T111" fmla="*/ 30 h 146"/>
                  <a:gd name="T112" fmla="*/ 112 w 188"/>
                  <a:gd name="T11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0" y="130"/>
                    </a:lnTo>
                    <a:lnTo>
                      <a:pt x="110" y="130"/>
                    </a:lnTo>
                    <a:lnTo>
                      <a:pt x="104" y="130"/>
                    </a:lnTo>
                    <a:lnTo>
                      <a:pt x="104" y="130"/>
                    </a:lnTo>
                    <a:lnTo>
                      <a:pt x="104" y="130"/>
                    </a:lnTo>
                    <a:lnTo>
                      <a:pt x="104" y="130"/>
                    </a:lnTo>
                    <a:lnTo>
                      <a:pt x="104" y="130"/>
                    </a:lnTo>
                    <a:lnTo>
                      <a:pt x="104" y="130"/>
                    </a:lnTo>
                    <a:lnTo>
                      <a:pt x="104" y="130"/>
                    </a:lnTo>
                    <a:lnTo>
                      <a:pt x="114" y="110"/>
                    </a:lnTo>
                    <a:lnTo>
                      <a:pt x="114" y="110"/>
                    </a:lnTo>
                    <a:lnTo>
                      <a:pt x="118" y="104"/>
                    </a:lnTo>
                    <a:lnTo>
                      <a:pt x="118" y="104"/>
                    </a:lnTo>
                    <a:lnTo>
                      <a:pt x="118" y="104"/>
                    </a:lnTo>
                    <a:close/>
                    <a:moveTo>
                      <a:pt x="8" y="104"/>
                    </a:moveTo>
                    <a:lnTo>
                      <a:pt x="8" y="104"/>
                    </a:lnTo>
                    <a:lnTo>
                      <a:pt x="14" y="100"/>
                    </a:lnTo>
                    <a:lnTo>
                      <a:pt x="14" y="100"/>
                    </a:lnTo>
                    <a:lnTo>
                      <a:pt x="24" y="118"/>
                    </a:lnTo>
                    <a:lnTo>
                      <a:pt x="24" y="118"/>
                    </a:lnTo>
                    <a:lnTo>
                      <a:pt x="24" y="122"/>
                    </a:lnTo>
                    <a:lnTo>
                      <a:pt x="20" y="122"/>
                    </a:lnTo>
                    <a:lnTo>
                      <a:pt x="20" y="122"/>
                    </a:lnTo>
                    <a:lnTo>
                      <a:pt x="20" y="122"/>
                    </a:lnTo>
                    <a:lnTo>
                      <a:pt x="20" y="122"/>
                    </a:lnTo>
                    <a:lnTo>
                      <a:pt x="18" y="122"/>
                    </a:lnTo>
                    <a:lnTo>
                      <a:pt x="18" y="122"/>
                    </a:lnTo>
                    <a:lnTo>
                      <a:pt x="14" y="122"/>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8" y="50"/>
                    </a:lnTo>
                    <a:lnTo>
                      <a:pt x="8" y="50"/>
                    </a:lnTo>
                    <a:lnTo>
                      <a:pt x="10" y="50"/>
                    </a:lnTo>
                    <a:lnTo>
                      <a:pt x="10" y="50"/>
                    </a:lnTo>
                    <a:lnTo>
                      <a:pt x="10" y="50"/>
                    </a:lnTo>
                    <a:lnTo>
                      <a:pt x="10" y="50"/>
                    </a:lnTo>
                    <a:lnTo>
                      <a:pt x="8" y="52"/>
                    </a:lnTo>
                    <a:lnTo>
                      <a:pt x="8" y="52"/>
                    </a:lnTo>
                    <a:lnTo>
                      <a:pt x="6" y="62"/>
                    </a:lnTo>
                    <a:lnTo>
                      <a:pt x="6" y="62"/>
                    </a:lnTo>
                    <a:lnTo>
                      <a:pt x="6" y="66"/>
                    </a:lnTo>
                    <a:lnTo>
                      <a:pt x="6" y="66"/>
                    </a:lnTo>
                    <a:lnTo>
                      <a:pt x="6" y="66"/>
                    </a:lnTo>
                    <a:lnTo>
                      <a:pt x="6" y="66"/>
                    </a:lnTo>
                    <a:lnTo>
                      <a:pt x="6" y="66"/>
                    </a:lnTo>
                    <a:lnTo>
                      <a:pt x="6" y="66"/>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12" y="68"/>
                    </a:lnTo>
                    <a:lnTo>
                      <a:pt x="8" y="70"/>
                    </a:lnTo>
                    <a:lnTo>
                      <a:pt x="8" y="70"/>
                    </a:lnTo>
                    <a:lnTo>
                      <a:pt x="6" y="70"/>
                    </a:lnTo>
                    <a:lnTo>
                      <a:pt x="6" y="70"/>
                    </a:lnTo>
                    <a:lnTo>
                      <a:pt x="6" y="68"/>
                    </a:lnTo>
                    <a:lnTo>
                      <a:pt x="6" y="68"/>
                    </a:lnTo>
                    <a:lnTo>
                      <a:pt x="2" y="62"/>
                    </a:lnTo>
                    <a:lnTo>
                      <a:pt x="2" y="56"/>
                    </a:lnTo>
                    <a:lnTo>
                      <a:pt x="2" y="56"/>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4"/>
                    </a:lnTo>
                    <a:lnTo>
                      <a:pt x="154" y="26"/>
                    </a:lnTo>
                    <a:lnTo>
                      <a:pt x="158" y="32"/>
                    </a:lnTo>
                    <a:lnTo>
                      <a:pt x="158" y="32"/>
                    </a:lnTo>
                    <a:lnTo>
                      <a:pt x="148" y="34"/>
                    </a:lnTo>
                    <a:lnTo>
                      <a:pt x="148" y="34"/>
                    </a:lnTo>
                    <a:lnTo>
                      <a:pt x="150" y="40"/>
                    </a:lnTo>
                    <a:lnTo>
                      <a:pt x="154" y="42"/>
                    </a:lnTo>
                    <a:lnTo>
                      <a:pt x="154" y="42"/>
                    </a:lnTo>
                    <a:lnTo>
                      <a:pt x="156" y="42"/>
                    </a:lnTo>
                    <a:lnTo>
                      <a:pt x="156" y="42"/>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2"/>
                    </a:lnTo>
                    <a:lnTo>
                      <a:pt x="162" y="42"/>
                    </a:lnTo>
                    <a:lnTo>
                      <a:pt x="162" y="42"/>
                    </a:lnTo>
                    <a:lnTo>
                      <a:pt x="162" y="38"/>
                    </a:lnTo>
                    <a:lnTo>
                      <a:pt x="164" y="38"/>
                    </a:lnTo>
                    <a:lnTo>
                      <a:pt x="164" y="38"/>
                    </a:lnTo>
                    <a:lnTo>
                      <a:pt x="168" y="34"/>
                    </a:lnTo>
                    <a:lnTo>
                      <a:pt x="174" y="30"/>
                    </a:lnTo>
                    <a:lnTo>
                      <a:pt x="174" y="30"/>
                    </a:lnTo>
                    <a:lnTo>
                      <a:pt x="176" y="28"/>
                    </a:lnTo>
                    <a:lnTo>
                      <a:pt x="176" y="28"/>
                    </a:lnTo>
                    <a:lnTo>
                      <a:pt x="180" y="30"/>
                    </a:lnTo>
                    <a:lnTo>
                      <a:pt x="180" y="30"/>
                    </a:lnTo>
                    <a:lnTo>
                      <a:pt x="184" y="42"/>
                    </a:lnTo>
                    <a:lnTo>
                      <a:pt x="184" y="42"/>
                    </a:lnTo>
                    <a:lnTo>
                      <a:pt x="186"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4"/>
                    </a:lnTo>
                    <a:lnTo>
                      <a:pt x="132" y="84"/>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2"/>
                    </a:lnTo>
                    <a:lnTo>
                      <a:pt x="126" y="98"/>
                    </a:lnTo>
                    <a:lnTo>
                      <a:pt x="126" y="98"/>
                    </a:lnTo>
                    <a:lnTo>
                      <a:pt x="116" y="92"/>
                    </a:lnTo>
                    <a:lnTo>
                      <a:pt x="106" y="88"/>
                    </a:lnTo>
                    <a:lnTo>
                      <a:pt x="106" y="88"/>
                    </a:lnTo>
                    <a:lnTo>
                      <a:pt x="112" y="94"/>
                    </a:lnTo>
                    <a:lnTo>
                      <a:pt x="112" y="94"/>
                    </a:lnTo>
                    <a:lnTo>
                      <a:pt x="114" y="96"/>
                    </a:lnTo>
                    <a:lnTo>
                      <a:pt x="114"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8" y="114"/>
                    </a:lnTo>
                    <a:lnTo>
                      <a:pt x="76" y="116"/>
                    </a:lnTo>
                    <a:lnTo>
                      <a:pt x="70" y="116"/>
                    </a:lnTo>
                    <a:lnTo>
                      <a:pt x="70" y="116"/>
                    </a:lnTo>
                    <a:lnTo>
                      <a:pt x="66" y="116"/>
                    </a:lnTo>
                    <a:lnTo>
                      <a:pt x="66" y="116"/>
                    </a:lnTo>
                    <a:lnTo>
                      <a:pt x="60" y="116"/>
                    </a:lnTo>
                    <a:lnTo>
                      <a:pt x="60" y="116"/>
                    </a:lnTo>
                    <a:lnTo>
                      <a:pt x="56" y="116"/>
                    </a:lnTo>
                    <a:lnTo>
                      <a:pt x="54" y="114"/>
                    </a:lnTo>
                    <a:lnTo>
                      <a:pt x="54" y="112"/>
                    </a:lnTo>
                    <a:lnTo>
                      <a:pt x="54" y="112"/>
                    </a:lnTo>
                    <a:lnTo>
                      <a:pt x="54" y="112"/>
                    </a:lnTo>
                    <a:lnTo>
                      <a:pt x="54" y="112"/>
                    </a:lnTo>
                    <a:lnTo>
                      <a:pt x="54" y="114"/>
                    </a:lnTo>
                    <a:lnTo>
                      <a:pt x="54" y="114"/>
                    </a:lnTo>
                    <a:lnTo>
                      <a:pt x="52" y="122"/>
                    </a:lnTo>
                    <a:lnTo>
                      <a:pt x="52" y="126"/>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8"/>
                    </a:lnTo>
                    <a:lnTo>
                      <a:pt x="14" y="88"/>
                    </a:lnTo>
                    <a:lnTo>
                      <a:pt x="14" y="78"/>
                    </a:lnTo>
                    <a:lnTo>
                      <a:pt x="14" y="78"/>
                    </a:lnTo>
                    <a:lnTo>
                      <a:pt x="16" y="70"/>
                    </a:lnTo>
                    <a:lnTo>
                      <a:pt x="20"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4" y="100"/>
                    </a:lnTo>
                    <a:lnTo>
                      <a:pt x="64"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8" y="86"/>
                    </a:lnTo>
                    <a:lnTo>
                      <a:pt x="88" y="86"/>
                    </a:lnTo>
                    <a:lnTo>
                      <a:pt x="80" y="90"/>
                    </a:lnTo>
                    <a:lnTo>
                      <a:pt x="72" y="94"/>
                    </a:lnTo>
                    <a:lnTo>
                      <a:pt x="72" y="94"/>
                    </a:lnTo>
                    <a:lnTo>
                      <a:pt x="62" y="96"/>
                    </a:lnTo>
                    <a:lnTo>
                      <a:pt x="62" y="96"/>
                    </a:lnTo>
                    <a:lnTo>
                      <a:pt x="58" y="94"/>
                    </a:lnTo>
                    <a:lnTo>
                      <a:pt x="54" y="90"/>
                    </a:lnTo>
                    <a:lnTo>
                      <a:pt x="54" y="90"/>
                    </a:lnTo>
                    <a:lnTo>
                      <a:pt x="52" y="88"/>
                    </a:lnTo>
                    <a:lnTo>
                      <a:pt x="52" y="84"/>
                    </a:lnTo>
                    <a:lnTo>
                      <a:pt x="52" y="84"/>
                    </a:lnTo>
                    <a:lnTo>
                      <a:pt x="56" y="76"/>
                    </a:lnTo>
                    <a:lnTo>
                      <a:pt x="56" y="76"/>
                    </a:lnTo>
                    <a:lnTo>
                      <a:pt x="60" y="70"/>
                    </a:lnTo>
                    <a:lnTo>
                      <a:pt x="60" y="70"/>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8"/>
                    </a:lnTo>
                    <a:lnTo>
                      <a:pt x="2" y="112"/>
                    </a:lnTo>
                    <a:lnTo>
                      <a:pt x="2" y="112"/>
                    </a:lnTo>
                    <a:lnTo>
                      <a:pt x="6" y="118"/>
                    </a:lnTo>
                    <a:lnTo>
                      <a:pt x="10" y="122"/>
                    </a:lnTo>
                    <a:lnTo>
                      <a:pt x="10" y="122"/>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6"/>
                    </a:lnTo>
                    <a:lnTo>
                      <a:pt x="88" y="142"/>
                    </a:lnTo>
                    <a:lnTo>
                      <a:pt x="88" y="142"/>
                    </a:lnTo>
                    <a:lnTo>
                      <a:pt x="98" y="134"/>
                    </a:lnTo>
                    <a:lnTo>
                      <a:pt x="98"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4" y="86"/>
                    </a:lnTo>
                    <a:lnTo>
                      <a:pt x="180" y="80"/>
                    </a:lnTo>
                    <a:lnTo>
                      <a:pt x="186" y="72"/>
                    </a:lnTo>
                    <a:lnTo>
                      <a:pt x="186" y="72"/>
                    </a:lnTo>
                    <a:lnTo>
                      <a:pt x="188" y="60"/>
                    </a:lnTo>
                    <a:lnTo>
                      <a:pt x="188" y="46"/>
                    </a:lnTo>
                    <a:lnTo>
                      <a:pt x="188" y="46"/>
                    </a:lnTo>
                    <a:lnTo>
                      <a:pt x="186" y="38"/>
                    </a:lnTo>
                    <a:lnTo>
                      <a:pt x="182" y="28"/>
                    </a:lnTo>
                    <a:lnTo>
                      <a:pt x="182" y="28"/>
                    </a:lnTo>
                    <a:lnTo>
                      <a:pt x="180" y="26"/>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0" name="Freeform 865"/>
              <p:cNvSpPr>
                <a:spLocks/>
              </p:cNvSpPr>
              <p:nvPr/>
            </p:nvSpPr>
            <p:spPr bwMode="auto">
              <a:xfrm>
                <a:off x="3018" y="704"/>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4 w 16"/>
                  <a:gd name="T17" fmla="*/ 26 h 26"/>
                  <a:gd name="T18" fmla="*/ 14 w 16"/>
                  <a:gd name="T19" fmla="*/ 26 h 26"/>
                  <a:gd name="T20" fmla="*/ 10 w 16"/>
                  <a:gd name="T21" fmla="*/ 26 h 26"/>
                  <a:gd name="T22" fmla="*/ 10 w 16"/>
                  <a:gd name="T23" fmla="*/ 26 h 26"/>
                  <a:gd name="T24" fmla="*/ 10 w 16"/>
                  <a:gd name="T25" fmla="*/ 26 h 26"/>
                  <a:gd name="T26" fmla="*/ 10 w 16"/>
                  <a:gd name="T27" fmla="*/ 26 h 26"/>
                  <a:gd name="T28" fmla="*/ 6 w 16"/>
                  <a:gd name="T29" fmla="*/ 26 h 26"/>
                  <a:gd name="T30" fmla="*/ 6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6 h 26"/>
                  <a:gd name="T48" fmla="*/ 10 w 16"/>
                  <a:gd name="T49" fmla="*/ 6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4"/>
                    </a:lnTo>
                    <a:lnTo>
                      <a:pt x="16" y="24"/>
                    </a:lnTo>
                    <a:lnTo>
                      <a:pt x="14" y="26"/>
                    </a:lnTo>
                    <a:lnTo>
                      <a:pt x="14" y="26"/>
                    </a:lnTo>
                    <a:lnTo>
                      <a:pt x="10" y="26"/>
                    </a:lnTo>
                    <a:lnTo>
                      <a:pt x="10" y="26"/>
                    </a:lnTo>
                    <a:lnTo>
                      <a:pt x="10" y="26"/>
                    </a:lnTo>
                    <a:lnTo>
                      <a:pt x="10" y="26"/>
                    </a:lnTo>
                    <a:lnTo>
                      <a:pt x="6" y="26"/>
                    </a:lnTo>
                    <a:lnTo>
                      <a:pt x="6" y="26"/>
                    </a:lnTo>
                    <a:lnTo>
                      <a:pt x="0" y="26"/>
                    </a:lnTo>
                    <a:lnTo>
                      <a:pt x="0" y="26"/>
                    </a:lnTo>
                    <a:lnTo>
                      <a:pt x="0" y="26"/>
                    </a:lnTo>
                    <a:lnTo>
                      <a:pt x="0" y="26"/>
                    </a:lnTo>
                    <a:lnTo>
                      <a:pt x="0" y="26"/>
                    </a:lnTo>
                    <a:lnTo>
                      <a:pt x="0" y="26"/>
                    </a:lnTo>
                    <a:lnTo>
                      <a:pt x="0" y="26"/>
                    </a:lnTo>
                    <a:lnTo>
                      <a:pt x="10" y="6"/>
                    </a:lnTo>
                    <a:lnTo>
                      <a:pt x="10"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1" name="Freeform 866"/>
              <p:cNvSpPr>
                <a:spLocks/>
              </p:cNvSpPr>
              <p:nvPr/>
            </p:nvSpPr>
            <p:spPr bwMode="auto">
              <a:xfrm>
                <a:off x="2920" y="700"/>
                <a:ext cx="18" cy="22"/>
              </a:xfrm>
              <a:custGeom>
                <a:avLst/>
                <a:gdLst>
                  <a:gd name="T0" fmla="*/ 2 w 18"/>
                  <a:gd name="T1" fmla="*/ 4 h 22"/>
                  <a:gd name="T2" fmla="*/ 2 w 18"/>
                  <a:gd name="T3" fmla="*/ 4 h 22"/>
                  <a:gd name="T4" fmla="*/ 8 w 18"/>
                  <a:gd name="T5" fmla="*/ 0 h 22"/>
                  <a:gd name="T6" fmla="*/ 8 w 18"/>
                  <a:gd name="T7" fmla="*/ 0 h 22"/>
                  <a:gd name="T8" fmla="*/ 18 w 18"/>
                  <a:gd name="T9" fmla="*/ 18 h 22"/>
                  <a:gd name="T10" fmla="*/ 18 w 18"/>
                  <a:gd name="T11" fmla="*/ 18 h 22"/>
                  <a:gd name="T12" fmla="*/ 18 w 18"/>
                  <a:gd name="T13" fmla="*/ 22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2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8"/>
                    </a:lnTo>
                    <a:lnTo>
                      <a:pt x="18" y="18"/>
                    </a:lnTo>
                    <a:lnTo>
                      <a:pt x="18" y="22"/>
                    </a:lnTo>
                    <a:lnTo>
                      <a:pt x="14" y="22"/>
                    </a:lnTo>
                    <a:lnTo>
                      <a:pt x="14" y="22"/>
                    </a:lnTo>
                    <a:lnTo>
                      <a:pt x="14" y="22"/>
                    </a:lnTo>
                    <a:lnTo>
                      <a:pt x="14" y="22"/>
                    </a:lnTo>
                    <a:lnTo>
                      <a:pt x="12" y="22"/>
                    </a:lnTo>
                    <a:lnTo>
                      <a:pt x="12" y="22"/>
                    </a:lnTo>
                    <a:lnTo>
                      <a:pt x="8" y="22"/>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2" name="Freeform 867"/>
              <p:cNvSpPr>
                <a:spLocks/>
              </p:cNvSpPr>
              <p:nvPr/>
            </p:nvSpPr>
            <p:spPr bwMode="auto">
              <a:xfrm>
                <a:off x="2916" y="650"/>
                <a:ext cx="12" cy="20"/>
              </a:xfrm>
              <a:custGeom>
                <a:avLst/>
                <a:gdLst>
                  <a:gd name="T0" fmla="*/ 8 w 12"/>
                  <a:gd name="T1" fmla="*/ 0 h 20"/>
                  <a:gd name="T2" fmla="*/ 8 w 12"/>
                  <a:gd name="T3" fmla="*/ 0 h 20"/>
                  <a:gd name="T4" fmla="*/ 8 w 12"/>
                  <a:gd name="T5" fmla="*/ 0 h 20"/>
                  <a:gd name="T6" fmla="*/ 8 w 12"/>
                  <a:gd name="T7" fmla="*/ 0 h 20"/>
                  <a:gd name="T8" fmla="*/ 6 w 12"/>
                  <a:gd name="T9" fmla="*/ 0 h 20"/>
                  <a:gd name="T10" fmla="*/ 6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4 w 12"/>
                  <a:gd name="T37" fmla="*/ 16 h 20"/>
                  <a:gd name="T38" fmla="*/ 4 w 12"/>
                  <a:gd name="T39" fmla="*/ 16 h 20"/>
                  <a:gd name="T40" fmla="*/ 4 w 12"/>
                  <a:gd name="T41" fmla="*/ 16 h 20"/>
                  <a:gd name="T42" fmla="*/ 4 w 12"/>
                  <a:gd name="T43" fmla="*/ 16 h 20"/>
                  <a:gd name="T44" fmla="*/ 4 w 12"/>
                  <a:gd name="T45" fmla="*/ 16 h 20"/>
                  <a:gd name="T46" fmla="*/ 4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0 w 12"/>
                  <a:gd name="T69" fmla="*/ 18 h 20"/>
                  <a:gd name="T70" fmla="*/ 10 w 12"/>
                  <a:gd name="T71" fmla="*/ 18 h 20"/>
                  <a:gd name="T72" fmla="*/ 10 w 12"/>
                  <a:gd name="T73" fmla="*/ 18 h 20"/>
                  <a:gd name="T74" fmla="*/ 6 w 12"/>
                  <a:gd name="T75" fmla="*/ 20 h 20"/>
                  <a:gd name="T76" fmla="*/ 6 w 12"/>
                  <a:gd name="T77" fmla="*/ 20 h 20"/>
                  <a:gd name="T78" fmla="*/ 4 w 12"/>
                  <a:gd name="T79" fmla="*/ 20 h 20"/>
                  <a:gd name="T80" fmla="*/ 4 w 12"/>
                  <a:gd name="T81" fmla="*/ 20 h 20"/>
                  <a:gd name="T82" fmla="*/ 4 w 12"/>
                  <a:gd name="T83" fmla="*/ 18 h 20"/>
                  <a:gd name="T84" fmla="*/ 4 w 12"/>
                  <a:gd name="T85" fmla="*/ 18 h 20"/>
                  <a:gd name="T86" fmla="*/ 0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6" y="0"/>
                    </a:lnTo>
                    <a:lnTo>
                      <a:pt x="6" y="0"/>
                    </a:lnTo>
                    <a:lnTo>
                      <a:pt x="8" y="0"/>
                    </a:lnTo>
                    <a:lnTo>
                      <a:pt x="8" y="0"/>
                    </a:lnTo>
                    <a:lnTo>
                      <a:pt x="8" y="0"/>
                    </a:lnTo>
                    <a:lnTo>
                      <a:pt x="8" y="0"/>
                    </a:lnTo>
                    <a:lnTo>
                      <a:pt x="6" y="2"/>
                    </a:lnTo>
                    <a:lnTo>
                      <a:pt x="6" y="2"/>
                    </a:lnTo>
                    <a:lnTo>
                      <a:pt x="4" y="12"/>
                    </a:lnTo>
                    <a:lnTo>
                      <a:pt x="4" y="12"/>
                    </a:lnTo>
                    <a:lnTo>
                      <a:pt x="4" y="16"/>
                    </a:lnTo>
                    <a:lnTo>
                      <a:pt x="4" y="16"/>
                    </a:lnTo>
                    <a:lnTo>
                      <a:pt x="4" y="16"/>
                    </a:lnTo>
                    <a:lnTo>
                      <a:pt x="4" y="16"/>
                    </a:lnTo>
                    <a:lnTo>
                      <a:pt x="4" y="16"/>
                    </a:lnTo>
                    <a:lnTo>
                      <a:pt x="4" y="16"/>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10" y="18"/>
                    </a:lnTo>
                    <a:lnTo>
                      <a:pt x="6" y="20"/>
                    </a:lnTo>
                    <a:lnTo>
                      <a:pt x="6" y="20"/>
                    </a:lnTo>
                    <a:lnTo>
                      <a:pt x="4" y="20"/>
                    </a:lnTo>
                    <a:lnTo>
                      <a:pt x="4" y="20"/>
                    </a:lnTo>
                    <a:lnTo>
                      <a:pt x="4" y="18"/>
                    </a:lnTo>
                    <a:lnTo>
                      <a:pt x="4" y="18"/>
                    </a:lnTo>
                    <a:lnTo>
                      <a:pt x="0"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3" name="Freeform 868"/>
              <p:cNvSpPr>
                <a:spLocks/>
              </p:cNvSpPr>
              <p:nvPr/>
            </p:nvSpPr>
            <p:spPr bwMode="auto">
              <a:xfrm>
                <a:off x="2928" y="604"/>
                <a:ext cx="172" cy="138"/>
              </a:xfrm>
              <a:custGeom>
                <a:avLst/>
                <a:gdLst>
                  <a:gd name="T0" fmla="*/ 74 w 172"/>
                  <a:gd name="T1" fmla="*/ 8 h 138"/>
                  <a:gd name="T2" fmla="*/ 100 w 172"/>
                  <a:gd name="T3" fmla="*/ 0 h 138"/>
                  <a:gd name="T4" fmla="*/ 130 w 172"/>
                  <a:gd name="T5" fmla="*/ 16 h 138"/>
                  <a:gd name="T6" fmla="*/ 136 w 172"/>
                  <a:gd name="T7" fmla="*/ 20 h 138"/>
                  <a:gd name="T8" fmla="*/ 134 w 172"/>
                  <a:gd name="T9" fmla="*/ 30 h 138"/>
                  <a:gd name="T10" fmla="*/ 140 w 172"/>
                  <a:gd name="T11" fmla="*/ 38 h 138"/>
                  <a:gd name="T12" fmla="*/ 144 w 172"/>
                  <a:gd name="T13" fmla="*/ 40 h 138"/>
                  <a:gd name="T14" fmla="*/ 132 w 172"/>
                  <a:gd name="T15" fmla="*/ 48 h 138"/>
                  <a:gd name="T16" fmla="*/ 138 w 172"/>
                  <a:gd name="T17" fmla="*/ 40 h 138"/>
                  <a:gd name="T18" fmla="*/ 138 w 172"/>
                  <a:gd name="T19" fmla="*/ 52 h 138"/>
                  <a:gd name="T20" fmla="*/ 144 w 172"/>
                  <a:gd name="T21" fmla="*/ 42 h 138"/>
                  <a:gd name="T22" fmla="*/ 144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80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0 w 172"/>
                  <a:gd name="T53" fmla="*/ 92 h 138"/>
                  <a:gd name="T54" fmla="*/ 86 w 172"/>
                  <a:gd name="T55" fmla="*/ 124 h 138"/>
                  <a:gd name="T56" fmla="*/ 72 w 172"/>
                  <a:gd name="T57" fmla="*/ 136 h 138"/>
                  <a:gd name="T58" fmla="*/ 62 w 172"/>
                  <a:gd name="T59" fmla="*/ 138 h 138"/>
                  <a:gd name="T60" fmla="*/ 54 w 172"/>
                  <a:gd name="T61" fmla="*/ 122 h 138"/>
                  <a:gd name="T62" fmla="*/ 64 w 172"/>
                  <a:gd name="T63" fmla="*/ 114 h 138"/>
                  <a:gd name="T64" fmla="*/ 62 w 172"/>
                  <a:gd name="T65" fmla="*/ 112 h 138"/>
                  <a:gd name="T66" fmla="*/ 52 w 172"/>
                  <a:gd name="T67" fmla="*/ 112 h 138"/>
                  <a:gd name="T68" fmla="*/ 40 w 172"/>
                  <a:gd name="T69" fmla="*/ 110 h 138"/>
                  <a:gd name="T70" fmla="*/ 40 w 172"/>
                  <a:gd name="T71" fmla="*/ 108 h 138"/>
                  <a:gd name="T72" fmla="*/ 38 w 172"/>
                  <a:gd name="T73" fmla="*/ 122 h 138"/>
                  <a:gd name="T74" fmla="*/ 32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2 w 172"/>
                  <a:gd name="T91" fmla="*/ 46 h 138"/>
                  <a:gd name="T92" fmla="*/ 26 w 172"/>
                  <a:gd name="T93" fmla="*/ 60 h 138"/>
                  <a:gd name="T94" fmla="*/ 34 w 172"/>
                  <a:gd name="T95" fmla="*/ 76 h 138"/>
                  <a:gd name="T96" fmla="*/ 34 w 172"/>
                  <a:gd name="T97" fmla="*/ 86 h 138"/>
                  <a:gd name="T98" fmla="*/ 50 w 172"/>
                  <a:gd name="T99" fmla="*/ 96 h 138"/>
                  <a:gd name="T100" fmla="*/ 58 w 172"/>
                  <a:gd name="T101" fmla="*/ 92 h 138"/>
                  <a:gd name="T102" fmla="*/ 80 w 172"/>
                  <a:gd name="T103" fmla="*/ 82 h 138"/>
                  <a:gd name="T104" fmla="*/ 82 w 172"/>
                  <a:gd name="T105" fmla="*/ 54 h 138"/>
                  <a:gd name="T106" fmla="*/ 78 w 172"/>
                  <a:gd name="T107" fmla="*/ 58 h 138"/>
                  <a:gd name="T108" fmla="*/ 76 w 172"/>
                  <a:gd name="T109" fmla="*/ 80 h 138"/>
                  <a:gd name="T110" fmla="*/ 58 w 172"/>
                  <a:gd name="T111" fmla="*/ 90 h 138"/>
                  <a:gd name="T112" fmla="*/ 44 w 172"/>
                  <a:gd name="T113" fmla="*/ 90 h 138"/>
                  <a:gd name="T114" fmla="*/ 38 w 172"/>
                  <a:gd name="T115" fmla="*/ 80 h 138"/>
                  <a:gd name="T116" fmla="*/ 46 w 172"/>
                  <a:gd name="T117" fmla="*/ 66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20"/>
                    </a:lnTo>
                    <a:lnTo>
                      <a:pt x="140" y="22"/>
                    </a:lnTo>
                    <a:lnTo>
                      <a:pt x="144" y="28"/>
                    </a:lnTo>
                    <a:lnTo>
                      <a:pt x="144" y="28"/>
                    </a:lnTo>
                    <a:lnTo>
                      <a:pt x="134" y="30"/>
                    </a:lnTo>
                    <a:lnTo>
                      <a:pt x="134" y="30"/>
                    </a:lnTo>
                    <a:lnTo>
                      <a:pt x="136" y="36"/>
                    </a:lnTo>
                    <a:lnTo>
                      <a:pt x="140" y="38"/>
                    </a:lnTo>
                    <a:lnTo>
                      <a:pt x="140" y="38"/>
                    </a:lnTo>
                    <a:lnTo>
                      <a:pt x="142" y="38"/>
                    </a:lnTo>
                    <a:lnTo>
                      <a:pt x="142" y="38"/>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8"/>
                    </a:lnTo>
                    <a:lnTo>
                      <a:pt x="148" y="38"/>
                    </a:lnTo>
                    <a:lnTo>
                      <a:pt x="148" y="38"/>
                    </a:lnTo>
                    <a:lnTo>
                      <a:pt x="148" y="34"/>
                    </a:lnTo>
                    <a:lnTo>
                      <a:pt x="150" y="34"/>
                    </a:lnTo>
                    <a:lnTo>
                      <a:pt x="150" y="34"/>
                    </a:lnTo>
                    <a:lnTo>
                      <a:pt x="154" y="30"/>
                    </a:lnTo>
                    <a:lnTo>
                      <a:pt x="160" y="26"/>
                    </a:lnTo>
                    <a:lnTo>
                      <a:pt x="160" y="26"/>
                    </a:lnTo>
                    <a:lnTo>
                      <a:pt x="162" y="24"/>
                    </a:lnTo>
                    <a:lnTo>
                      <a:pt x="162" y="24"/>
                    </a:lnTo>
                    <a:lnTo>
                      <a:pt x="166" y="26"/>
                    </a:lnTo>
                    <a:lnTo>
                      <a:pt x="166" y="26"/>
                    </a:lnTo>
                    <a:lnTo>
                      <a:pt x="170" y="38"/>
                    </a:lnTo>
                    <a:lnTo>
                      <a:pt x="170" y="38"/>
                    </a:lnTo>
                    <a:lnTo>
                      <a:pt x="172"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80"/>
                    </a:lnTo>
                    <a:lnTo>
                      <a:pt x="118" y="80"/>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8"/>
                    </a:lnTo>
                    <a:lnTo>
                      <a:pt x="112" y="94"/>
                    </a:lnTo>
                    <a:lnTo>
                      <a:pt x="112" y="94"/>
                    </a:lnTo>
                    <a:lnTo>
                      <a:pt x="102" y="88"/>
                    </a:lnTo>
                    <a:lnTo>
                      <a:pt x="92" y="84"/>
                    </a:lnTo>
                    <a:lnTo>
                      <a:pt x="92" y="84"/>
                    </a:lnTo>
                    <a:lnTo>
                      <a:pt x="98" y="90"/>
                    </a:lnTo>
                    <a:lnTo>
                      <a:pt x="98" y="90"/>
                    </a:lnTo>
                    <a:lnTo>
                      <a:pt x="100" y="92"/>
                    </a:lnTo>
                    <a:lnTo>
                      <a:pt x="100" y="92"/>
                    </a:lnTo>
                    <a:lnTo>
                      <a:pt x="96" y="110"/>
                    </a:lnTo>
                    <a:lnTo>
                      <a:pt x="92" y="118"/>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4" y="110"/>
                    </a:lnTo>
                    <a:lnTo>
                      <a:pt x="62" y="112"/>
                    </a:lnTo>
                    <a:lnTo>
                      <a:pt x="56" y="112"/>
                    </a:lnTo>
                    <a:lnTo>
                      <a:pt x="56" y="112"/>
                    </a:lnTo>
                    <a:lnTo>
                      <a:pt x="52" y="112"/>
                    </a:lnTo>
                    <a:lnTo>
                      <a:pt x="52" y="112"/>
                    </a:lnTo>
                    <a:lnTo>
                      <a:pt x="46" y="112"/>
                    </a:lnTo>
                    <a:lnTo>
                      <a:pt x="46" y="112"/>
                    </a:lnTo>
                    <a:lnTo>
                      <a:pt x="42" y="112"/>
                    </a:lnTo>
                    <a:lnTo>
                      <a:pt x="40" y="110"/>
                    </a:lnTo>
                    <a:lnTo>
                      <a:pt x="40" y="108"/>
                    </a:lnTo>
                    <a:lnTo>
                      <a:pt x="40" y="108"/>
                    </a:lnTo>
                    <a:lnTo>
                      <a:pt x="40" y="108"/>
                    </a:lnTo>
                    <a:lnTo>
                      <a:pt x="40" y="108"/>
                    </a:lnTo>
                    <a:lnTo>
                      <a:pt x="40" y="110"/>
                    </a:lnTo>
                    <a:lnTo>
                      <a:pt x="40" y="110"/>
                    </a:lnTo>
                    <a:lnTo>
                      <a:pt x="38" y="118"/>
                    </a:lnTo>
                    <a:lnTo>
                      <a:pt x="38" y="122"/>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4"/>
                    </a:lnTo>
                    <a:lnTo>
                      <a:pt x="0" y="84"/>
                    </a:lnTo>
                    <a:lnTo>
                      <a:pt x="0" y="74"/>
                    </a:lnTo>
                    <a:lnTo>
                      <a:pt x="0" y="74"/>
                    </a:lnTo>
                    <a:lnTo>
                      <a:pt x="2" y="66"/>
                    </a:lnTo>
                    <a:lnTo>
                      <a:pt x="6"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50" y="96"/>
                    </a:lnTo>
                    <a:lnTo>
                      <a:pt x="50"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4" y="82"/>
                    </a:lnTo>
                    <a:lnTo>
                      <a:pt x="74" y="82"/>
                    </a:lnTo>
                    <a:lnTo>
                      <a:pt x="66" y="86"/>
                    </a:lnTo>
                    <a:lnTo>
                      <a:pt x="58" y="90"/>
                    </a:lnTo>
                    <a:lnTo>
                      <a:pt x="58" y="90"/>
                    </a:lnTo>
                    <a:lnTo>
                      <a:pt x="48" y="92"/>
                    </a:lnTo>
                    <a:lnTo>
                      <a:pt x="48" y="92"/>
                    </a:lnTo>
                    <a:lnTo>
                      <a:pt x="44" y="90"/>
                    </a:lnTo>
                    <a:lnTo>
                      <a:pt x="40" y="86"/>
                    </a:lnTo>
                    <a:lnTo>
                      <a:pt x="40" y="86"/>
                    </a:lnTo>
                    <a:lnTo>
                      <a:pt x="38" y="84"/>
                    </a:lnTo>
                    <a:lnTo>
                      <a:pt x="38" y="80"/>
                    </a:lnTo>
                    <a:lnTo>
                      <a:pt x="38" y="80"/>
                    </a:lnTo>
                    <a:lnTo>
                      <a:pt x="42" y="72"/>
                    </a:lnTo>
                    <a:lnTo>
                      <a:pt x="42" y="72"/>
                    </a:lnTo>
                    <a:lnTo>
                      <a:pt x="46" y="66"/>
                    </a:lnTo>
                    <a:lnTo>
                      <a:pt x="46" y="66"/>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4" name="Freeform 869"/>
              <p:cNvSpPr>
                <a:spLocks/>
              </p:cNvSpPr>
              <p:nvPr/>
            </p:nvSpPr>
            <p:spPr bwMode="auto">
              <a:xfrm>
                <a:off x="2914" y="600"/>
                <a:ext cx="188" cy="146"/>
              </a:xfrm>
              <a:custGeom>
                <a:avLst/>
                <a:gdLst>
                  <a:gd name="T0" fmla="*/ 106 w 188"/>
                  <a:gd name="T1" fmla="*/ 2 h 146"/>
                  <a:gd name="T2" fmla="*/ 84 w 188"/>
                  <a:gd name="T3" fmla="*/ 12 h 146"/>
                  <a:gd name="T4" fmla="*/ 76 w 188"/>
                  <a:gd name="T5" fmla="*/ 20 h 146"/>
                  <a:gd name="T6" fmla="*/ 70 w 188"/>
                  <a:gd name="T7" fmla="*/ 24 h 146"/>
                  <a:gd name="T8" fmla="*/ 54 w 188"/>
                  <a:gd name="T9" fmla="*/ 32 h 146"/>
                  <a:gd name="T10" fmla="*/ 32 w 188"/>
                  <a:gd name="T11" fmla="*/ 40 h 146"/>
                  <a:gd name="T12" fmla="*/ 18 w 188"/>
                  <a:gd name="T13" fmla="*/ 56 h 146"/>
                  <a:gd name="T14" fmla="*/ 8 w 188"/>
                  <a:gd name="T15" fmla="*/ 64 h 146"/>
                  <a:gd name="T16" fmla="*/ 10 w 188"/>
                  <a:gd name="T17" fmla="*/ 56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8 h 146"/>
                  <a:gd name="T34" fmla="*/ 6 w 188"/>
                  <a:gd name="T35" fmla="*/ 118 h 146"/>
                  <a:gd name="T36" fmla="*/ 16 w 188"/>
                  <a:gd name="T37" fmla="*/ 124 h 146"/>
                  <a:gd name="T38" fmla="*/ 20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2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6 h 146"/>
                  <a:gd name="T92" fmla="*/ 174 w 188"/>
                  <a:gd name="T93" fmla="*/ 24 h 146"/>
                  <a:gd name="T94" fmla="*/ 166 w 188"/>
                  <a:gd name="T95" fmla="*/ 32 h 146"/>
                  <a:gd name="T96" fmla="*/ 164 w 188"/>
                  <a:gd name="T97" fmla="*/ 34 h 146"/>
                  <a:gd name="T98" fmla="*/ 156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8"/>
                    </a:lnTo>
                    <a:lnTo>
                      <a:pt x="2" y="112"/>
                    </a:lnTo>
                    <a:lnTo>
                      <a:pt x="2" y="112"/>
                    </a:lnTo>
                    <a:lnTo>
                      <a:pt x="6" y="118"/>
                    </a:lnTo>
                    <a:lnTo>
                      <a:pt x="10" y="122"/>
                    </a:lnTo>
                    <a:lnTo>
                      <a:pt x="10" y="122"/>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6"/>
                    </a:lnTo>
                    <a:lnTo>
                      <a:pt x="88" y="142"/>
                    </a:lnTo>
                    <a:lnTo>
                      <a:pt x="88" y="142"/>
                    </a:lnTo>
                    <a:lnTo>
                      <a:pt x="98" y="134"/>
                    </a:lnTo>
                    <a:lnTo>
                      <a:pt x="98"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4" y="86"/>
                    </a:lnTo>
                    <a:lnTo>
                      <a:pt x="180" y="80"/>
                    </a:lnTo>
                    <a:lnTo>
                      <a:pt x="186" y="72"/>
                    </a:lnTo>
                    <a:lnTo>
                      <a:pt x="186" y="72"/>
                    </a:lnTo>
                    <a:lnTo>
                      <a:pt x="188" y="60"/>
                    </a:lnTo>
                    <a:lnTo>
                      <a:pt x="188" y="46"/>
                    </a:lnTo>
                    <a:lnTo>
                      <a:pt x="188" y="46"/>
                    </a:lnTo>
                    <a:lnTo>
                      <a:pt x="186" y="38"/>
                    </a:lnTo>
                    <a:lnTo>
                      <a:pt x="182" y="28"/>
                    </a:lnTo>
                    <a:lnTo>
                      <a:pt x="182" y="28"/>
                    </a:lnTo>
                    <a:lnTo>
                      <a:pt x="180" y="26"/>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5" name="Freeform 870"/>
              <p:cNvSpPr>
                <a:spLocks/>
              </p:cNvSpPr>
              <p:nvPr/>
            </p:nvSpPr>
            <p:spPr bwMode="auto">
              <a:xfrm>
                <a:off x="2920" y="700"/>
                <a:ext cx="18" cy="22"/>
              </a:xfrm>
              <a:custGeom>
                <a:avLst/>
                <a:gdLst>
                  <a:gd name="T0" fmla="*/ 8 w 18"/>
                  <a:gd name="T1" fmla="*/ 0 h 22"/>
                  <a:gd name="T2" fmla="*/ 8 w 18"/>
                  <a:gd name="T3" fmla="*/ 0 h 22"/>
                  <a:gd name="T4" fmla="*/ 2 w 18"/>
                  <a:gd name="T5" fmla="*/ 4 h 22"/>
                  <a:gd name="T6" fmla="*/ 2 w 18"/>
                  <a:gd name="T7" fmla="*/ 4 h 22"/>
                  <a:gd name="T8" fmla="*/ 2 w 18"/>
                  <a:gd name="T9" fmla="*/ 6 h 22"/>
                  <a:gd name="T10" fmla="*/ 2 w 18"/>
                  <a:gd name="T11" fmla="*/ 6 h 22"/>
                  <a:gd name="T12" fmla="*/ 0 w 18"/>
                  <a:gd name="T13" fmla="*/ 10 h 22"/>
                  <a:gd name="T14" fmla="*/ 0 w 18"/>
                  <a:gd name="T15" fmla="*/ 10 h 22"/>
                  <a:gd name="T16" fmla="*/ 0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2 h 22"/>
                  <a:gd name="T36" fmla="*/ 16 w 18"/>
                  <a:gd name="T37" fmla="*/ 18 h 22"/>
                  <a:gd name="T38" fmla="*/ 16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6"/>
                    </a:lnTo>
                    <a:lnTo>
                      <a:pt x="2" y="6"/>
                    </a:lnTo>
                    <a:lnTo>
                      <a:pt x="0" y="10"/>
                    </a:lnTo>
                    <a:lnTo>
                      <a:pt x="0" y="10"/>
                    </a:lnTo>
                    <a:lnTo>
                      <a:pt x="0" y="14"/>
                    </a:lnTo>
                    <a:lnTo>
                      <a:pt x="4" y="18"/>
                    </a:lnTo>
                    <a:lnTo>
                      <a:pt x="8" y="20"/>
                    </a:lnTo>
                    <a:lnTo>
                      <a:pt x="12" y="22"/>
                    </a:lnTo>
                    <a:lnTo>
                      <a:pt x="12" y="22"/>
                    </a:lnTo>
                    <a:lnTo>
                      <a:pt x="14" y="22"/>
                    </a:lnTo>
                    <a:lnTo>
                      <a:pt x="14" y="22"/>
                    </a:lnTo>
                    <a:lnTo>
                      <a:pt x="14" y="22"/>
                    </a:lnTo>
                    <a:lnTo>
                      <a:pt x="14" y="22"/>
                    </a:lnTo>
                    <a:lnTo>
                      <a:pt x="18"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6" name="Freeform 871"/>
              <p:cNvSpPr>
                <a:spLocks/>
              </p:cNvSpPr>
              <p:nvPr/>
            </p:nvSpPr>
            <p:spPr bwMode="auto">
              <a:xfrm>
                <a:off x="2920" y="700"/>
                <a:ext cx="18" cy="22"/>
              </a:xfrm>
              <a:custGeom>
                <a:avLst/>
                <a:gdLst>
                  <a:gd name="T0" fmla="*/ 8 w 18"/>
                  <a:gd name="T1" fmla="*/ 0 h 22"/>
                  <a:gd name="T2" fmla="*/ 8 w 18"/>
                  <a:gd name="T3" fmla="*/ 0 h 22"/>
                  <a:gd name="T4" fmla="*/ 2 w 18"/>
                  <a:gd name="T5" fmla="*/ 4 h 22"/>
                  <a:gd name="T6" fmla="*/ 2 w 18"/>
                  <a:gd name="T7" fmla="*/ 4 h 22"/>
                  <a:gd name="T8" fmla="*/ 2 w 18"/>
                  <a:gd name="T9" fmla="*/ 6 h 22"/>
                  <a:gd name="T10" fmla="*/ 2 w 18"/>
                  <a:gd name="T11" fmla="*/ 6 h 22"/>
                  <a:gd name="T12" fmla="*/ 0 w 18"/>
                  <a:gd name="T13" fmla="*/ 10 h 22"/>
                  <a:gd name="T14" fmla="*/ 0 w 18"/>
                  <a:gd name="T15" fmla="*/ 10 h 22"/>
                  <a:gd name="T16" fmla="*/ 0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2 h 22"/>
                  <a:gd name="T36" fmla="*/ 16 w 18"/>
                  <a:gd name="T37" fmla="*/ 18 h 22"/>
                  <a:gd name="T38" fmla="*/ 16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6"/>
                    </a:lnTo>
                    <a:lnTo>
                      <a:pt x="2" y="6"/>
                    </a:lnTo>
                    <a:lnTo>
                      <a:pt x="0" y="10"/>
                    </a:lnTo>
                    <a:lnTo>
                      <a:pt x="0" y="10"/>
                    </a:lnTo>
                    <a:lnTo>
                      <a:pt x="0" y="14"/>
                    </a:lnTo>
                    <a:lnTo>
                      <a:pt x="4" y="18"/>
                    </a:lnTo>
                    <a:lnTo>
                      <a:pt x="8" y="20"/>
                    </a:lnTo>
                    <a:lnTo>
                      <a:pt x="12" y="22"/>
                    </a:lnTo>
                    <a:lnTo>
                      <a:pt x="12" y="22"/>
                    </a:lnTo>
                    <a:lnTo>
                      <a:pt x="14" y="22"/>
                    </a:lnTo>
                    <a:lnTo>
                      <a:pt x="14" y="22"/>
                    </a:lnTo>
                    <a:lnTo>
                      <a:pt x="14" y="22"/>
                    </a:lnTo>
                    <a:lnTo>
                      <a:pt x="14" y="22"/>
                    </a:lnTo>
                    <a:lnTo>
                      <a:pt x="18"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7" name="Freeform 872"/>
              <p:cNvSpPr>
                <a:spLocks/>
              </p:cNvSpPr>
              <p:nvPr/>
            </p:nvSpPr>
            <p:spPr bwMode="auto">
              <a:xfrm>
                <a:off x="2922" y="700"/>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8 h 22"/>
                  <a:gd name="T14" fmla="*/ 14 w 16"/>
                  <a:gd name="T15" fmla="*/ 18 h 22"/>
                  <a:gd name="T16" fmla="*/ 16 w 16"/>
                  <a:gd name="T17" fmla="*/ 22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2 h 22"/>
                  <a:gd name="T40" fmla="*/ 16 w 16"/>
                  <a:gd name="T41" fmla="*/ 18 h 22"/>
                  <a:gd name="T42" fmla="*/ 16 w 16"/>
                  <a:gd name="T43" fmla="*/ 18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8"/>
                    </a:lnTo>
                    <a:lnTo>
                      <a:pt x="14" y="18"/>
                    </a:lnTo>
                    <a:lnTo>
                      <a:pt x="16" y="22"/>
                    </a:lnTo>
                    <a:lnTo>
                      <a:pt x="12" y="22"/>
                    </a:lnTo>
                    <a:lnTo>
                      <a:pt x="12" y="22"/>
                    </a:lnTo>
                    <a:lnTo>
                      <a:pt x="12" y="22"/>
                    </a:lnTo>
                    <a:lnTo>
                      <a:pt x="12" y="22"/>
                    </a:lnTo>
                    <a:lnTo>
                      <a:pt x="10" y="22"/>
                    </a:lnTo>
                    <a:lnTo>
                      <a:pt x="10" y="22"/>
                    </a:lnTo>
                    <a:lnTo>
                      <a:pt x="12" y="22"/>
                    </a:lnTo>
                    <a:lnTo>
                      <a:pt x="12" y="22"/>
                    </a:lnTo>
                    <a:lnTo>
                      <a:pt x="12" y="22"/>
                    </a:lnTo>
                    <a:lnTo>
                      <a:pt x="12" y="22"/>
                    </a:lnTo>
                    <a:lnTo>
                      <a:pt x="16" y="22"/>
                    </a:lnTo>
                    <a:lnTo>
                      <a:pt x="16" y="18"/>
                    </a:lnTo>
                    <a:lnTo>
                      <a:pt x="16"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8" name="Freeform 873"/>
              <p:cNvSpPr>
                <a:spLocks/>
              </p:cNvSpPr>
              <p:nvPr/>
            </p:nvSpPr>
            <p:spPr bwMode="auto">
              <a:xfrm>
                <a:off x="2922" y="700"/>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8 h 22"/>
                  <a:gd name="T14" fmla="*/ 14 w 16"/>
                  <a:gd name="T15" fmla="*/ 18 h 22"/>
                  <a:gd name="T16" fmla="*/ 16 w 16"/>
                  <a:gd name="T17" fmla="*/ 22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2 h 22"/>
                  <a:gd name="T40" fmla="*/ 16 w 16"/>
                  <a:gd name="T41" fmla="*/ 18 h 22"/>
                  <a:gd name="T42" fmla="*/ 16 w 16"/>
                  <a:gd name="T43" fmla="*/ 18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8"/>
                    </a:lnTo>
                    <a:lnTo>
                      <a:pt x="14" y="18"/>
                    </a:lnTo>
                    <a:lnTo>
                      <a:pt x="16" y="22"/>
                    </a:lnTo>
                    <a:lnTo>
                      <a:pt x="12" y="22"/>
                    </a:lnTo>
                    <a:lnTo>
                      <a:pt x="12" y="22"/>
                    </a:lnTo>
                    <a:lnTo>
                      <a:pt x="12" y="22"/>
                    </a:lnTo>
                    <a:lnTo>
                      <a:pt x="12" y="22"/>
                    </a:lnTo>
                    <a:lnTo>
                      <a:pt x="10" y="22"/>
                    </a:lnTo>
                    <a:lnTo>
                      <a:pt x="10" y="22"/>
                    </a:lnTo>
                    <a:lnTo>
                      <a:pt x="12" y="22"/>
                    </a:lnTo>
                    <a:lnTo>
                      <a:pt x="12" y="22"/>
                    </a:lnTo>
                    <a:lnTo>
                      <a:pt x="12" y="22"/>
                    </a:lnTo>
                    <a:lnTo>
                      <a:pt x="12" y="22"/>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9" name="Freeform 874"/>
              <p:cNvSpPr>
                <a:spLocks/>
              </p:cNvSpPr>
              <p:nvPr/>
            </p:nvSpPr>
            <p:spPr bwMode="auto">
              <a:xfrm>
                <a:off x="3018" y="704"/>
                <a:ext cx="16" cy="26"/>
              </a:xfrm>
              <a:custGeom>
                <a:avLst/>
                <a:gdLst>
                  <a:gd name="T0" fmla="*/ 14 w 16"/>
                  <a:gd name="T1" fmla="*/ 0 h 26"/>
                  <a:gd name="T2" fmla="*/ 14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6"/>
                    </a:lnTo>
                    <a:lnTo>
                      <a:pt x="10" y="6"/>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0" name="Freeform 875"/>
              <p:cNvSpPr>
                <a:spLocks/>
              </p:cNvSpPr>
              <p:nvPr/>
            </p:nvSpPr>
            <p:spPr bwMode="auto">
              <a:xfrm>
                <a:off x="3018" y="704"/>
                <a:ext cx="16" cy="26"/>
              </a:xfrm>
              <a:custGeom>
                <a:avLst/>
                <a:gdLst>
                  <a:gd name="T0" fmla="*/ 14 w 16"/>
                  <a:gd name="T1" fmla="*/ 0 h 26"/>
                  <a:gd name="T2" fmla="*/ 14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6"/>
                    </a:lnTo>
                    <a:lnTo>
                      <a:pt x="10" y="6"/>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1" name="Freeform 876"/>
              <p:cNvSpPr>
                <a:spLocks noEditPoints="1"/>
              </p:cNvSpPr>
              <p:nvPr/>
            </p:nvSpPr>
            <p:spPr bwMode="auto">
              <a:xfrm>
                <a:off x="3018" y="704"/>
                <a:ext cx="14" cy="26"/>
              </a:xfrm>
              <a:custGeom>
                <a:avLst/>
                <a:gdLst>
                  <a:gd name="T0" fmla="*/ 6 w 14"/>
                  <a:gd name="T1" fmla="*/ 26 h 26"/>
                  <a:gd name="T2" fmla="*/ 6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6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6 h 26"/>
                  <a:gd name="T36" fmla="*/ 10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6" y="26"/>
                    </a:moveTo>
                    <a:lnTo>
                      <a:pt x="6" y="26"/>
                    </a:lnTo>
                    <a:lnTo>
                      <a:pt x="10" y="26"/>
                    </a:lnTo>
                    <a:lnTo>
                      <a:pt x="10" y="26"/>
                    </a:lnTo>
                    <a:lnTo>
                      <a:pt x="10" y="26"/>
                    </a:lnTo>
                    <a:lnTo>
                      <a:pt x="10" y="26"/>
                    </a:lnTo>
                    <a:lnTo>
                      <a:pt x="10" y="26"/>
                    </a:lnTo>
                    <a:lnTo>
                      <a:pt x="10" y="26"/>
                    </a:lnTo>
                    <a:lnTo>
                      <a:pt x="6" y="26"/>
                    </a:lnTo>
                    <a:close/>
                    <a:moveTo>
                      <a:pt x="0" y="26"/>
                    </a:moveTo>
                    <a:lnTo>
                      <a:pt x="0" y="26"/>
                    </a:lnTo>
                    <a:lnTo>
                      <a:pt x="0" y="26"/>
                    </a:lnTo>
                    <a:lnTo>
                      <a:pt x="0" y="26"/>
                    </a:lnTo>
                    <a:lnTo>
                      <a:pt x="0" y="26"/>
                    </a:lnTo>
                    <a:lnTo>
                      <a:pt x="0" y="26"/>
                    </a:lnTo>
                    <a:close/>
                    <a:moveTo>
                      <a:pt x="14" y="0"/>
                    </a:moveTo>
                    <a:lnTo>
                      <a:pt x="14" y="0"/>
                    </a:lnTo>
                    <a:lnTo>
                      <a:pt x="10" y="6"/>
                    </a:lnTo>
                    <a:lnTo>
                      <a:pt x="10" y="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2" name="Freeform 877"/>
              <p:cNvSpPr>
                <a:spLocks/>
              </p:cNvSpPr>
              <p:nvPr/>
            </p:nvSpPr>
            <p:spPr bwMode="auto">
              <a:xfrm>
                <a:off x="3024" y="730"/>
                <a:ext cx="4" cy="0"/>
              </a:xfrm>
              <a:custGeom>
                <a:avLst/>
                <a:gdLst>
                  <a:gd name="T0" fmla="*/ 0 w 4"/>
                  <a:gd name="T1" fmla="*/ 0 w 4"/>
                  <a:gd name="T2" fmla="*/ 4 w 4"/>
                  <a:gd name="T3" fmla="*/ 4 w 4"/>
                  <a:gd name="T4" fmla="*/ 4 w 4"/>
                  <a:gd name="T5" fmla="*/ 4 w 4"/>
                  <a:gd name="T6" fmla="*/ 4 w 4"/>
                  <a:gd name="T7" fmla="*/ 4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3" name="Freeform 878"/>
              <p:cNvSpPr>
                <a:spLocks/>
              </p:cNvSpPr>
              <p:nvPr/>
            </p:nvSpPr>
            <p:spPr bwMode="auto">
              <a:xfrm>
                <a:off x="3018" y="73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4" name="Freeform 879"/>
              <p:cNvSpPr>
                <a:spLocks/>
              </p:cNvSpPr>
              <p:nvPr/>
            </p:nvSpPr>
            <p:spPr bwMode="auto">
              <a:xfrm>
                <a:off x="3028" y="704"/>
                <a:ext cx="4" cy="6"/>
              </a:xfrm>
              <a:custGeom>
                <a:avLst/>
                <a:gdLst>
                  <a:gd name="T0" fmla="*/ 4 w 4"/>
                  <a:gd name="T1" fmla="*/ 0 h 6"/>
                  <a:gd name="T2" fmla="*/ 4 w 4"/>
                  <a:gd name="T3" fmla="*/ 0 h 6"/>
                  <a:gd name="T4" fmla="*/ 0 w 4"/>
                  <a:gd name="T5" fmla="*/ 6 h 6"/>
                  <a:gd name="T6" fmla="*/ 0 w 4"/>
                  <a:gd name="T7" fmla="*/ 6 h 6"/>
                  <a:gd name="T8" fmla="*/ 4 w 4"/>
                  <a:gd name="T9" fmla="*/ 0 h 6"/>
                  <a:gd name="T10" fmla="*/ 4 w 4"/>
                  <a:gd name="T11" fmla="*/ 0 h 6"/>
                  <a:gd name="T12" fmla="*/ 4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0"/>
                    </a:moveTo>
                    <a:lnTo>
                      <a:pt x="4" y="0"/>
                    </a:lnTo>
                    <a:lnTo>
                      <a:pt x="0" y="6"/>
                    </a:lnTo>
                    <a:lnTo>
                      <a:pt x="0" y="6"/>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5" name="Freeform 880"/>
              <p:cNvSpPr>
                <a:spLocks/>
              </p:cNvSpPr>
              <p:nvPr/>
            </p:nvSpPr>
            <p:spPr bwMode="auto">
              <a:xfrm>
                <a:off x="2916"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18 h 20"/>
                  <a:gd name="T16" fmla="*/ 4 w 12"/>
                  <a:gd name="T17" fmla="*/ 18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0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4 w 12"/>
                  <a:gd name="T45" fmla="*/ 16 h 20"/>
                  <a:gd name="T46" fmla="*/ 4 w 12"/>
                  <a:gd name="T47" fmla="*/ 16 h 20"/>
                  <a:gd name="T48" fmla="*/ 4 w 12"/>
                  <a:gd name="T49" fmla="*/ 16 h 20"/>
                  <a:gd name="T50" fmla="*/ 4 w 12"/>
                  <a:gd name="T51" fmla="*/ 16 h 20"/>
                  <a:gd name="T52" fmla="*/ 4 w 12"/>
                  <a:gd name="T53" fmla="*/ 16 h 20"/>
                  <a:gd name="T54" fmla="*/ 4 w 12"/>
                  <a:gd name="T55" fmla="*/ 16 h 20"/>
                  <a:gd name="T56" fmla="*/ 4 w 12"/>
                  <a:gd name="T57" fmla="*/ 12 h 20"/>
                  <a:gd name="T58" fmla="*/ 4 w 12"/>
                  <a:gd name="T59" fmla="*/ 12 h 20"/>
                  <a:gd name="T60" fmla="*/ 6 w 12"/>
                  <a:gd name="T61" fmla="*/ 2 h 20"/>
                  <a:gd name="T62" fmla="*/ 6 w 12"/>
                  <a:gd name="T63" fmla="*/ 2 h 20"/>
                  <a:gd name="T64" fmla="*/ 6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6" y="0"/>
                    </a:moveTo>
                    <a:lnTo>
                      <a:pt x="6" y="0"/>
                    </a:lnTo>
                    <a:lnTo>
                      <a:pt x="6" y="0"/>
                    </a:lnTo>
                    <a:lnTo>
                      <a:pt x="6" y="0"/>
                    </a:lnTo>
                    <a:lnTo>
                      <a:pt x="0" y="6"/>
                    </a:lnTo>
                    <a:lnTo>
                      <a:pt x="0" y="6"/>
                    </a:lnTo>
                    <a:lnTo>
                      <a:pt x="0" y="12"/>
                    </a:lnTo>
                    <a:lnTo>
                      <a:pt x="4" y="18"/>
                    </a:lnTo>
                    <a:lnTo>
                      <a:pt x="4" y="18"/>
                    </a:lnTo>
                    <a:lnTo>
                      <a:pt x="4" y="20"/>
                    </a:lnTo>
                    <a:lnTo>
                      <a:pt x="4" y="20"/>
                    </a:lnTo>
                    <a:lnTo>
                      <a:pt x="6" y="20"/>
                    </a:lnTo>
                    <a:lnTo>
                      <a:pt x="6" y="20"/>
                    </a:lnTo>
                    <a:lnTo>
                      <a:pt x="10" y="18"/>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6"/>
                    </a:lnTo>
                    <a:lnTo>
                      <a:pt x="4" y="16"/>
                    </a:lnTo>
                    <a:lnTo>
                      <a:pt x="4" y="12"/>
                    </a:lnTo>
                    <a:lnTo>
                      <a:pt x="4"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6" name="Freeform 881"/>
              <p:cNvSpPr>
                <a:spLocks/>
              </p:cNvSpPr>
              <p:nvPr/>
            </p:nvSpPr>
            <p:spPr bwMode="auto">
              <a:xfrm>
                <a:off x="2916"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18 h 20"/>
                  <a:gd name="T16" fmla="*/ 4 w 12"/>
                  <a:gd name="T17" fmla="*/ 18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0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4 w 12"/>
                  <a:gd name="T45" fmla="*/ 16 h 20"/>
                  <a:gd name="T46" fmla="*/ 4 w 12"/>
                  <a:gd name="T47" fmla="*/ 16 h 20"/>
                  <a:gd name="T48" fmla="*/ 4 w 12"/>
                  <a:gd name="T49" fmla="*/ 16 h 20"/>
                  <a:gd name="T50" fmla="*/ 4 w 12"/>
                  <a:gd name="T51" fmla="*/ 16 h 20"/>
                  <a:gd name="T52" fmla="*/ 4 w 12"/>
                  <a:gd name="T53" fmla="*/ 16 h 20"/>
                  <a:gd name="T54" fmla="*/ 4 w 12"/>
                  <a:gd name="T55" fmla="*/ 16 h 20"/>
                  <a:gd name="T56" fmla="*/ 4 w 12"/>
                  <a:gd name="T57" fmla="*/ 12 h 20"/>
                  <a:gd name="T58" fmla="*/ 4 w 12"/>
                  <a:gd name="T59" fmla="*/ 12 h 20"/>
                  <a:gd name="T60" fmla="*/ 6 w 12"/>
                  <a:gd name="T61" fmla="*/ 2 h 20"/>
                  <a:gd name="T62" fmla="*/ 6 w 12"/>
                  <a:gd name="T63" fmla="*/ 2 h 20"/>
                  <a:gd name="T64" fmla="*/ 6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6" y="0"/>
                    </a:moveTo>
                    <a:lnTo>
                      <a:pt x="6" y="0"/>
                    </a:lnTo>
                    <a:lnTo>
                      <a:pt x="6" y="0"/>
                    </a:lnTo>
                    <a:lnTo>
                      <a:pt x="6" y="0"/>
                    </a:lnTo>
                    <a:lnTo>
                      <a:pt x="0" y="6"/>
                    </a:lnTo>
                    <a:lnTo>
                      <a:pt x="0" y="6"/>
                    </a:lnTo>
                    <a:lnTo>
                      <a:pt x="0" y="12"/>
                    </a:lnTo>
                    <a:lnTo>
                      <a:pt x="4" y="18"/>
                    </a:lnTo>
                    <a:lnTo>
                      <a:pt x="4" y="18"/>
                    </a:lnTo>
                    <a:lnTo>
                      <a:pt x="4" y="20"/>
                    </a:lnTo>
                    <a:lnTo>
                      <a:pt x="4" y="20"/>
                    </a:lnTo>
                    <a:lnTo>
                      <a:pt x="6" y="20"/>
                    </a:lnTo>
                    <a:lnTo>
                      <a:pt x="6" y="20"/>
                    </a:lnTo>
                    <a:lnTo>
                      <a:pt x="10" y="18"/>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6"/>
                    </a:lnTo>
                    <a:lnTo>
                      <a:pt x="4" y="16"/>
                    </a:lnTo>
                    <a:lnTo>
                      <a:pt x="4" y="12"/>
                    </a:lnTo>
                    <a:lnTo>
                      <a:pt x="4"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7" name="Freeform 882"/>
              <p:cNvSpPr>
                <a:spLocks noEditPoints="1"/>
              </p:cNvSpPr>
              <p:nvPr/>
            </p:nvSpPr>
            <p:spPr bwMode="auto">
              <a:xfrm>
                <a:off x="2920" y="650"/>
                <a:ext cx="8" cy="20"/>
              </a:xfrm>
              <a:custGeom>
                <a:avLst/>
                <a:gdLst>
                  <a:gd name="T0" fmla="*/ 0 w 8"/>
                  <a:gd name="T1" fmla="*/ 18 h 20"/>
                  <a:gd name="T2" fmla="*/ 0 w 8"/>
                  <a:gd name="T3" fmla="*/ 18 h 20"/>
                  <a:gd name="T4" fmla="*/ 0 w 8"/>
                  <a:gd name="T5" fmla="*/ 20 h 20"/>
                  <a:gd name="T6" fmla="*/ 0 w 8"/>
                  <a:gd name="T7" fmla="*/ 20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20 h 20"/>
                  <a:gd name="T22" fmla="*/ 0 w 8"/>
                  <a:gd name="T23" fmla="*/ 20 h 20"/>
                  <a:gd name="T24" fmla="*/ 0 w 8"/>
                  <a:gd name="T25" fmla="*/ 18 h 20"/>
                  <a:gd name="T26" fmla="*/ 0 w 8"/>
                  <a:gd name="T27" fmla="*/ 16 h 20"/>
                  <a:gd name="T28" fmla="*/ 0 w 8"/>
                  <a:gd name="T29" fmla="*/ 16 h 20"/>
                  <a:gd name="T30" fmla="*/ 0 w 8"/>
                  <a:gd name="T31" fmla="*/ 16 h 20"/>
                  <a:gd name="T32" fmla="*/ 0 w 8"/>
                  <a:gd name="T33" fmla="*/ 16 h 20"/>
                  <a:gd name="T34" fmla="*/ 0 w 8"/>
                  <a:gd name="T35" fmla="*/ 16 h 20"/>
                  <a:gd name="T36" fmla="*/ 0 w 8"/>
                  <a:gd name="T37" fmla="*/ 16 h 20"/>
                  <a:gd name="T38" fmla="*/ 0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0 w 8"/>
                  <a:gd name="T63" fmla="*/ 16 h 20"/>
                  <a:gd name="T64" fmla="*/ 0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0" y="20"/>
                    </a:lnTo>
                    <a:lnTo>
                      <a:pt x="0" y="20"/>
                    </a:lnTo>
                    <a:lnTo>
                      <a:pt x="2" y="20"/>
                    </a:lnTo>
                    <a:lnTo>
                      <a:pt x="2" y="20"/>
                    </a:lnTo>
                    <a:lnTo>
                      <a:pt x="6" y="18"/>
                    </a:lnTo>
                    <a:lnTo>
                      <a:pt x="6" y="18"/>
                    </a:lnTo>
                    <a:lnTo>
                      <a:pt x="2" y="20"/>
                    </a:lnTo>
                    <a:lnTo>
                      <a:pt x="2" y="20"/>
                    </a:lnTo>
                    <a:lnTo>
                      <a:pt x="0" y="20"/>
                    </a:lnTo>
                    <a:lnTo>
                      <a:pt x="0" y="20"/>
                    </a:lnTo>
                    <a:lnTo>
                      <a:pt x="0" y="18"/>
                    </a:lnTo>
                    <a:close/>
                    <a:moveTo>
                      <a:pt x="0" y="16"/>
                    </a:moveTo>
                    <a:lnTo>
                      <a:pt x="0" y="16"/>
                    </a:lnTo>
                    <a:lnTo>
                      <a:pt x="0" y="16"/>
                    </a:lnTo>
                    <a:lnTo>
                      <a:pt x="0" y="16"/>
                    </a:lnTo>
                    <a:lnTo>
                      <a:pt x="0" y="16"/>
                    </a:lnTo>
                    <a:lnTo>
                      <a:pt x="0" y="16"/>
                    </a:lnTo>
                    <a:lnTo>
                      <a:pt x="0"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0" y="16"/>
                    </a:lnTo>
                    <a:lnTo>
                      <a:pt x="0" y="16"/>
                    </a:lnTo>
                    <a:lnTo>
                      <a:pt x="0" y="12"/>
                    </a:lnTo>
                    <a:lnTo>
                      <a:pt x="0" y="12"/>
                    </a:lnTo>
                    <a:lnTo>
                      <a:pt x="2" y="2"/>
                    </a:lnTo>
                    <a:close/>
                    <a:moveTo>
                      <a:pt x="4" y="0"/>
                    </a:moveTo>
                    <a:lnTo>
                      <a:pt x="4" y="0"/>
                    </a:lnTo>
                    <a:lnTo>
                      <a:pt x="2" y="0"/>
                    </a:lnTo>
                    <a:lnTo>
                      <a:pt x="2" y="0"/>
                    </a:lnTo>
                    <a:lnTo>
                      <a:pt x="2" y="0"/>
                    </a:lnTo>
                    <a:lnTo>
                      <a:pt x="2" y="0"/>
                    </a:lnTo>
                    <a:lnTo>
                      <a:pt x="2" y="0"/>
                    </a:lnTo>
                    <a:lnTo>
                      <a:pt x="2"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8" name="Freeform 883"/>
              <p:cNvSpPr>
                <a:spLocks/>
              </p:cNvSpPr>
              <p:nvPr/>
            </p:nvSpPr>
            <p:spPr bwMode="auto">
              <a:xfrm>
                <a:off x="2920" y="668"/>
                <a:ext cx="6" cy="2"/>
              </a:xfrm>
              <a:custGeom>
                <a:avLst/>
                <a:gdLst>
                  <a:gd name="T0" fmla="*/ 0 w 6"/>
                  <a:gd name="T1" fmla="*/ 0 h 2"/>
                  <a:gd name="T2" fmla="*/ 0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2 h 2"/>
                  <a:gd name="T22" fmla="*/ 0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2"/>
                    </a:lnTo>
                    <a:lnTo>
                      <a:pt x="0" y="2"/>
                    </a:lnTo>
                    <a:lnTo>
                      <a:pt x="2" y="2"/>
                    </a:lnTo>
                    <a:lnTo>
                      <a:pt x="2" y="2"/>
                    </a:lnTo>
                    <a:lnTo>
                      <a:pt x="6" y="0"/>
                    </a:lnTo>
                    <a:lnTo>
                      <a:pt x="6" y="0"/>
                    </a:lnTo>
                    <a:lnTo>
                      <a:pt x="2" y="2"/>
                    </a:lnTo>
                    <a:lnTo>
                      <a:pt x="2"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9" name="Freeform 884"/>
              <p:cNvSpPr>
                <a:spLocks/>
              </p:cNvSpPr>
              <p:nvPr/>
            </p:nvSpPr>
            <p:spPr bwMode="auto">
              <a:xfrm>
                <a:off x="2920" y="66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0" name="Freeform 885"/>
              <p:cNvSpPr>
                <a:spLocks/>
              </p:cNvSpPr>
              <p:nvPr/>
            </p:nvSpPr>
            <p:spPr bwMode="auto">
              <a:xfrm>
                <a:off x="2926" y="664"/>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1" name="Freeform 886"/>
              <p:cNvSpPr>
                <a:spLocks/>
              </p:cNvSpPr>
              <p:nvPr/>
            </p:nvSpPr>
            <p:spPr bwMode="auto">
              <a:xfrm>
                <a:off x="2920" y="652"/>
                <a:ext cx="2" cy="14"/>
              </a:xfrm>
              <a:custGeom>
                <a:avLst/>
                <a:gdLst>
                  <a:gd name="T0" fmla="*/ 2 w 2"/>
                  <a:gd name="T1" fmla="*/ 0 h 14"/>
                  <a:gd name="T2" fmla="*/ 2 w 2"/>
                  <a:gd name="T3" fmla="*/ 0 h 14"/>
                  <a:gd name="T4" fmla="*/ 0 w 2"/>
                  <a:gd name="T5" fmla="*/ 10 h 14"/>
                  <a:gd name="T6" fmla="*/ 0 w 2"/>
                  <a:gd name="T7" fmla="*/ 10 h 14"/>
                  <a:gd name="T8" fmla="*/ 0 w 2"/>
                  <a:gd name="T9" fmla="*/ 14 h 14"/>
                  <a:gd name="T10" fmla="*/ 0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0" y="14"/>
                    </a:lnTo>
                    <a:lnTo>
                      <a:pt x="0"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2" name="Freeform 887"/>
              <p:cNvSpPr>
                <a:spLocks/>
              </p:cNvSpPr>
              <p:nvPr/>
            </p:nvSpPr>
            <p:spPr bwMode="auto">
              <a:xfrm>
                <a:off x="2922" y="650"/>
                <a:ext cx="2" cy="0"/>
              </a:xfrm>
              <a:custGeom>
                <a:avLst/>
                <a:gdLst>
                  <a:gd name="T0" fmla="*/ 2 w 2"/>
                  <a:gd name="T1" fmla="*/ 2 w 2"/>
                  <a:gd name="T2" fmla="*/ 0 w 2"/>
                  <a:gd name="T3" fmla="*/ 0 w 2"/>
                  <a:gd name="T4" fmla="*/ 0 w 2"/>
                  <a:gd name="T5" fmla="*/ 0 w 2"/>
                  <a:gd name="T6" fmla="*/ 0 w 2"/>
                  <a:gd name="T7" fmla="*/ 0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3" name="Freeform 888"/>
              <p:cNvSpPr>
                <a:spLocks noEditPoints="1"/>
              </p:cNvSpPr>
              <p:nvPr/>
            </p:nvSpPr>
            <p:spPr bwMode="auto">
              <a:xfrm>
                <a:off x="3030" y="640"/>
                <a:ext cx="20" cy="12"/>
              </a:xfrm>
              <a:custGeom>
                <a:avLst/>
                <a:gdLst>
                  <a:gd name="T0" fmla="*/ 8 w 20"/>
                  <a:gd name="T1" fmla="*/ 6 h 12"/>
                  <a:gd name="T2" fmla="*/ 8 w 20"/>
                  <a:gd name="T3" fmla="*/ 6 h 12"/>
                  <a:gd name="T4" fmla="*/ 8 w 20"/>
                  <a:gd name="T5" fmla="*/ 6 h 12"/>
                  <a:gd name="T6" fmla="*/ 8 w 20"/>
                  <a:gd name="T7" fmla="*/ 6 h 12"/>
                  <a:gd name="T8" fmla="*/ 10 w 20"/>
                  <a:gd name="T9" fmla="*/ 6 h 12"/>
                  <a:gd name="T10" fmla="*/ 10 w 20"/>
                  <a:gd name="T11" fmla="*/ 6 h 12"/>
                  <a:gd name="T12" fmla="*/ 12 w 20"/>
                  <a:gd name="T13" fmla="*/ 8 h 12"/>
                  <a:gd name="T14" fmla="*/ 12 w 20"/>
                  <a:gd name="T15" fmla="*/ 8 h 12"/>
                  <a:gd name="T16" fmla="*/ 12 w 20"/>
                  <a:gd name="T17" fmla="*/ 8 h 12"/>
                  <a:gd name="T18" fmla="*/ 12 w 20"/>
                  <a:gd name="T19" fmla="*/ 8 h 12"/>
                  <a:gd name="T20" fmla="*/ 12 w 20"/>
                  <a:gd name="T21" fmla="*/ 8 h 12"/>
                  <a:gd name="T22" fmla="*/ 12 w 20"/>
                  <a:gd name="T23" fmla="*/ 8 h 12"/>
                  <a:gd name="T24" fmla="*/ 8 w 20"/>
                  <a:gd name="T25" fmla="*/ 10 h 12"/>
                  <a:gd name="T26" fmla="*/ 8 w 20"/>
                  <a:gd name="T27" fmla="*/ 10 h 12"/>
                  <a:gd name="T28" fmla="*/ 8 w 20"/>
                  <a:gd name="T29" fmla="*/ 10 h 12"/>
                  <a:gd name="T30" fmla="*/ 8 w 20"/>
                  <a:gd name="T31" fmla="*/ 10 h 12"/>
                  <a:gd name="T32" fmla="*/ 8 w 20"/>
                  <a:gd name="T33" fmla="*/ 10 h 12"/>
                  <a:gd name="T34" fmla="*/ 6 w 20"/>
                  <a:gd name="T35" fmla="*/ 8 h 12"/>
                  <a:gd name="T36" fmla="*/ 6 w 20"/>
                  <a:gd name="T37" fmla="*/ 8 h 12"/>
                  <a:gd name="T38" fmla="*/ 8 w 20"/>
                  <a:gd name="T39" fmla="*/ 6 h 12"/>
                  <a:gd name="T40" fmla="*/ 8 w 20"/>
                  <a:gd name="T41" fmla="*/ 6 h 12"/>
                  <a:gd name="T42" fmla="*/ 8 w 20"/>
                  <a:gd name="T43" fmla="*/ 6 h 12"/>
                  <a:gd name="T44" fmla="*/ 14 w 20"/>
                  <a:gd name="T45" fmla="*/ 0 h 12"/>
                  <a:gd name="T46" fmla="*/ 14 w 20"/>
                  <a:gd name="T47" fmla="*/ 0 h 12"/>
                  <a:gd name="T48" fmla="*/ 6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6"/>
                    </a:move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lnTo>
                      <a:pt x="8" y="10"/>
                    </a:lnTo>
                    <a:lnTo>
                      <a:pt x="6" y="8"/>
                    </a:lnTo>
                    <a:lnTo>
                      <a:pt x="6" y="8"/>
                    </a:lnTo>
                    <a:lnTo>
                      <a:pt x="8" y="6"/>
                    </a:lnTo>
                    <a:lnTo>
                      <a:pt x="8" y="6"/>
                    </a:lnTo>
                    <a:lnTo>
                      <a:pt x="8" y="6"/>
                    </a:lnTo>
                    <a:close/>
                    <a:moveTo>
                      <a:pt x="14" y="0"/>
                    </a:moveTo>
                    <a:lnTo>
                      <a:pt x="14" y="0"/>
                    </a:lnTo>
                    <a:lnTo>
                      <a:pt x="6"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4" name="Freeform 889"/>
              <p:cNvSpPr>
                <a:spLocks/>
              </p:cNvSpPr>
              <p:nvPr/>
            </p:nvSpPr>
            <p:spPr bwMode="auto">
              <a:xfrm>
                <a:off x="3036" y="646"/>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2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5" name="Freeform 890"/>
              <p:cNvSpPr>
                <a:spLocks/>
              </p:cNvSpPr>
              <p:nvPr/>
            </p:nvSpPr>
            <p:spPr bwMode="auto">
              <a:xfrm>
                <a:off x="3030" y="640"/>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6" name="Freeform 891"/>
              <p:cNvSpPr>
                <a:spLocks/>
              </p:cNvSpPr>
              <p:nvPr/>
            </p:nvSpPr>
            <p:spPr bwMode="auto">
              <a:xfrm>
                <a:off x="2984" y="628"/>
                <a:ext cx="22" cy="20"/>
              </a:xfrm>
              <a:custGeom>
                <a:avLst/>
                <a:gdLst>
                  <a:gd name="T0" fmla="*/ 16 w 22"/>
                  <a:gd name="T1" fmla="*/ 0 h 20"/>
                  <a:gd name="T2" fmla="*/ 16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2 h 20"/>
                  <a:gd name="T30" fmla="*/ 22 w 22"/>
                  <a:gd name="T31" fmla="*/ 2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6"/>
                    </a:lnTo>
                    <a:lnTo>
                      <a:pt x="2" y="10"/>
                    </a:lnTo>
                    <a:lnTo>
                      <a:pt x="0" y="20"/>
                    </a:lnTo>
                    <a:lnTo>
                      <a:pt x="0" y="20"/>
                    </a:lnTo>
                    <a:lnTo>
                      <a:pt x="8" y="6"/>
                    </a:lnTo>
                    <a:lnTo>
                      <a:pt x="8" y="6"/>
                    </a:lnTo>
                    <a:lnTo>
                      <a:pt x="8" y="6"/>
                    </a:lnTo>
                    <a:lnTo>
                      <a:pt x="8" y="12"/>
                    </a:lnTo>
                    <a:lnTo>
                      <a:pt x="8" y="12"/>
                    </a:lnTo>
                    <a:lnTo>
                      <a:pt x="14" y="4"/>
                    </a:lnTo>
                    <a:lnTo>
                      <a:pt x="16" y="2"/>
                    </a:lnTo>
                    <a:lnTo>
                      <a:pt x="22" y="2"/>
                    </a:lnTo>
                    <a:lnTo>
                      <a:pt x="22" y="2"/>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7" name="Freeform 892"/>
              <p:cNvSpPr>
                <a:spLocks/>
              </p:cNvSpPr>
              <p:nvPr/>
            </p:nvSpPr>
            <p:spPr bwMode="auto">
              <a:xfrm>
                <a:off x="2984" y="628"/>
                <a:ext cx="22" cy="20"/>
              </a:xfrm>
              <a:custGeom>
                <a:avLst/>
                <a:gdLst>
                  <a:gd name="T0" fmla="*/ 16 w 22"/>
                  <a:gd name="T1" fmla="*/ 0 h 20"/>
                  <a:gd name="T2" fmla="*/ 16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2 h 20"/>
                  <a:gd name="T30" fmla="*/ 22 w 22"/>
                  <a:gd name="T31" fmla="*/ 2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6"/>
                    </a:lnTo>
                    <a:lnTo>
                      <a:pt x="2" y="10"/>
                    </a:lnTo>
                    <a:lnTo>
                      <a:pt x="0" y="20"/>
                    </a:lnTo>
                    <a:lnTo>
                      <a:pt x="0" y="20"/>
                    </a:lnTo>
                    <a:lnTo>
                      <a:pt x="8" y="6"/>
                    </a:lnTo>
                    <a:lnTo>
                      <a:pt x="8" y="6"/>
                    </a:lnTo>
                    <a:lnTo>
                      <a:pt x="8" y="6"/>
                    </a:lnTo>
                    <a:lnTo>
                      <a:pt x="8" y="12"/>
                    </a:lnTo>
                    <a:lnTo>
                      <a:pt x="8" y="12"/>
                    </a:lnTo>
                    <a:lnTo>
                      <a:pt x="14" y="4"/>
                    </a:lnTo>
                    <a:lnTo>
                      <a:pt x="16" y="2"/>
                    </a:lnTo>
                    <a:lnTo>
                      <a:pt x="22" y="2"/>
                    </a:lnTo>
                    <a:lnTo>
                      <a:pt x="22" y="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8" name="Freeform 893"/>
              <p:cNvSpPr>
                <a:spLocks/>
              </p:cNvSpPr>
              <p:nvPr/>
            </p:nvSpPr>
            <p:spPr bwMode="auto">
              <a:xfrm>
                <a:off x="3080" y="632"/>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9" name="Freeform 894"/>
              <p:cNvSpPr>
                <a:spLocks/>
              </p:cNvSpPr>
              <p:nvPr/>
            </p:nvSpPr>
            <p:spPr bwMode="auto">
              <a:xfrm>
                <a:off x="3080" y="632"/>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0" name="Freeform 895"/>
              <p:cNvSpPr>
                <a:spLocks/>
              </p:cNvSpPr>
              <p:nvPr/>
            </p:nvSpPr>
            <p:spPr bwMode="auto">
              <a:xfrm>
                <a:off x="3026"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1" name="Freeform 896"/>
              <p:cNvSpPr>
                <a:spLocks/>
              </p:cNvSpPr>
              <p:nvPr/>
            </p:nvSpPr>
            <p:spPr bwMode="auto">
              <a:xfrm>
                <a:off x="3026"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2" name="Freeform 897"/>
              <p:cNvSpPr>
                <a:spLocks/>
              </p:cNvSpPr>
              <p:nvPr/>
            </p:nvSpPr>
            <p:spPr bwMode="auto">
              <a:xfrm>
                <a:off x="3040" y="678"/>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3" name="Freeform 898"/>
              <p:cNvSpPr>
                <a:spLocks/>
              </p:cNvSpPr>
              <p:nvPr/>
            </p:nvSpPr>
            <p:spPr bwMode="auto">
              <a:xfrm>
                <a:off x="3040" y="678"/>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4" name="Freeform 899"/>
              <p:cNvSpPr>
                <a:spLocks/>
              </p:cNvSpPr>
              <p:nvPr/>
            </p:nvSpPr>
            <p:spPr bwMode="auto">
              <a:xfrm>
                <a:off x="3036"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5" name="Freeform 900"/>
              <p:cNvSpPr>
                <a:spLocks/>
              </p:cNvSpPr>
              <p:nvPr/>
            </p:nvSpPr>
            <p:spPr bwMode="auto">
              <a:xfrm>
                <a:off x="3036"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6" name="Freeform 901"/>
              <p:cNvSpPr>
                <a:spLocks noEditPoints="1"/>
              </p:cNvSpPr>
              <p:nvPr/>
            </p:nvSpPr>
            <p:spPr bwMode="auto">
              <a:xfrm>
                <a:off x="3038" y="646"/>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7" name="Freeform 902"/>
              <p:cNvSpPr>
                <a:spLocks/>
              </p:cNvSpPr>
              <p:nvPr/>
            </p:nvSpPr>
            <p:spPr bwMode="auto">
              <a:xfrm>
                <a:off x="3038" y="648"/>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8" name="Freeform 903"/>
              <p:cNvSpPr>
                <a:spLocks/>
              </p:cNvSpPr>
              <p:nvPr/>
            </p:nvSpPr>
            <p:spPr bwMode="auto">
              <a:xfrm>
                <a:off x="3038" y="646"/>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9" name="Freeform 904"/>
              <p:cNvSpPr>
                <a:spLocks/>
              </p:cNvSpPr>
              <p:nvPr/>
            </p:nvSpPr>
            <p:spPr bwMode="auto">
              <a:xfrm>
                <a:off x="210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0" name="Freeform 905"/>
              <p:cNvSpPr>
                <a:spLocks/>
              </p:cNvSpPr>
              <p:nvPr/>
            </p:nvSpPr>
            <p:spPr bwMode="auto">
              <a:xfrm>
                <a:off x="2194"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1" name="Freeform 906"/>
              <p:cNvSpPr>
                <a:spLocks/>
              </p:cNvSpPr>
              <p:nvPr/>
            </p:nvSpPr>
            <p:spPr bwMode="auto">
              <a:xfrm>
                <a:off x="2288"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2" name="Freeform 907"/>
              <p:cNvSpPr>
                <a:spLocks/>
              </p:cNvSpPr>
              <p:nvPr/>
            </p:nvSpPr>
            <p:spPr bwMode="auto">
              <a:xfrm>
                <a:off x="2604" y="414"/>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3" name="Freeform 908"/>
              <p:cNvSpPr>
                <a:spLocks/>
              </p:cNvSpPr>
              <p:nvPr/>
            </p:nvSpPr>
            <p:spPr bwMode="auto">
              <a:xfrm>
                <a:off x="2604" y="414"/>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4" name="Freeform 909"/>
              <p:cNvSpPr>
                <a:spLocks/>
              </p:cNvSpPr>
              <p:nvPr/>
            </p:nvSpPr>
            <p:spPr bwMode="auto">
              <a:xfrm>
                <a:off x="2666" y="414"/>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5" name="Freeform 910"/>
              <p:cNvSpPr>
                <a:spLocks/>
              </p:cNvSpPr>
              <p:nvPr/>
            </p:nvSpPr>
            <p:spPr bwMode="auto">
              <a:xfrm>
                <a:off x="2666" y="414"/>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6" name="Freeform 911"/>
              <p:cNvSpPr>
                <a:spLocks/>
              </p:cNvSpPr>
              <p:nvPr/>
            </p:nvSpPr>
            <p:spPr bwMode="auto">
              <a:xfrm>
                <a:off x="275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7" name="Freeform 912"/>
              <p:cNvSpPr>
                <a:spLocks/>
              </p:cNvSpPr>
              <p:nvPr/>
            </p:nvSpPr>
            <p:spPr bwMode="auto">
              <a:xfrm>
                <a:off x="284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8" name="Freeform 913"/>
              <p:cNvSpPr>
                <a:spLocks/>
              </p:cNvSpPr>
              <p:nvPr/>
            </p:nvSpPr>
            <p:spPr bwMode="auto">
              <a:xfrm>
                <a:off x="2936"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9" name="Freeform 914"/>
              <p:cNvSpPr>
                <a:spLocks noEditPoints="1"/>
              </p:cNvSpPr>
              <p:nvPr/>
            </p:nvSpPr>
            <p:spPr bwMode="auto">
              <a:xfrm>
                <a:off x="2378" y="412"/>
                <a:ext cx="188" cy="146"/>
              </a:xfrm>
              <a:custGeom>
                <a:avLst/>
                <a:gdLst>
                  <a:gd name="T0" fmla="*/ 120 w 188"/>
                  <a:gd name="T1" fmla="*/ 128 h 146"/>
                  <a:gd name="T2" fmla="*/ 110 w 188"/>
                  <a:gd name="T3" fmla="*/ 130 h 146"/>
                  <a:gd name="T4" fmla="*/ 114 w 188"/>
                  <a:gd name="T5" fmla="*/ 110 h 146"/>
                  <a:gd name="T6" fmla="*/ 14 w 188"/>
                  <a:gd name="T7" fmla="*/ 100 h 146"/>
                  <a:gd name="T8" fmla="*/ 18 w 188"/>
                  <a:gd name="T9" fmla="*/ 122 h 146"/>
                  <a:gd name="T10" fmla="*/ 6 w 188"/>
                  <a:gd name="T11" fmla="*/ 106 h 146"/>
                  <a:gd name="T12" fmla="*/ 6 w 188"/>
                  <a:gd name="T13" fmla="*/ 66 h 146"/>
                  <a:gd name="T14" fmla="*/ 14 w 188"/>
                  <a:gd name="T15" fmla="*/ 64 h 146"/>
                  <a:gd name="T16" fmla="*/ 8 w 188"/>
                  <a:gd name="T17" fmla="*/ 70 h 146"/>
                  <a:gd name="T18" fmla="*/ 6 w 188"/>
                  <a:gd name="T19" fmla="*/ 50 h 146"/>
                  <a:gd name="T20" fmla="*/ 82 w 188"/>
                  <a:gd name="T21" fmla="*/ 20 h 146"/>
                  <a:gd name="T22" fmla="*/ 128 w 188"/>
                  <a:gd name="T23" fmla="*/ 8 h 146"/>
                  <a:gd name="T24" fmla="*/ 158 w 188"/>
                  <a:gd name="T25" fmla="*/ 32 h 146"/>
                  <a:gd name="T26" fmla="*/ 156 w 188"/>
                  <a:gd name="T27" fmla="*/ 40 h 146"/>
                  <a:gd name="T28" fmla="*/ 148 w 188"/>
                  <a:gd name="T29" fmla="*/ 48 h 146"/>
                  <a:gd name="T30" fmla="*/ 156 w 188"/>
                  <a:gd name="T31" fmla="*/ 48 h 146"/>
                  <a:gd name="T32" fmla="*/ 160 w 188"/>
                  <a:gd name="T33" fmla="*/ 42 h 146"/>
                  <a:gd name="T34" fmla="*/ 176 w 188"/>
                  <a:gd name="T35" fmla="*/ 28 h 146"/>
                  <a:gd name="T36" fmla="*/ 182 w 188"/>
                  <a:gd name="T37" fmla="*/ 70 h 146"/>
                  <a:gd name="T38" fmla="*/ 150 w 188"/>
                  <a:gd name="T39" fmla="*/ 88 h 146"/>
                  <a:gd name="T40" fmla="*/ 132 w 188"/>
                  <a:gd name="T41" fmla="*/ 100 h 146"/>
                  <a:gd name="T42" fmla="*/ 144 w 188"/>
                  <a:gd name="T43" fmla="*/ 90 h 146"/>
                  <a:gd name="T44" fmla="*/ 132 w 188"/>
                  <a:gd name="T45" fmla="*/ 102 h 146"/>
                  <a:gd name="T46" fmla="*/ 112 w 188"/>
                  <a:gd name="T47" fmla="*/ 92 h 146"/>
                  <a:gd name="T48" fmla="*/ 90 w 188"/>
                  <a:gd name="T49" fmla="*/ 136 h 146"/>
                  <a:gd name="T50" fmla="*/ 68 w 188"/>
                  <a:gd name="T51" fmla="*/ 128 h 146"/>
                  <a:gd name="T52" fmla="*/ 78 w 188"/>
                  <a:gd name="T53" fmla="*/ 110 h 146"/>
                  <a:gd name="T54" fmla="*/ 60 w 188"/>
                  <a:gd name="T55" fmla="*/ 116 h 146"/>
                  <a:gd name="T56" fmla="*/ 52 w 188"/>
                  <a:gd name="T57" fmla="*/ 114 h 146"/>
                  <a:gd name="T58" fmla="*/ 44 w 188"/>
                  <a:gd name="T59" fmla="*/ 140 h 146"/>
                  <a:gd name="T60" fmla="*/ 26 w 188"/>
                  <a:gd name="T61" fmla="*/ 122 h 146"/>
                  <a:gd name="T62" fmla="*/ 14 w 188"/>
                  <a:gd name="T63" fmla="*/ 78 h 146"/>
                  <a:gd name="T64" fmla="*/ 56 w 188"/>
                  <a:gd name="T65" fmla="*/ 34 h 146"/>
                  <a:gd name="T66" fmla="*/ 40 w 188"/>
                  <a:gd name="T67" fmla="*/ 60 h 146"/>
                  <a:gd name="T68" fmla="*/ 48 w 188"/>
                  <a:gd name="T69" fmla="*/ 86 h 146"/>
                  <a:gd name="T70" fmla="*/ 72 w 188"/>
                  <a:gd name="T71" fmla="*/ 96 h 146"/>
                  <a:gd name="T72" fmla="*/ 96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4 h 146"/>
                  <a:gd name="T88" fmla="*/ 16 w 188"/>
                  <a:gd name="T89" fmla="*/ 56 h 146"/>
                  <a:gd name="T90" fmla="*/ 14 w 188"/>
                  <a:gd name="T91" fmla="*/ 56 h 146"/>
                  <a:gd name="T92" fmla="*/ 0 w 188"/>
                  <a:gd name="T93" fmla="*/ 58 h 146"/>
                  <a:gd name="T94" fmla="*/ 10 w 188"/>
                  <a:gd name="T95" fmla="*/ 84 h 146"/>
                  <a:gd name="T96" fmla="*/ 2 w 188"/>
                  <a:gd name="T97" fmla="*/ 112 h 146"/>
                  <a:gd name="T98" fmla="*/ 20 w 188"/>
                  <a:gd name="T99" fmla="*/ 132 h 146"/>
                  <a:gd name="T100" fmla="*/ 42 w 188"/>
                  <a:gd name="T101" fmla="*/ 144 h 146"/>
                  <a:gd name="T102" fmla="*/ 50 w 188"/>
                  <a:gd name="T103" fmla="*/ 132 h 146"/>
                  <a:gd name="T104" fmla="*/ 74 w 188"/>
                  <a:gd name="T105" fmla="*/ 144 h 146"/>
                  <a:gd name="T106" fmla="*/ 96 w 188"/>
                  <a:gd name="T107" fmla="*/ 134 h 146"/>
                  <a:gd name="T108" fmla="*/ 124 w 188"/>
                  <a:gd name="T109" fmla="*/ 128 h 146"/>
                  <a:gd name="T110" fmla="*/ 116 w 188"/>
                  <a:gd name="T111" fmla="*/ 96 h 146"/>
                  <a:gd name="T112" fmla="*/ 140 w 188"/>
                  <a:gd name="T113" fmla="*/ 102 h 146"/>
                  <a:gd name="T114" fmla="*/ 154 w 188"/>
                  <a:gd name="T115" fmla="*/ 92 h 146"/>
                  <a:gd name="T116" fmla="*/ 188 w 188"/>
                  <a:gd name="T117" fmla="*/ 60 h 146"/>
                  <a:gd name="T118" fmla="*/ 176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4" y="130"/>
                    </a:lnTo>
                    <a:lnTo>
                      <a:pt x="104" y="130"/>
                    </a:lnTo>
                    <a:lnTo>
                      <a:pt x="104"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6" y="62"/>
                    </a:lnTo>
                    <a:lnTo>
                      <a:pt x="6" y="62"/>
                    </a:lnTo>
                    <a:lnTo>
                      <a:pt x="6" y="66"/>
                    </a:lnTo>
                    <a:lnTo>
                      <a:pt x="6" y="66"/>
                    </a:lnTo>
                    <a:lnTo>
                      <a:pt x="8" y="66"/>
                    </a:lnTo>
                    <a:lnTo>
                      <a:pt x="8" y="66"/>
                    </a:lnTo>
                    <a:lnTo>
                      <a:pt x="10" y="66"/>
                    </a:lnTo>
                    <a:lnTo>
                      <a:pt x="10" y="66"/>
                    </a:lnTo>
                    <a:lnTo>
                      <a:pt x="14" y="64"/>
                    </a:lnTo>
                    <a:lnTo>
                      <a:pt x="14" y="64"/>
                    </a:lnTo>
                    <a:lnTo>
                      <a:pt x="14" y="64"/>
                    </a:lnTo>
                    <a:lnTo>
                      <a:pt x="14" y="64"/>
                    </a:lnTo>
                    <a:lnTo>
                      <a:pt x="14" y="64"/>
                    </a:lnTo>
                    <a:lnTo>
                      <a:pt x="14" y="64"/>
                    </a:lnTo>
                    <a:lnTo>
                      <a:pt x="12" y="68"/>
                    </a:lnTo>
                    <a:lnTo>
                      <a:pt x="8" y="70"/>
                    </a:lnTo>
                    <a:lnTo>
                      <a:pt x="8" y="70"/>
                    </a:lnTo>
                    <a:lnTo>
                      <a:pt x="8" y="70"/>
                    </a:lnTo>
                    <a:lnTo>
                      <a:pt x="8" y="70"/>
                    </a:lnTo>
                    <a:lnTo>
                      <a:pt x="6" y="68"/>
                    </a:lnTo>
                    <a:lnTo>
                      <a:pt x="6" y="68"/>
                    </a:lnTo>
                    <a:lnTo>
                      <a:pt x="4" y="66"/>
                    </a:lnTo>
                    <a:lnTo>
                      <a:pt x="2" y="62"/>
                    </a:lnTo>
                    <a:lnTo>
                      <a:pt x="2" y="58"/>
                    </a:lnTo>
                    <a:lnTo>
                      <a:pt x="2" y="54"/>
                    </a:lnTo>
                    <a:lnTo>
                      <a:pt x="2" y="54"/>
                    </a:lnTo>
                    <a:lnTo>
                      <a:pt x="6" y="50"/>
                    </a:lnTo>
                    <a:lnTo>
                      <a:pt x="6" y="50"/>
                    </a:lnTo>
                    <a:lnTo>
                      <a:pt x="8" y="50"/>
                    </a:lnTo>
                    <a:lnTo>
                      <a:pt x="8" y="50"/>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4"/>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6"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0" name="Freeform 915"/>
              <p:cNvSpPr>
                <a:spLocks/>
              </p:cNvSpPr>
              <p:nvPr/>
            </p:nvSpPr>
            <p:spPr bwMode="auto">
              <a:xfrm>
                <a:off x="2480" y="516"/>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2 w 18"/>
                  <a:gd name="T37" fmla="*/ 26 h 26"/>
                  <a:gd name="T38" fmla="*/ 2 w 18"/>
                  <a:gd name="T39" fmla="*/ 26 h 26"/>
                  <a:gd name="T40" fmla="*/ 2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2" y="26"/>
                    </a:lnTo>
                    <a:lnTo>
                      <a:pt x="2" y="26"/>
                    </a:lnTo>
                    <a:lnTo>
                      <a:pt x="2"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1" name="Freeform 916"/>
              <p:cNvSpPr>
                <a:spLocks/>
              </p:cNvSpPr>
              <p:nvPr/>
            </p:nvSpPr>
            <p:spPr bwMode="auto">
              <a:xfrm>
                <a:off x="2382" y="512"/>
                <a:ext cx="18" cy="22"/>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2" name="Freeform 917"/>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4 w 12"/>
                  <a:gd name="T9" fmla="*/ 12 h 20"/>
                  <a:gd name="T10" fmla="*/ 4 w 12"/>
                  <a:gd name="T11" fmla="*/ 12 h 20"/>
                  <a:gd name="T12" fmla="*/ 4 w 12"/>
                  <a:gd name="T13" fmla="*/ 16 h 20"/>
                  <a:gd name="T14" fmla="*/ 4 w 12"/>
                  <a:gd name="T15" fmla="*/ 16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6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6" y="0"/>
                    </a:moveTo>
                    <a:lnTo>
                      <a:pt x="6" y="0"/>
                    </a:lnTo>
                    <a:lnTo>
                      <a:pt x="6" y="0"/>
                    </a:lnTo>
                    <a:lnTo>
                      <a:pt x="6" y="0"/>
                    </a:lnTo>
                    <a:lnTo>
                      <a:pt x="4" y="12"/>
                    </a:lnTo>
                    <a:lnTo>
                      <a:pt x="4" y="12"/>
                    </a:lnTo>
                    <a:lnTo>
                      <a:pt x="4" y="16"/>
                    </a:lnTo>
                    <a:lnTo>
                      <a:pt x="4" y="16"/>
                    </a:lnTo>
                    <a:lnTo>
                      <a:pt x="6" y="16"/>
                    </a:lnTo>
                    <a:lnTo>
                      <a:pt x="6" y="16"/>
                    </a:lnTo>
                    <a:lnTo>
                      <a:pt x="8" y="16"/>
                    </a:lnTo>
                    <a:lnTo>
                      <a:pt x="8" y="16"/>
                    </a:lnTo>
                    <a:lnTo>
                      <a:pt x="12" y="14"/>
                    </a:lnTo>
                    <a:lnTo>
                      <a:pt x="12" y="14"/>
                    </a:lnTo>
                    <a:lnTo>
                      <a:pt x="12" y="14"/>
                    </a:lnTo>
                    <a:lnTo>
                      <a:pt x="12" y="14"/>
                    </a:lnTo>
                    <a:lnTo>
                      <a:pt x="12" y="14"/>
                    </a:lnTo>
                    <a:lnTo>
                      <a:pt x="12" y="14"/>
                    </a:lnTo>
                    <a:lnTo>
                      <a:pt x="10" y="18"/>
                    </a:lnTo>
                    <a:lnTo>
                      <a:pt x="6" y="20"/>
                    </a:lnTo>
                    <a:lnTo>
                      <a:pt x="6" y="20"/>
                    </a:lnTo>
                    <a:lnTo>
                      <a:pt x="6" y="20"/>
                    </a:lnTo>
                    <a:lnTo>
                      <a:pt x="6" y="20"/>
                    </a:lnTo>
                    <a:lnTo>
                      <a:pt x="4" y="18"/>
                    </a:lnTo>
                    <a:lnTo>
                      <a:pt x="4" y="18"/>
                    </a:lnTo>
                    <a:lnTo>
                      <a:pt x="2" y="16"/>
                    </a:lnTo>
                    <a:lnTo>
                      <a:pt x="0" y="12"/>
                    </a:lnTo>
                    <a:lnTo>
                      <a:pt x="0" y="8"/>
                    </a:lnTo>
                    <a:lnTo>
                      <a:pt x="0" y="4"/>
                    </a:lnTo>
                    <a:lnTo>
                      <a:pt x="0" y="4"/>
                    </a:lnTo>
                    <a:lnTo>
                      <a:pt x="4" y="0"/>
                    </a:lnTo>
                    <a:lnTo>
                      <a:pt x="4"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3" name="Freeform 918"/>
              <p:cNvSpPr>
                <a:spLocks/>
              </p:cNvSpPr>
              <p:nvPr/>
            </p:nvSpPr>
            <p:spPr bwMode="auto">
              <a:xfrm>
                <a:off x="2392" y="41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4" name="Freeform 919"/>
              <p:cNvSpPr>
                <a:spLocks/>
              </p:cNvSpPr>
              <p:nvPr/>
            </p:nvSpPr>
            <p:spPr bwMode="auto">
              <a:xfrm>
                <a:off x="2378" y="412"/>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8 h 146"/>
                  <a:gd name="T34" fmla="*/ 6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4"/>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6"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5" name="Freeform 920"/>
              <p:cNvSpPr>
                <a:spLocks/>
              </p:cNvSpPr>
              <p:nvPr/>
            </p:nvSpPr>
            <p:spPr bwMode="auto">
              <a:xfrm>
                <a:off x="2384" y="512"/>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6" name="Freeform 921"/>
              <p:cNvSpPr>
                <a:spLocks/>
              </p:cNvSpPr>
              <p:nvPr/>
            </p:nvSpPr>
            <p:spPr bwMode="auto">
              <a:xfrm>
                <a:off x="2384" y="512"/>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7" name="Freeform 922"/>
              <p:cNvSpPr>
                <a:spLocks/>
              </p:cNvSpPr>
              <p:nvPr/>
            </p:nvSpPr>
            <p:spPr bwMode="auto">
              <a:xfrm>
                <a:off x="2386" y="512"/>
                <a:ext cx="14" cy="22"/>
              </a:xfrm>
              <a:custGeom>
                <a:avLst/>
                <a:gdLst>
                  <a:gd name="T0" fmla="*/ 6 w 14"/>
                  <a:gd name="T1" fmla="*/ 0 h 22"/>
                  <a:gd name="T2" fmla="*/ 6 w 14"/>
                  <a:gd name="T3" fmla="*/ 0 h 22"/>
                  <a:gd name="T4" fmla="*/ 0 w 14"/>
                  <a:gd name="T5" fmla="*/ 4 h 22"/>
                  <a:gd name="T6" fmla="*/ 0 w 14"/>
                  <a:gd name="T7" fmla="*/ 4 h 22"/>
                  <a:gd name="T8" fmla="*/ 6 w 14"/>
                  <a:gd name="T9" fmla="*/ 0 h 22"/>
                  <a:gd name="T10" fmla="*/ 6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6" y="0"/>
                    </a:lnTo>
                    <a:lnTo>
                      <a:pt x="6"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8" name="Freeform 923"/>
              <p:cNvSpPr>
                <a:spLocks/>
              </p:cNvSpPr>
              <p:nvPr/>
            </p:nvSpPr>
            <p:spPr bwMode="auto">
              <a:xfrm>
                <a:off x="2386" y="512"/>
                <a:ext cx="14" cy="22"/>
              </a:xfrm>
              <a:custGeom>
                <a:avLst/>
                <a:gdLst>
                  <a:gd name="T0" fmla="*/ 6 w 14"/>
                  <a:gd name="T1" fmla="*/ 0 h 22"/>
                  <a:gd name="T2" fmla="*/ 6 w 14"/>
                  <a:gd name="T3" fmla="*/ 0 h 22"/>
                  <a:gd name="T4" fmla="*/ 0 w 14"/>
                  <a:gd name="T5" fmla="*/ 4 h 22"/>
                  <a:gd name="T6" fmla="*/ 0 w 14"/>
                  <a:gd name="T7" fmla="*/ 4 h 22"/>
                  <a:gd name="T8" fmla="*/ 6 w 14"/>
                  <a:gd name="T9" fmla="*/ 0 h 22"/>
                  <a:gd name="T10" fmla="*/ 6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6" y="0"/>
                    </a:lnTo>
                    <a:lnTo>
                      <a:pt x="6"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9" name="Freeform 924"/>
              <p:cNvSpPr>
                <a:spLocks/>
              </p:cNvSpPr>
              <p:nvPr/>
            </p:nvSpPr>
            <p:spPr bwMode="auto">
              <a:xfrm>
                <a:off x="2482" y="516"/>
                <a:ext cx="16" cy="26"/>
              </a:xfrm>
              <a:custGeom>
                <a:avLst/>
                <a:gdLst>
                  <a:gd name="T0" fmla="*/ 12 w 16"/>
                  <a:gd name="T1" fmla="*/ 0 h 26"/>
                  <a:gd name="T2" fmla="*/ 12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8 w 16"/>
                  <a:gd name="T21" fmla="*/ 26 h 26"/>
                  <a:gd name="T22" fmla="*/ 8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6"/>
                    </a:lnTo>
                    <a:lnTo>
                      <a:pt x="10" y="6"/>
                    </a:lnTo>
                    <a:lnTo>
                      <a:pt x="0" y="26"/>
                    </a:lnTo>
                    <a:lnTo>
                      <a:pt x="0" y="26"/>
                    </a:lnTo>
                    <a:lnTo>
                      <a:pt x="0" y="26"/>
                    </a:lnTo>
                    <a:lnTo>
                      <a:pt x="0" y="26"/>
                    </a:lnTo>
                    <a:lnTo>
                      <a:pt x="6" y="26"/>
                    </a:lnTo>
                    <a:lnTo>
                      <a:pt x="6" y="26"/>
                    </a:lnTo>
                    <a:lnTo>
                      <a:pt x="8" y="26"/>
                    </a:lnTo>
                    <a:lnTo>
                      <a:pt x="8" y="26"/>
                    </a:lnTo>
                    <a:lnTo>
                      <a:pt x="10" y="26"/>
                    </a:lnTo>
                    <a:lnTo>
                      <a:pt x="10" y="26"/>
                    </a:lnTo>
                    <a:lnTo>
                      <a:pt x="14" y="26"/>
                    </a:lnTo>
                    <a:lnTo>
                      <a:pt x="14" y="26"/>
                    </a:lnTo>
                    <a:lnTo>
                      <a:pt x="16" y="24"/>
                    </a:lnTo>
                    <a:lnTo>
                      <a:pt x="16" y="24"/>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0" name="Freeform 925"/>
              <p:cNvSpPr>
                <a:spLocks/>
              </p:cNvSpPr>
              <p:nvPr/>
            </p:nvSpPr>
            <p:spPr bwMode="auto">
              <a:xfrm>
                <a:off x="2482" y="516"/>
                <a:ext cx="16" cy="26"/>
              </a:xfrm>
              <a:custGeom>
                <a:avLst/>
                <a:gdLst>
                  <a:gd name="T0" fmla="*/ 12 w 16"/>
                  <a:gd name="T1" fmla="*/ 0 h 26"/>
                  <a:gd name="T2" fmla="*/ 12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8 w 16"/>
                  <a:gd name="T21" fmla="*/ 26 h 26"/>
                  <a:gd name="T22" fmla="*/ 8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6"/>
                    </a:lnTo>
                    <a:lnTo>
                      <a:pt x="10" y="6"/>
                    </a:lnTo>
                    <a:lnTo>
                      <a:pt x="0" y="26"/>
                    </a:lnTo>
                    <a:lnTo>
                      <a:pt x="0" y="26"/>
                    </a:lnTo>
                    <a:lnTo>
                      <a:pt x="0" y="26"/>
                    </a:lnTo>
                    <a:lnTo>
                      <a:pt x="0" y="26"/>
                    </a:lnTo>
                    <a:lnTo>
                      <a:pt x="6" y="26"/>
                    </a:lnTo>
                    <a:lnTo>
                      <a:pt x="6" y="26"/>
                    </a:lnTo>
                    <a:lnTo>
                      <a:pt x="8" y="26"/>
                    </a:lnTo>
                    <a:lnTo>
                      <a:pt x="8" y="26"/>
                    </a:lnTo>
                    <a:lnTo>
                      <a:pt x="10" y="26"/>
                    </a:lnTo>
                    <a:lnTo>
                      <a:pt x="10" y="26"/>
                    </a:lnTo>
                    <a:lnTo>
                      <a:pt x="14" y="26"/>
                    </a:lnTo>
                    <a:lnTo>
                      <a:pt x="14" y="26"/>
                    </a:lnTo>
                    <a:lnTo>
                      <a:pt x="16" y="24"/>
                    </a:lnTo>
                    <a:lnTo>
                      <a:pt x="16" y="24"/>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1" name="Freeform 926"/>
              <p:cNvSpPr>
                <a:spLocks noEditPoints="1"/>
              </p:cNvSpPr>
              <p:nvPr/>
            </p:nvSpPr>
            <p:spPr bwMode="auto">
              <a:xfrm>
                <a:off x="2482" y="516"/>
                <a:ext cx="12" cy="26"/>
              </a:xfrm>
              <a:custGeom>
                <a:avLst/>
                <a:gdLst>
                  <a:gd name="T0" fmla="*/ 6 w 12"/>
                  <a:gd name="T1" fmla="*/ 26 h 26"/>
                  <a:gd name="T2" fmla="*/ 6 w 12"/>
                  <a:gd name="T3" fmla="*/ 26 h 26"/>
                  <a:gd name="T4" fmla="*/ 8 w 12"/>
                  <a:gd name="T5" fmla="*/ 26 h 26"/>
                  <a:gd name="T6" fmla="*/ 8 w 12"/>
                  <a:gd name="T7" fmla="*/ 26 h 26"/>
                  <a:gd name="T8" fmla="*/ 10 w 12"/>
                  <a:gd name="T9" fmla="*/ 26 h 26"/>
                  <a:gd name="T10" fmla="*/ 10 w 12"/>
                  <a:gd name="T11" fmla="*/ 26 h 26"/>
                  <a:gd name="T12" fmla="*/ 8 w 12"/>
                  <a:gd name="T13" fmla="*/ 26 h 26"/>
                  <a:gd name="T14" fmla="*/ 8 w 12"/>
                  <a:gd name="T15" fmla="*/ 26 h 26"/>
                  <a:gd name="T16" fmla="*/ 6 w 12"/>
                  <a:gd name="T17" fmla="*/ 26 h 26"/>
                  <a:gd name="T18" fmla="*/ 0 w 12"/>
                  <a:gd name="T19" fmla="*/ 26 h 26"/>
                  <a:gd name="T20" fmla="*/ 0 w 12"/>
                  <a:gd name="T21" fmla="*/ 26 h 26"/>
                  <a:gd name="T22" fmla="*/ 0 w 12"/>
                  <a:gd name="T23" fmla="*/ 26 h 26"/>
                  <a:gd name="T24" fmla="*/ 0 w 12"/>
                  <a:gd name="T25" fmla="*/ 26 h 26"/>
                  <a:gd name="T26" fmla="*/ 0 w 12"/>
                  <a:gd name="T27" fmla="*/ 26 h 26"/>
                  <a:gd name="T28" fmla="*/ 0 w 12"/>
                  <a:gd name="T29" fmla="*/ 26 h 26"/>
                  <a:gd name="T30" fmla="*/ 12 w 12"/>
                  <a:gd name="T31" fmla="*/ 0 h 26"/>
                  <a:gd name="T32" fmla="*/ 12 w 12"/>
                  <a:gd name="T33" fmla="*/ 0 h 26"/>
                  <a:gd name="T34" fmla="*/ 10 w 12"/>
                  <a:gd name="T35" fmla="*/ 6 h 26"/>
                  <a:gd name="T36" fmla="*/ 10 w 12"/>
                  <a:gd name="T37" fmla="*/ 6 h 26"/>
                  <a:gd name="T38" fmla="*/ 12 w 12"/>
                  <a:gd name="T39" fmla="*/ 0 h 26"/>
                  <a:gd name="T40" fmla="*/ 12 w 12"/>
                  <a:gd name="T41" fmla="*/ 0 h 26"/>
                  <a:gd name="T42" fmla="*/ 12 w 12"/>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6">
                    <a:moveTo>
                      <a:pt x="6" y="26"/>
                    </a:moveTo>
                    <a:lnTo>
                      <a:pt x="6" y="26"/>
                    </a:lnTo>
                    <a:lnTo>
                      <a:pt x="8" y="26"/>
                    </a:lnTo>
                    <a:lnTo>
                      <a:pt x="8" y="26"/>
                    </a:lnTo>
                    <a:lnTo>
                      <a:pt x="10" y="26"/>
                    </a:lnTo>
                    <a:lnTo>
                      <a:pt x="10" y="26"/>
                    </a:lnTo>
                    <a:lnTo>
                      <a:pt x="8" y="26"/>
                    </a:lnTo>
                    <a:lnTo>
                      <a:pt x="8" y="26"/>
                    </a:lnTo>
                    <a:lnTo>
                      <a:pt x="6" y="26"/>
                    </a:lnTo>
                    <a:close/>
                    <a:moveTo>
                      <a:pt x="0" y="26"/>
                    </a:moveTo>
                    <a:lnTo>
                      <a:pt x="0" y="26"/>
                    </a:lnTo>
                    <a:lnTo>
                      <a:pt x="0" y="26"/>
                    </a:lnTo>
                    <a:lnTo>
                      <a:pt x="0" y="26"/>
                    </a:lnTo>
                    <a:lnTo>
                      <a:pt x="0" y="26"/>
                    </a:lnTo>
                    <a:lnTo>
                      <a:pt x="0" y="26"/>
                    </a:lnTo>
                    <a:close/>
                    <a:moveTo>
                      <a:pt x="12" y="0"/>
                    </a:moveTo>
                    <a:lnTo>
                      <a:pt x="12" y="0"/>
                    </a:lnTo>
                    <a:lnTo>
                      <a:pt x="10" y="6"/>
                    </a:lnTo>
                    <a:lnTo>
                      <a:pt x="10" y="6"/>
                    </a:lnTo>
                    <a:lnTo>
                      <a:pt x="12" y="0"/>
                    </a:lnTo>
                    <a:lnTo>
                      <a:pt x="12" y="0"/>
                    </a:lnTo>
                    <a:lnTo>
                      <a:pt x="1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2" name="Freeform 927"/>
              <p:cNvSpPr>
                <a:spLocks/>
              </p:cNvSpPr>
              <p:nvPr/>
            </p:nvSpPr>
            <p:spPr bwMode="auto">
              <a:xfrm>
                <a:off x="2488" y="542"/>
                <a:ext cx="4"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3" name="Freeform 928"/>
              <p:cNvSpPr>
                <a:spLocks/>
              </p:cNvSpPr>
              <p:nvPr/>
            </p:nvSpPr>
            <p:spPr bwMode="auto">
              <a:xfrm>
                <a:off x="2482" y="54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4" name="Freeform 929"/>
              <p:cNvSpPr>
                <a:spLocks/>
              </p:cNvSpPr>
              <p:nvPr/>
            </p:nvSpPr>
            <p:spPr bwMode="auto">
              <a:xfrm>
                <a:off x="2492" y="516"/>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5" name="Freeform 930"/>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20"/>
                    </a:lnTo>
                    <a:lnTo>
                      <a:pt x="4" y="20"/>
                    </a:lnTo>
                    <a:lnTo>
                      <a:pt x="6" y="20"/>
                    </a:lnTo>
                    <a:lnTo>
                      <a:pt x="6" y="20"/>
                    </a:lnTo>
                    <a:lnTo>
                      <a:pt x="6" y="20"/>
                    </a:lnTo>
                    <a:lnTo>
                      <a:pt x="6" y="20"/>
                    </a:lnTo>
                    <a:lnTo>
                      <a:pt x="10" y="18"/>
                    </a:lnTo>
                    <a:lnTo>
                      <a:pt x="12" y="14"/>
                    </a:lnTo>
                    <a:lnTo>
                      <a:pt x="12" y="14"/>
                    </a:lnTo>
                    <a:lnTo>
                      <a:pt x="8" y="16"/>
                    </a:lnTo>
                    <a:lnTo>
                      <a:pt x="8" y="16"/>
                    </a:lnTo>
                    <a:lnTo>
                      <a:pt x="6" y="16"/>
                    </a:lnTo>
                    <a:lnTo>
                      <a:pt x="6"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6" name="Freeform 931"/>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20"/>
                    </a:lnTo>
                    <a:lnTo>
                      <a:pt x="4" y="20"/>
                    </a:lnTo>
                    <a:lnTo>
                      <a:pt x="6" y="20"/>
                    </a:lnTo>
                    <a:lnTo>
                      <a:pt x="6" y="20"/>
                    </a:lnTo>
                    <a:lnTo>
                      <a:pt x="6" y="20"/>
                    </a:lnTo>
                    <a:lnTo>
                      <a:pt x="6" y="20"/>
                    </a:lnTo>
                    <a:lnTo>
                      <a:pt x="10" y="18"/>
                    </a:lnTo>
                    <a:lnTo>
                      <a:pt x="12" y="14"/>
                    </a:lnTo>
                    <a:lnTo>
                      <a:pt x="12" y="14"/>
                    </a:lnTo>
                    <a:lnTo>
                      <a:pt x="8" y="16"/>
                    </a:lnTo>
                    <a:lnTo>
                      <a:pt x="8" y="16"/>
                    </a:lnTo>
                    <a:lnTo>
                      <a:pt x="6" y="16"/>
                    </a:lnTo>
                    <a:lnTo>
                      <a:pt x="6"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7" name="Freeform 932"/>
              <p:cNvSpPr>
                <a:spLocks noEditPoints="1"/>
              </p:cNvSpPr>
              <p:nvPr/>
            </p:nvSpPr>
            <p:spPr bwMode="auto">
              <a:xfrm>
                <a:off x="2382" y="462"/>
                <a:ext cx="10" cy="20"/>
              </a:xfrm>
              <a:custGeom>
                <a:avLst/>
                <a:gdLst>
                  <a:gd name="T0" fmla="*/ 10 w 10"/>
                  <a:gd name="T1" fmla="*/ 14 h 20"/>
                  <a:gd name="T2" fmla="*/ 10 w 10"/>
                  <a:gd name="T3" fmla="*/ 14 h 20"/>
                  <a:gd name="T4" fmla="*/ 10 w 10"/>
                  <a:gd name="T5" fmla="*/ 14 h 20"/>
                  <a:gd name="T6" fmla="*/ 10 w 10"/>
                  <a:gd name="T7" fmla="*/ 14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4 w 10"/>
                  <a:gd name="T55" fmla="*/ 16 h 20"/>
                  <a:gd name="T56" fmla="*/ 4 w 10"/>
                  <a:gd name="T57" fmla="*/ 16 h 20"/>
                  <a:gd name="T58" fmla="*/ 2 w 10"/>
                  <a:gd name="T59" fmla="*/ 16 h 20"/>
                  <a:gd name="T60" fmla="*/ 2 w 10"/>
                  <a:gd name="T61" fmla="*/ 16 h 20"/>
                  <a:gd name="T62" fmla="*/ 2 w 10"/>
                  <a:gd name="T63" fmla="*/ 12 h 20"/>
                  <a:gd name="T64" fmla="*/ 2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10" y="14"/>
                    </a:lnTo>
                    <a:lnTo>
                      <a:pt x="10" y="14"/>
                    </a:lnTo>
                    <a:lnTo>
                      <a:pt x="8" y="18"/>
                    </a:lnTo>
                    <a:lnTo>
                      <a:pt x="4" y="20"/>
                    </a:lnTo>
                    <a:lnTo>
                      <a:pt x="4" y="20"/>
                    </a:lnTo>
                    <a:lnTo>
                      <a:pt x="4" y="20"/>
                    </a:lnTo>
                    <a:lnTo>
                      <a:pt x="4" y="20"/>
                    </a:lnTo>
                    <a:lnTo>
                      <a:pt x="4" y="20"/>
                    </a:lnTo>
                    <a:lnTo>
                      <a:pt x="4" y="20"/>
                    </a:lnTo>
                    <a:lnTo>
                      <a:pt x="8" y="18"/>
                    </a:lnTo>
                    <a:lnTo>
                      <a:pt x="10" y="14"/>
                    </a:lnTo>
                    <a:close/>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2" y="12"/>
                    </a:lnTo>
                    <a:lnTo>
                      <a:pt x="2"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8" name="Freeform 933"/>
              <p:cNvSpPr>
                <a:spLocks/>
              </p:cNvSpPr>
              <p:nvPr/>
            </p:nvSpPr>
            <p:spPr bwMode="auto">
              <a:xfrm>
                <a:off x="2386" y="476"/>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9" name="Freeform 934"/>
              <p:cNvSpPr>
                <a:spLocks/>
              </p:cNvSpPr>
              <p:nvPr/>
            </p:nvSpPr>
            <p:spPr bwMode="auto">
              <a:xfrm>
                <a:off x="2382" y="462"/>
                <a:ext cx="4" cy="16"/>
              </a:xfrm>
              <a:custGeom>
                <a:avLst/>
                <a:gdLst>
                  <a:gd name="T0" fmla="*/ 4 w 4"/>
                  <a:gd name="T1" fmla="*/ 0 h 16"/>
                  <a:gd name="T2" fmla="*/ 4 w 4"/>
                  <a:gd name="T3" fmla="*/ 0 h 16"/>
                  <a:gd name="T4" fmla="*/ 4 w 4"/>
                  <a:gd name="T5" fmla="*/ 0 h 16"/>
                  <a:gd name="T6" fmla="*/ 4 w 4"/>
                  <a:gd name="T7" fmla="*/ 0 h 16"/>
                  <a:gd name="T8" fmla="*/ 4 w 4"/>
                  <a:gd name="T9" fmla="*/ 0 h 16"/>
                  <a:gd name="T10" fmla="*/ 4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4 w 4"/>
                  <a:gd name="T29" fmla="*/ 16 h 16"/>
                  <a:gd name="T30" fmla="*/ 4 w 4"/>
                  <a:gd name="T31" fmla="*/ 16 h 16"/>
                  <a:gd name="T32" fmla="*/ 2 w 4"/>
                  <a:gd name="T33" fmla="*/ 16 h 16"/>
                  <a:gd name="T34" fmla="*/ 2 w 4"/>
                  <a:gd name="T35" fmla="*/ 16 h 16"/>
                  <a:gd name="T36" fmla="*/ 2 w 4"/>
                  <a:gd name="T37" fmla="*/ 12 h 16"/>
                  <a:gd name="T38" fmla="*/ 2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0" name="Freeform 935"/>
              <p:cNvSpPr>
                <a:spLocks noEditPoints="1"/>
              </p:cNvSpPr>
              <p:nvPr/>
            </p:nvSpPr>
            <p:spPr bwMode="auto">
              <a:xfrm>
                <a:off x="2494" y="450"/>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10 h 14"/>
                  <a:gd name="T14" fmla="*/ 12 w 18"/>
                  <a:gd name="T15" fmla="*/ 10 h 14"/>
                  <a:gd name="T16" fmla="*/ 10 w 18"/>
                  <a:gd name="T17" fmla="*/ 10 h 14"/>
                  <a:gd name="T18" fmla="*/ 10 w 18"/>
                  <a:gd name="T19" fmla="*/ 10 h 14"/>
                  <a:gd name="T20" fmla="*/ 12 w 18"/>
                  <a:gd name="T21" fmla="*/ 10 h 14"/>
                  <a:gd name="T22" fmla="*/ 12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10"/>
                    </a:lnTo>
                    <a:lnTo>
                      <a:pt x="12" y="10"/>
                    </a:lnTo>
                    <a:lnTo>
                      <a:pt x="10" y="10"/>
                    </a:lnTo>
                    <a:lnTo>
                      <a:pt x="10" y="10"/>
                    </a:lnTo>
                    <a:lnTo>
                      <a:pt x="12" y="10"/>
                    </a:lnTo>
                    <a:lnTo>
                      <a:pt x="12"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1" name="Freeform 936"/>
              <p:cNvSpPr>
                <a:spLocks/>
              </p:cNvSpPr>
              <p:nvPr/>
            </p:nvSpPr>
            <p:spPr bwMode="auto">
              <a:xfrm>
                <a:off x="2498" y="458"/>
                <a:ext cx="8" cy="4"/>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2 h 4"/>
                  <a:gd name="T14" fmla="*/ 8 w 8"/>
                  <a:gd name="T15" fmla="*/ 2 h 4"/>
                  <a:gd name="T16" fmla="*/ 6 w 8"/>
                  <a:gd name="T17" fmla="*/ 2 h 4"/>
                  <a:gd name="T18" fmla="*/ 6 w 8"/>
                  <a:gd name="T19" fmla="*/ 2 h 4"/>
                  <a:gd name="T20" fmla="*/ 8 w 8"/>
                  <a:gd name="T21" fmla="*/ 2 h 4"/>
                  <a:gd name="T22" fmla="*/ 8 w 8"/>
                  <a:gd name="T23" fmla="*/ 2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2"/>
                    </a:lnTo>
                    <a:lnTo>
                      <a:pt x="8" y="2"/>
                    </a:lnTo>
                    <a:lnTo>
                      <a:pt x="6" y="2"/>
                    </a:lnTo>
                    <a:lnTo>
                      <a:pt x="6" y="2"/>
                    </a:lnTo>
                    <a:lnTo>
                      <a:pt x="8" y="2"/>
                    </a:lnTo>
                    <a:lnTo>
                      <a:pt x="8"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2" name="Freeform 937"/>
              <p:cNvSpPr>
                <a:spLocks/>
              </p:cNvSpPr>
              <p:nvPr/>
            </p:nvSpPr>
            <p:spPr bwMode="auto">
              <a:xfrm>
                <a:off x="2494"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3" name="Freeform 938"/>
              <p:cNvSpPr>
                <a:spLocks/>
              </p:cNvSpPr>
              <p:nvPr/>
            </p:nvSpPr>
            <p:spPr bwMode="auto">
              <a:xfrm>
                <a:off x="2448"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4" name="Freeform 939"/>
              <p:cNvSpPr>
                <a:spLocks/>
              </p:cNvSpPr>
              <p:nvPr/>
            </p:nvSpPr>
            <p:spPr bwMode="auto">
              <a:xfrm>
                <a:off x="2448"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5" name="Freeform 940"/>
              <p:cNvSpPr>
                <a:spLocks/>
              </p:cNvSpPr>
              <p:nvPr/>
            </p:nvSpPr>
            <p:spPr bwMode="auto">
              <a:xfrm>
                <a:off x="2544"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6" name="Freeform 941"/>
              <p:cNvSpPr>
                <a:spLocks/>
              </p:cNvSpPr>
              <p:nvPr/>
            </p:nvSpPr>
            <p:spPr bwMode="auto">
              <a:xfrm>
                <a:off x="2544"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7" name="Freeform 942"/>
              <p:cNvSpPr>
                <a:spLocks/>
              </p:cNvSpPr>
              <p:nvPr/>
            </p:nvSpPr>
            <p:spPr bwMode="auto">
              <a:xfrm>
                <a:off x="2488"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8" name="Freeform 943"/>
              <p:cNvSpPr>
                <a:spLocks/>
              </p:cNvSpPr>
              <p:nvPr/>
            </p:nvSpPr>
            <p:spPr bwMode="auto">
              <a:xfrm>
                <a:off x="2488"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9" name="Freeform 944"/>
              <p:cNvSpPr>
                <a:spLocks/>
              </p:cNvSpPr>
              <p:nvPr/>
            </p:nvSpPr>
            <p:spPr bwMode="auto">
              <a:xfrm>
                <a:off x="2504"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0" name="Freeform 945"/>
              <p:cNvSpPr>
                <a:spLocks/>
              </p:cNvSpPr>
              <p:nvPr/>
            </p:nvSpPr>
            <p:spPr bwMode="auto">
              <a:xfrm>
                <a:off x="2504"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1" name="Freeform 946"/>
              <p:cNvSpPr>
                <a:spLocks/>
              </p:cNvSpPr>
              <p:nvPr/>
            </p:nvSpPr>
            <p:spPr bwMode="auto">
              <a:xfrm>
                <a:off x="2500"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2" name="Freeform 947"/>
              <p:cNvSpPr>
                <a:spLocks/>
              </p:cNvSpPr>
              <p:nvPr/>
            </p:nvSpPr>
            <p:spPr bwMode="auto">
              <a:xfrm>
                <a:off x="2500"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3" name="Freeform 948"/>
              <p:cNvSpPr>
                <a:spLocks noEditPoints="1"/>
              </p:cNvSpPr>
              <p:nvPr/>
            </p:nvSpPr>
            <p:spPr bwMode="auto">
              <a:xfrm>
                <a:off x="2500" y="458"/>
                <a:ext cx="6" cy="4"/>
              </a:xfrm>
              <a:custGeom>
                <a:avLst/>
                <a:gdLst>
                  <a:gd name="T0" fmla="*/ 4 w 6"/>
                  <a:gd name="T1" fmla="*/ 2 h 4"/>
                  <a:gd name="T2" fmla="*/ 4 w 6"/>
                  <a:gd name="T3" fmla="*/ 2 h 4"/>
                  <a:gd name="T4" fmla="*/ 0 w 6"/>
                  <a:gd name="T5" fmla="*/ 4 h 4"/>
                  <a:gd name="T6" fmla="*/ 0 w 6"/>
                  <a:gd name="T7" fmla="*/ 4 h 4"/>
                  <a:gd name="T8" fmla="*/ 0 w 6"/>
                  <a:gd name="T9" fmla="*/ 4 h 4"/>
                  <a:gd name="T10" fmla="*/ 0 w 6"/>
                  <a:gd name="T11" fmla="*/ 4 h 4"/>
                  <a:gd name="T12" fmla="*/ 6 w 6"/>
                  <a:gd name="T13" fmla="*/ 2 h 4"/>
                  <a:gd name="T14" fmla="*/ 6 w 6"/>
                  <a:gd name="T15" fmla="*/ 2 h 4"/>
                  <a:gd name="T16" fmla="*/ 4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4" y="2"/>
                    </a:moveTo>
                    <a:lnTo>
                      <a:pt x="4" y="2"/>
                    </a:lnTo>
                    <a:lnTo>
                      <a:pt x="0" y="4"/>
                    </a:lnTo>
                    <a:lnTo>
                      <a:pt x="0" y="4"/>
                    </a:lnTo>
                    <a:lnTo>
                      <a:pt x="0" y="4"/>
                    </a:lnTo>
                    <a:lnTo>
                      <a:pt x="0" y="4"/>
                    </a:lnTo>
                    <a:lnTo>
                      <a:pt x="6" y="2"/>
                    </a:lnTo>
                    <a:lnTo>
                      <a:pt x="6" y="2"/>
                    </a:lnTo>
                    <a:lnTo>
                      <a:pt x="4"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4" name="Freeform 949"/>
              <p:cNvSpPr>
                <a:spLocks/>
              </p:cNvSpPr>
              <p:nvPr/>
            </p:nvSpPr>
            <p:spPr bwMode="auto">
              <a:xfrm>
                <a:off x="2500" y="460"/>
                <a:ext cx="6" cy="2"/>
              </a:xfrm>
              <a:custGeom>
                <a:avLst/>
                <a:gdLst>
                  <a:gd name="T0" fmla="*/ 4 w 6"/>
                  <a:gd name="T1" fmla="*/ 0 h 2"/>
                  <a:gd name="T2" fmla="*/ 4 w 6"/>
                  <a:gd name="T3" fmla="*/ 0 h 2"/>
                  <a:gd name="T4" fmla="*/ 0 w 6"/>
                  <a:gd name="T5" fmla="*/ 2 h 2"/>
                  <a:gd name="T6" fmla="*/ 0 w 6"/>
                  <a:gd name="T7" fmla="*/ 2 h 2"/>
                  <a:gd name="T8" fmla="*/ 0 w 6"/>
                  <a:gd name="T9" fmla="*/ 2 h 2"/>
                  <a:gd name="T10" fmla="*/ 0 w 6"/>
                  <a:gd name="T11" fmla="*/ 2 h 2"/>
                  <a:gd name="T12" fmla="*/ 6 w 6"/>
                  <a:gd name="T13" fmla="*/ 0 h 2"/>
                  <a:gd name="T14" fmla="*/ 6 w 6"/>
                  <a:gd name="T15" fmla="*/ 0 h 2"/>
                  <a:gd name="T16" fmla="*/ 4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4" y="0"/>
                    </a:moveTo>
                    <a:lnTo>
                      <a:pt x="4" y="0"/>
                    </a:lnTo>
                    <a:lnTo>
                      <a:pt x="0" y="2"/>
                    </a:lnTo>
                    <a:lnTo>
                      <a:pt x="0" y="2"/>
                    </a:lnTo>
                    <a:lnTo>
                      <a:pt x="0" y="2"/>
                    </a:lnTo>
                    <a:lnTo>
                      <a:pt x="0" y="2"/>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5" name="Freeform 950"/>
              <p:cNvSpPr>
                <a:spLocks/>
              </p:cNvSpPr>
              <p:nvPr/>
            </p:nvSpPr>
            <p:spPr bwMode="auto">
              <a:xfrm>
                <a:off x="2502" y="458"/>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6" name="Freeform 951"/>
              <p:cNvSpPr>
                <a:spLocks/>
              </p:cNvSpPr>
              <p:nvPr/>
            </p:nvSpPr>
            <p:spPr bwMode="auto">
              <a:xfrm>
                <a:off x="3024"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7" name="Freeform 952"/>
              <p:cNvSpPr>
                <a:spLocks/>
              </p:cNvSpPr>
              <p:nvPr/>
            </p:nvSpPr>
            <p:spPr bwMode="auto">
              <a:xfrm>
                <a:off x="326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8" name="Freeform 953"/>
              <p:cNvSpPr>
                <a:spLocks/>
              </p:cNvSpPr>
              <p:nvPr/>
            </p:nvSpPr>
            <p:spPr bwMode="auto">
              <a:xfrm>
                <a:off x="335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9" name="Freeform 954"/>
              <p:cNvSpPr>
                <a:spLocks/>
              </p:cNvSpPr>
              <p:nvPr/>
            </p:nvSpPr>
            <p:spPr bwMode="auto">
              <a:xfrm>
                <a:off x="344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0" name="Freeform 955"/>
              <p:cNvSpPr>
                <a:spLocks/>
              </p:cNvSpPr>
              <p:nvPr/>
            </p:nvSpPr>
            <p:spPr bwMode="auto">
              <a:xfrm>
                <a:off x="311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1" name="Freeform 956"/>
              <p:cNvSpPr>
                <a:spLocks/>
              </p:cNvSpPr>
              <p:nvPr/>
            </p:nvSpPr>
            <p:spPr bwMode="auto">
              <a:xfrm>
                <a:off x="311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2" name="Freeform 957"/>
              <p:cNvSpPr>
                <a:spLocks/>
              </p:cNvSpPr>
              <p:nvPr/>
            </p:nvSpPr>
            <p:spPr bwMode="auto">
              <a:xfrm>
                <a:off x="3176"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3" name="Freeform 958"/>
              <p:cNvSpPr>
                <a:spLocks/>
              </p:cNvSpPr>
              <p:nvPr/>
            </p:nvSpPr>
            <p:spPr bwMode="auto">
              <a:xfrm>
                <a:off x="3176"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4" name="Freeform 959"/>
              <p:cNvSpPr>
                <a:spLocks noEditPoints="1"/>
              </p:cNvSpPr>
              <p:nvPr/>
            </p:nvSpPr>
            <p:spPr bwMode="auto">
              <a:xfrm>
                <a:off x="3536" y="410"/>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5" name="Freeform 960"/>
              <p:cNvSpPr>
                <a:spLocks noEditPoints="1"/>
              </p:cNvSpPr>
              <p:nvPr/>
            </p:nvSpPr>
            <p:spPr bwMode="auto">
              <a:xfrm>
                <a:off x="3674" y="410"/>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6" name="Freeform 961"/>
              <p:cNvSpPr>
                <a:spLocks/>
              </p:cNvSpPr>
              <p:nvPr/>
            </p:nvSpPr>
            <p:spPr bwMode="auto">
              <a:xfrm>
                <a:off x="3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7" name="Freeform 962"/>
              <p:cNvSpPr>
                <a:spLocks/>
              </p:cNvSpPr>
              <p:nvPr/>
            </p:nvSpPr>
            <p:spPr bwMode="auto">
              <a:xfrm>
                <a:off x="126"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8" name="Freeform 963"/>
              <p:cNvSpPr>
                <a:spLocks/>
              </p:cNvSpPr>
              <p:nvPr/>
            </p:nvSpPr>
            <p:spPr bwMode="auto">
              <a:xfrm>
                <a:off x="218"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9" name="Freeform 964"/>
              <p:cNvSpPr>
                <a:spLocks noEditPoints="1"/>
              </p:cNvSpPr>
              <p:nvPr/>
            </p:nvSpPr>
            <p:spPr bwMode="auto">
              <a:xfrm>
                <a:off x="310" y="598"/>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0" name="Freeform 965"/>
              <p:cNvSpPr>
                <a:spLocks noEditPoints="1"/>
              </p:cNvSpPr>
              <p:nvPr/>
            </p:nvSpPr>
            <p:spPr bwMode="auto">
              <a:xfrm>
                <a:off x="448" y="598"/>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1" name="Freeform 966"/>
              <p:cNvSpPr>
                <a:spLocks noEditPoints="1"/>
              </p:cNvSpPr>
              <p:nvPr/>
            </p:nvSpPr>
            <p:spPr bwMode="auto">
              <a:xfrm>
                <a:off x="866" y="598"/>
                <a:ext cx="100" cy="150"/>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2" name="Freeform 967"/>
              <p:cNvSpPr>
                <a:spLocks noEditPoints="1"/>
              </p:cNvSpPr>
              <p:nvPr/>
            </p:nvSpPr>
            <p:spPr bwMode="auto">
              <a:xfrm>
                <a:off x="1098" y="598"/>
                <a:ext cx="98" cy="150"/>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3" name="Freeform 968"/>
              <p:cNvSpPr>
                <a:spLocks/>
              </p:cNvSpPr>
              <p:nvPr/>
            </p:nvSpPr>
            <p:spPr bwMode="auto">
              <a:xfrm>
                <a:off x="100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4" name="Freeform 969"/>
              <p:cNvSpPr>
                <a:spLocks noEditPoints="1"/>
              </p:cNvSpPr>
              <p:nvPr/>
            </p:nvSpPr>
            <p:spPr bwMode="auto">
              <a:xfrm>
                <a:off x="1236" y="598"/>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5" name="Freeform 970"/>
              <p:cNvSpPr>
                <a:spLocks/>
              </p:cNvSpPr>
              <p:nvPr/>
            </p:nvSpPr>
            <p:spPr bwMode="auto">
              <a:xfrm>
                <a:off x="1376"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6" name="Freeform 971"/>
              <p:cNvSpPr>
                <a:spLocks/>
              </p:cNvSpPr>
              <p:nvPr/>
            </p:nvSpPr>
            <p:spPr bwMode="auto">
              <a:xfrm>
                <a:off x="1376"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7" name="Freeform 972"/>
              <p:cNvSpPr>
                <a:spLocks/>
              </p:cNvSpPr>
              <p:nvPr/>
            </p:nvSpPr>
            <p:spPr bwMode="auto">
              <a:xfrm>
                <a:off x="1436"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8" name="Freeform 973"/>
              <p:cNvSpPr>
                <a:spLocks/>
              </p:cNvSpPr>
              <p:nvPr/>
            </p:nvSpPr>
            <p:spPr bwMode="auto">
              <a:xfrm>
                <a:off x="1436"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9" name="Freeform 974"/>
              <p:cNvSpPr>
                <a:spLocks noEditPoints="1"/>
              </p:cNvSpPr>
              <p:nvPr/>
            </p:nvSpPr>
            <p:spPr bwMode="auto">
              <a:xfrm>
                <a:off x="1672" y="598"/>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0" name="Freeform 975"/>
              <p:cNvSpPr>
                <a:spLocks/>
              </p:cNvSpPr>
              <p:nvPr/>
            </p:nvSpPr>
            <p:spPr bwMode="auto">
              <a:xfrm>
                <a:off x="181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1" name="Freeform 976"/>
              <p:cNvSpPr>
                <a:spLocks noEditPoints="1"/>
              </p:cNvSpPr>
              <p:nvPr/>
            </p:nvSpPr>
            <p:spPr bwMode="auto">
              <a:xfrm>
                <a:off x="1524" y="606"/>
                <a:ext cx="108" cy="142"/>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2" name="Freeform 977"/>
              <p:cNvSpPr>
                <a:spLocks/>
              </p:cNvSpPr>
              <p:nvPr/>
            </p:nvSpPr>
            <p:spPr bwMode="auto">
              <a:xfrm>
                <a:off x="1568" y="666"/>
                <a:ext cx="22" cy="2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3" name="Freeform 978"/>
              <p:cNvSpPr>
                <a:spLocks/>
              </p:cNvSpPr>
              <p:nvPr/>
            </p:nvSpPr>
            <p:spPr bwMode="auto">
              <a:xfrm>
                <a:off x="1524" y="606"/>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4" name="Freeform 979"/>
              <p:cNvSpPr>
                <a:spLocks/>
              </p:cNvSpPr>
              <p:nvPr/>
            </p:nvSpPr>
            <p:spPr bwMode="auto">
              <a:xfrm>
                <a:off x="58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5" name="Freeform 980"/>
              <p:cNvSpPr>
                <a:spLocks/>
              </p:cNvSpPr>
              <p:nvPr/>
            </p:nvSpPr>
            <p:spPr bwMode="auto">
              <a:xfrm>
                <a:off x="68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6" name="Freeform 981"/>
              <p:cNvSpPr>
                <a:spLocks/>
              </p:cNvSpPr>
              <p:nvPr/>
            </p:nvSpPr>
            <p:spPr bwMode="auto">
              <a:xfrm>
                <a:off x="776"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7" name="Freeform 982"/>
              <p:cNvSpPr>
                <a:spLocks/>
              </p:cNvSpPr>
              <p:nvPr/>
            </p:nvSpPr>
            <p:spPr bwMode="auto">
              <a:xfrm>
                <a:off x="1180"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8" name="Freeform 983"/>
              <p:cNvSpPr>
                <a:spLocks/>
              </p:cNvSpPr>
              <p:nvPr/>
            </p:nvSpPr>
            <p:spPr bwMode="auto">
              <a:xfrm>
                <a:off x="127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9" name="Freeform 984"/>
              <p:cNvSpPr>
                <a:spLocks/>
              </p:cNvSpPr>
              <p:nvPr/>
            </p:nvSpPr>
            <p:spPr bwMode="auto">
              <a:xfrm>
                <a:off x="1362"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0" name="Freeform 985"/>
              <p:cNvSpPr>
                <a:spLocks/>
              </p:cNvSpPr>
              <p:nvPr/>
            </p:nvSpPr>
            <p:spPr bwMode="auto">
              <a:xfrm>
                <a:off x="145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1" name="Freeform 986"/>
              <p:cNvSpPr>
                <a:spLocks/>
              </p:cNvSpPr>
              <p:nvPr/>
            </p:nvSpPr>
            <p:spPr bwMode="auto">
              <a:xfrm>
                <a:off x="169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2" name="Freeform 987"/>
              <p:cNvSpPr>
                <a:spLocks/>
              </p:cNvSpPr>
              <p:nvPr/>
            </p:nvSpPr>
            <p:spPr bwMode="auto">
              <a:xfrm>
                <a:off x="178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3" name="Freeform 988"/>
              <p:cNvSpPr>
                <a:spLocks/>
              </p:cNvSpPr>
              <p:nvPr/>
            </p:nvSpPr>
            <p:spPr bwMode="auto">
              <a:xfrm>
                <a:off x="154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4" name="Freeform 989"/>
              <p:cNvSpPr>
                <a:spLocks/>
              </p:cNvSpPr>
              <p:nvPr/>
            </p:nvSpPr>
            <p:spPr bwMode="auto">
              <a:xfrm>
                <a:off x="154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5" name="Freeform 990"/>
              <p:cNvSpPr>
                <a:spLocks/>
              </p:cNvSpPr>
              <p:nvPr/>
            </p:nvSpPr>
            <p:spPr bwMode="auto">
              <a:xfrm>
                <a:off x="1604" y="41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6" name="Freeform 991"/>
              <p:cNvSpPr>
                <a:spLocks/>
              </p:cNvSpPr>
              <p:nvPr/>
            </p:nvSpPr>
            <p:spPr bwMode="auto">
              <a:xfrm>
                <a:off x="1604" y="41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7" name="Freeform 992"/>
              <p:cNvSpPr>
                <a:spLocks noEditPoints="1"/>
              </p:cNvSpPr>
              <p:nvPr/>
            </p:nvSpPr>
            <p:spPr bwMode="auto">
              <a:xfrm>
                <a:off x="400" y="410"/>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8" name="Freeform 993"/>
              <p:cNvSpPr>
                <a:spLocks noEditPoints="1"/>
              </p:cNvSpPr>
              <p:nvPr/>
            </p:nvSpPr>
            <p:spPr bwMode="auto">
              <a:xfrm>
                <a:off x="538" y="410"/>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9" name="Freeform 994"/>
              <p:cNvSpPr>
                <a:spLocks noEditPoints="1"/>
              </p:cNvSpPr>
              <p:nvPr/>
            </p:nvSpPr>
            <p:spPr bwMode="auto">
              <a:xfrm>
                <a:off x="950" y="410"/>
                <a:ext cx="100" cy="150"/>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0" name="Freeform 995"/>
              <p:cNvSpPr>
                <a:spLocks/>
              </p:cNvSpPr>
              <p:nvPr/>
            </p:nvSpPr>
            <p:spPr bwMode="auto">
              <a:xfrm>
                <a:off x="1088"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1" name="Freeform 996"/>
              <p:cNvSpPr>
                <a:spLocks/>
              </p:cNvSpPr>
              <p:nvPr/>
            </p:nvSpPr>
            <p:spPr bwMode="auto">
              <a:xfrm>
                <a:off x="676"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2" name="Freeform 997"/>
              <p:cNvSpPr>
                <a:spLocks/>
              </p:cNvSpPr>
              <p:nvPr/>
            </p:nvSpPr>
            <p:spPr bwMode="auto">
              <a:xfrm>
                <a:off x="76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3" name="Freeform 998"/>
              <p:cNvSpPr>
                <a:spLocks/>
              </p:cNvSpPr>
              <p:nvPr/>
            </p:nvSpPr>
            <p:spPr bwMode="auto">
              <a:xfrm>
                <a:off x="860"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4" name="Freeform 999"/>
              <p:cNvSpPr>
                <a:spLocks noEditPoints="1"/>
              </p:cNvSpPr>
              <p:nvPr/>
            </p:nvSpPr>
            <p:spPr bwMode="auto">
              <a:xfrm>
                <a:off x="12" y="410"/>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5" name="Freeform 1000"/>
              <p:cNvSpPr>
                <a:spLocks/>
              </p:cNvSpPr>
              <p:nvPr/>
            </p:nvSpPr>
            <p:spPr bwMode="auto">
              <a:xfrm>
                <a:off x="128"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6" name="Freeform 1001"/>
              <p:cNvSpPr>
                <a:spLocks/>
              </p:cNvSpPr>
              <p:nvPr/>
            </p:nvSpPr>
            <p:spPr bwMode="auto">
              <a:xfrm>
                <a:off x="21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7" name="Freeform 1002"/>
              <p:cNvSpPr>
                <a:spLocks/>
              </p:cNvSpPr>
              <p:nvPr/>
            </p:nvSpPr>
            <p:spPr bwMode="auto">
              <a:xfrm>
                <a:off x="310"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8" name="Freeform 1003"/>
              <p:cNvSpPr>
                <a:spLocks noEditPoints="1"/>
              </p:cNvSpPr>
              <p:nvPr/>
            </p:nvSpPr>
            <p:spPr bwMode="auto">
              <a:xfrm>
                <a:off x="148" y="200"/>
                <a:ext cx="100" cy="150"/>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9" name="Freeform 1004"/>
              <p:cNvSpPr>
                <a:spLocks/>
              </p:cNvSpPr>
              <p:nvPr/>
            </p:nvSpPr>
            <p:spPr bwMode="auto">
              <a:xfrm>
                <a:off x="286"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0" name="Freeform 1005"/>
              <p:cNvSpPr>
                <a:spLocks/>
              </p:cNvSpPr>
              <p:nvPr/>
            </p:nvSpPr>
            <p:spPr bwMode="auto">
              <a:xfrm>
                <a:off x="380"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1" name="Freeform 1006"/>
              <p:cNvSpPr>
                <a:spLocks/>
              </p:cNvSpPr>
              <p:nvPr/>
            </p:nvSpPr>
            <p:spPr bwMode="auto">
              <a:xfrm>
                <a:off x="472"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2" name="Freeform 1007"/>
              <p:cNvSpPr>
                <a:spLocks/>
              </p:cNvSpPr>
              <p:nvPr/>
            </p:nvSpPr>
            <p:spPr bwMode="auto">
              <a:xfrm>
                <a:off x="56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3" name="Freeform 1008"/>
              <p:cNvSpPr>
                <a:spLocks/>
              </p:cNvSpPr>
              <p:nvPr/>
            </p:nvSpPr>
            <p:spPr bwMode="auto">
              <a:xfrm>
                <a:off x="804"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8" name="Group 1210"/>
            <p:cNvGrpSpPr>
              <a:grpSpLocks/>
            </p:cNvGrpSpPr>
            <p:nvPr/>
          </p:nvGrpSpPr>
          <p:grpSpPr bwMode="auto">
            <a:xfrm>
              <a:off x="63500" y="0"/>
              <a:ext cx="11976056" cy="3352800"/>
              <a:chOff x="40" y="200"/>
              <a:chExt cx="7544" cy="2112"/>
            </a:xfrm>
          </p:grpSpPr>
          <p:sp>
            <p:nvSpPr>
              <p:cNvPr id="1794" name="Freeform 1010"/>
              <p:cNvSpPr>
                <a:spLocks/>
              </p:cNvSpPr>
              <p:nvPr/>
            </p:nvSpPr>
            <p:spPr bwMode="auto">
              <a:xfrm>
                <a:off x="898"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5" name="Freeform 1011"/>
              <p:cNvSpPr>
                <a:spLocks/>
              </p:cNvSpPr>
              <p:nvPr/>
            </p:nvSpPr>
            <p:spPr bwMode="auto">
              <a:xfrm>
                <a:off x="990"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6" name="Freeform 1012"/>
              <p:cNvSpPr>
                <a:spLocks/>
              </p:cNvSpPr>
              <p:nvPr/>
            </p:nvSpPr>
            <p:spPr bwMode="auto">
              <a:xfrm>
                <a:off x="1084"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1797" name="Picture 10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 y="200"/>
                <a:ext cx="66"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98" name="Freeform 1014"/>
              <p:cNvSpPr>
                <a:spLocks/>
              </p:cNvSpPr>
              <p:nvPr/>
            </p:nvSpPr>
            <p:spPr bwMode="auto">
              <a:xfrm>
                <a:off x="716" y="20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9" name="Freeform 1015"/>
              <p:cNvSpPr>
                <a:spLocks/>
              </p:cNvSpPr>
              <p:nvPr/>
            </p:nvSpPr>
            <p:spPr bwMode="auto">
              <a:xfrm>
                <a:off x="716" y="20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0" name="Freeform 1016"/>
              <p:cNvSpPr>
                <a:spLocks/>
              </p:cNvSpPr>
              <p:nvPr/>
            </p:nvSpPr>
            <p:spPr bwMode="auto">
              <a:xfrm>
                <a:off x="1404" y="204"/>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1" name="Freeform 1017"/>
              <p:cNvSpPr>
                <a:spLocks/>
              </p:cNvSpPr>
              <p:nvPr/>
            </p:nvSpPr>
            <p:spPr bwMode="auto">
              <a:xfrm>
                <a:off x="1404" y="204"/>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2" name="Freeform 1018"/>
              <p:cNvSpPr>
                <a:spLocks/>
              </p:cNvSpPr>
              <p:nvPr/>
            </p:nvSpPr>
            <p:spPr bwMode="auto">
              <a:xfrm>
                <a:off x="1466"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3" name="Freeform 1019"/>
              <p:cNvSpPr>
                <a:spLocks/>
              </p:cNvSpPr>
              <p:nvPr/>
            </p:nvSpPr>
            <p:spPr bwMode="auto">
              <a:xfrm>
                <a:off x="1466"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4" name="Freeform 1020"/>
              <p:cNvSpPr>
                <a:spLocks/>
              </p:cNvSpPr>
              <p:nvPr/>
            </p:nvSpPr>
            <p:spPr bwMode="auto">
              <a:xfrm>
                <a:off x="155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5" name="Freeform 1021"/>
              <p:cNvSpPr>
                <a:spLocks/>
              </p:cNvSpPr>
              <p:nvPr/>
            </p:nvSpPr>
            <p:spPr bwMode="auto">
              <a:xfrm>
                <a:off x="1646"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6" name="Freeform 1022"/>
              <p:cNvSpPr>
                <a:spLocks/>
              </p:cNvSpPr>
              <p:nvPr/>
            </p:nvSpPr>
            <p:spPr bwMode="auto">
              <a:xfrm>
                <a:off x="1738"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7" name="Freeform 1023"/>
              <p:cNvSpPr>
                <a:spLocks/>
              </p:cNvSpPr>
              <p:nvPr/>
            </p:nvSpPr>
            <p:spPr bwMode="auto">
              <a:xfrm>
                <a:off x="1978"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8" name="Freeform 1024"/>
              <p:cNvSpPr>
                <a:spLocks/>
              </p:cNvSpPr>
              <p:nvPr/>
            </p:nvSpPr>
            <p:spPr bwMode="auto">
              <a:xfrm>
                <a:off x="2070"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9" name="Freeform 1025"/>
              <p:cNvSpPr>
                <a:spLocks/>
              </p:cNvSpPr>
              <p:nvPr/>
            </p:nvSpPr>
            <p:spPr bwMode="auto">
              <a:xfrm>
                <a:off x="2164"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0" name="Freeform 1026"/>
              <p:cNvSpPr>
                <a:spLocks noEditPoints="1"/>
              </p:cNvSpPr>
              <p:nvPr/>
            </p:nvSpPr>
            <p:spPr bwMode="auto">
              <a:xfrm>
                <a:off x="2254" y="200"/>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1" name="Freeform 1027"/>
              <p:cNvSpPr>
                <a:spLocks noEditPoints="1"/>
              </p:cNvSpPr>
              <p:nvPr/>
            </p:nvSpPr>
            <p:spPr bwMode="auto">
              <a:xfrm>
                <a:off x="2394" y="200"/>
                <a:ext cx="98" cy="150"/>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2" name="Freeform 1028"/>
              <p:cNvSpPr>
                <a:spLocks/>
              </p:cNvSpPr>
              <p:nvPr/>
            </p:nvSpPr>
            <p:spPr bwMode="auto">
              <a:xfrm>
                <a:off x="183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3" name="Freeform 1029"/>
              <p:cNvSpPr>
                <a:spLocks/>
              </p:cNvSpPr>
              <p:nvPr/>
            </p:nvSpPr>
            <p:spPr bwMode="auto">
              <a:xfrm>
                <a:off x="183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4" name="Freeform 1030"/>
              <p:cNvSpPr>
                <a:spLocks/>
              </p:cNvSpPr>
              <p:nvPr/>
            </p:nvSpPr>
            <p:spPr bwMode="auto">
              <a:xfrm>
                <a:off x="189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5" name="Freeform 1031"/>
              <p:cNvSpPr>
                <a:spLocks/>
              </p:cNvSpPr>
              <p:nvPr/>
            </p:nvSpPr>
            <p:spPr bwMode="auto">
              <a:xfrm>
                <a:off x="189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6" name="Freeform 1032"/>
              <p:cNvSpPr>
                <a:spLocks noEditPoints="1"/>
              </p:cNvSpPr>
              <p:nvPr/>
            </p:nvSpPr>
            <p:spPr bwMode="auto">
              <a:xfrm>
                <a:off x="2810" y="200"/>
                <a:ext cx="100" cy="150"/>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7" name="Freeform 1033"/>
              <p:cNvSpPr>
                <a:spLocks noEditPoints="1"/>
              </p:cNvSpPr>
              <p:nvPr/>
            </p:nvSpPr>
            <p:spPr bwMode="auto">
              <a:xfrm>
                <a:off x="3040" y="200"/>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8" name="Freeform 1034"/>
              <p:cNvSpPr>
                <a:spLocks/>
              </p:cNvSpPr>
              <p:nvPr/>
            </p:nvSpPr>
            <p:spPr bwMode="auto">
              <a:xfrm>
                <a:off x="2948"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9" name="Freeform 1035"/>
              <p:cNvSpPr>
                <a:spLocks noEditPoints="1"/>
              </p:cNvSpPr>
              <p:nvPr/>
            </p:nvSpPr>
            <p:spPr bwMode="auto">
              <a:xfrm>
                <a:off x="3180" y="200"/>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0" name="Freeform 1036"/>
              <p:cNvSpPr>
                <a:spLocks/>
              </p:cNvSpPr>
              <p:nvPr/>
            </p:nvSpPr>
            <p:spPr bwMode="auto">
              <a:xfrm>
                <a:off x="332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1" name="Freeform 1037"/>
              <p:cNvSpPr>
                <a:spLocks/>
              </p:cNvSpPr>
              <p:nvPr/>
            </p:nvSpPr>
            <p:spPr bwMode="auto">
              <a:xfrm>
                <a:off x="332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2" name="Freeform 1038"/>
              <p:cNvSpPr>
                <a:spLocks/>
              </p:cNvSpPr>
              <p:nvPr/>
            </p:nvSpPr>
            <p:spPr bwMode="auto">
              <a:xfrm>
                <a:off x="338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3" name="Freeform 1039"/>
              <p:cNvSpPr>
                <a:spLocks/>
              </p:cNvSpPr>
              <p:nvPr/>
            </p:nvSpPr>
            <p:spPr bwMode="auto">
              <a:xfrm>
                <a:off x="338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4" name="Freeform 1040"/>
              <p:cNvSpPr>
                <a:spLocks noEditPoints="1"/>
              </p:cNvSpPr>
              <p:nvPr/>
            </p:nvSpPr>
            <p:spPr bwMode="auto">
              <a:xfrm>
                <a:off x="3614" y="200"/>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5" name="Freeform 1041"/>
              <p:cNvSpPr>
                <a:spLocks/>
              </p:cNvSpPr>
              <p:nvPr/>
            </p:nvSpPr>
            <p:spPr bwMode="auto">
              <a:xfrm>
                <a:off x="3746"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6" name="Freeform 1042"/>
              <p:cNvSpPr>
                <a:spLocks noEditPoints="1"/>
              </p:cNvSpPr>
              <p:nvPr/>
            </p:nvSpPr>
            <p:spPr bwMode="auto">
              <a:xfrm>
                <a:off x="3466" y="208"/>
                <a:ext cx="110" cy="142"/>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7" name="Freeform 1043"/>
              <p:cNvSpPr>
                <a:spLocks/>
              </p:cNvSpPr>
              <p:nvPr/>
            </p:nvSpPr>
            <p:spPr bwMode="auto">
              <a:xfrm>
                <a:off x="3510" y="266"/>
                <a:ext cx="22" cy="22"/>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8" name="Freeform 1044"/>
              <p:cNvSpPr>
                <a:spLocks/>
              </p:cNvSpPr>
              <p:nvPr/>
            </p:nvSpPr>
            <p:spPr bwMode="auto">
              <a:xfrm>
                <a:off x="3466" y="208"/>
                <a:ext cx="110" cy="142"/>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9" name="Freeform 1045"/>
              <p:cNvSpPr>
                <a:spLocks noEditPoints="1"/>
              </p:cNvSpPr>
              <p:nvPr/>
            </p:nvSpPr>
            <p:spPr bwMode="auto">
              <a:xfrm>
                <a:off x="1176" y="202"/>
                <a:ext cx="188" cy="146"/>
              </a:xfrm>
              <a:custGeom>
                <a:avLst/>
                <a:gdLst>
                  <a:gd name="T0" fmla="*/ 116 w 188"/>
                  <a:gd name="T1" fmla="*/ 104 h 146"/>
                  <a:gd name="T2" fmla="*/ 114 w 188"/>
                  <a:gd name="T3" fmla="*/ 130 h 146"/>
                  <a:gd name="T4" fmla="*/ 14 w 188"/>
                  <a:gd name="T5" fmla="*/ 100 h 146"/>
                  <a:gd name="T6" fmla="*/ 20 w 188"/>
                  <a:gd name="T7" fmla="*/ 122 h 146"/>
                  <a:gd name="T8" fmla="*/ 4 w 188"/>
                  <a:gd name="T9" fmla="*/ 110 h 146"/>
                  <a:gd name="T10" fmla="*/ 6 w 188"/>
                  <a:gd name="T11" fmla="*/ 64 h 146"/>
                  <a:gd name="T12" fmla="*/ 14 w 188"/>
                  <a:gd name="T13" fmla="*/ 64 h 146"/>
                  <a:gd name="T14" fmla="*/ 8 w 188"/>
                  <a:gd name="T15" fmla="*/ 70 h 146"/>
                  <a:gd name="T16" fmla="*/ 6 w 188"/>
                  <a:gd name="T17" fmla="*/ 50 h 146"/>
                  <a:gd name="T18" fmla="*/ 82 w 188"/>
                  <a:gd name="T19" fmla="*/ 20 h 146"/>
                  <a:gd name="T20" fmla="*/ 130 w 188"/>
                  <a:gd name="T21" fmla="*/ 8 h 146"/>
                  <a:gd name="T22" fmla="*/ 158 w 188"/>
                  <a:gd name="T23" fmla="*/ 32 h 146"/>
                  <a:gd name="T24" fmla="*/ 156 w 188"/>
                  <a:gd name="T25" fmla="*/ 40 h 146"/>
                  <a:gd name="T26" fmla="*/ 148 w 188"/>
                  <a:gd name="T27" fmla="*/ 48 h 146"/>
                  <a:gd name="T28" fmla="*/ 156 w 188"/>
                  <a:gd name="T29" fmla="*/ 48 h 146"/>
                  <a:gd name="T30" fmla="*/ 160 w 188"/>
                  <a:gd name="T31" fmla="*/ 42 h 146"/>
                  <a:gd name="T32" fmla="*/ 176 w 188"/>
                  <a:gd name="T33" fmla="*/ 28 h 146"/>
                  <a:gd name="T34" fmla="*/ 182 w 188"/>
                  <a:gd name="T35" fmla="*/ 70 h 146"/>
                  <a:gd name="T36" fmla="*/ 150 w 188"/>
                  <a:gd name="T37" fmla="*/ 88 h 146"/>
                  <a:gd name="T38" fmla="*/ 132 w 188"/>
                  <a:gd name="T39" fmla="*/ 98 h 146"/>
                  <a:gd name="T40" fmla="*/ 144 w 188"/>
                  <a:gd name="T41" fmla="*/ 90 h 146"/>
                  <a:gd name="T42" fmla="*/ 132 w 188"/>
                  <a:gd name="T43" fmla="*/ 102 h 146"/>
                  <a:gd name="T44" fmla="*/ 112 w 188"/>
                  <a:gd name="T45" fmla="*/ 92 h 146"/>
                  <a:gd name="T46" fmla="*/ 90 w 188"/>
                  <a:gd name="T47" fmla="*/ 136 h 146"/>
                  <a:gd name="T48" fmla="*/ 68 w 188"/>
                  <a:gd name="T49" fmla="*/ 128 h 146"/>
                  <a:gd name="T50" fmla="*/ 78 w 188"/>
                  <a:gd name="T51" fmla="*/ 110 h 146"/>
                  <a:gd name="T52" fmla="*/ 60 w 188"/>
                  <a:gd name="T53" fmla="*/ 116 h 146"/>
                  <a:gd name="T54" fmla="*/ 52 w 188"/>
                  <a:gd name="T55" fmla="*/ 114 h 146"/>
                  <a:gd name="T56" fmla="*/ 46 w 188"/>
                  <a:gd name="T57" fmla="*/ 138 h 146"/>
                  <a:gd name="T58" fmla="*/ 26 w 188"/>
                  <a:gd name="T59" fmla="*/ 126 h 146"/>
                  <a:gd name="T60" fmla="*/ 14 w 188"/>
                  <a:gd name="T61" fmla="*/ 88 h 146"/>
                  <a:gd name="T62" fmla="*/ 42 w 188"/>
                  <a:gd name="T63" fmla="*/ 38 h 146"/>
                  <a:gd name="T64" fmla="*/ 40 w 188"/>
                  <a:gd name="T65" fmla="*/ 60 h 146"/>
                  <a:gd name="T66" fmla="*/ 48 w 188"/>
                  <a:gd name="T67" fmla="*/ 86 h 146"/>
                  <a:gd name="T68" fmla="*/ 66 w 188"/>
                  <a:gd name="T69" fmla="*/ 98 h 146"/>
                  <a:gd name="T70" fmla="*/ 96 w 188"/>
                  <a:gd name="T71" fmla="*/ 78 h 146"/>
                  <a:gd name="T72" fmla="*/ 92 w 188"/>
                  <a:gd name="T73" fmla="*/ 80 h 146"/>
                  <a:gd name="T74" fmla="*/ 62 w 188"/>
                  <a:gd name="T75" fmla="*/ 96 h 146"/>
                  <a:gd name="T76" fmla="*/ 56 w 188"/>
                  <a:gd name="T77" fmla="*/ 76 h 146"/>
                  <a:gd name="T78" fmla="*/ 44 w 188"/>
                  <a:gd name="T79" fmla="*/ 62 h 146"/>
                  <a:gd name="T80" fmla="*/ 78 w 188"/>
                  <a:gd name="T81" fmla="*/ 22 h 146"/>
                  <a:gd name="T82" fmla="*/ 104 w 188"/>
                  <a:gd name="T83" fmla="*/ 0 h 146"/>
                  <a:gd name="T84" fmla="*/ 72 w 188"/>
                  <a:gd name="T85" fmla="*/ 22 h 146"/>
                  <a:gd name="T86" fmla="*/ 24 w 188"/>
                  <a:gd name="T87" fmla="*/ 46 h 146"/>
                  <a:gd name="T88" fmla="*/ 10 w 188"/>
                  <a:gd name="T89" fmla="*/ 54 h 146"/>
                  <a:gd name="T90" fmla="*/ 0 w 188"/>
                  <a:gd name="T91" fmla="*/ 52 h 146"/>
                  <a:gd name="T92" fmla="*/ 10 w 188"/>
                  <a:gd name="T93" fmla="*/ 72 h 146"/>
                  <a:gd name="T94" fmla="*/ 2 w 188"/>
                  <a:gd name="T95" fmla="*/ 106 h 146"/>
                  <a:gd name="T96" fmla="*/ 22 w 188"/>
                  <a:gd name="T97" fmla="*/ 128 h 146"/>
                  <a:gd name="T98" fmla="*/ 42 w 188"/>
                  <a:gd name="T99" fmla="*/ 144 h 146"/>
                  <a:gd name="T100" fmla="*/ 50 w 188"/>
                  <a:gd name="T101" fmla="*/ 130 h 146"/>
                  <a:gd name="T102" fmla="*/ 64 w 188"/>
                  <a:gd name="T103" fmla="*/ 128 h 146"/>
                  <a:gd name="T104" fmla="*/ 88 w 188"/>
                  <a:gd name="T105" fmla="*/ 142 h 146"/>
                  <a:gd name="T106" fmla="*/ 122 w 188"/>
                  <a:gd name="T107" fmla="*/ 130 h 146"/>
                  <a:gd name="T108" fmla="*/ 116 w 188"/>
                  <a:gd name="T109" fmla="*/ 96 h 146"/>
                  <a:gd name="T110" fmla="*/ 132 w 188"/>
                  <a:gd name="T111" fmla="*/ 104 h 146"/>
                  <a:gd name="T112" fmla="*/ 154 w 188"/>
                  <a:gd name="T113" fmla="*/ 92 h 146"/>
                  <a:gd name="T114" fmla="*/ 184 w 188"/>
                  <a:gd name="T115" fmla="*/ 72 h 146"/>
                  <a:gd name="T116" fmla="*/ 176 w 188"/>
                  <a:gd name="T117" fmla="*/ 24 h 146"/>
                  <a:gd name="T118" fmla="*/ 162 w 188"/>
                  <a:gd name="T119" fmla="*/ 34 h 146"/>
                  <a:gd name="T120" fmla="*/ 132 w 188"/>
                  <a:gd name="T121" fmla="*/ 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8" y="120"/>
                    </a:moveTo>
                    <a:lnTo>
                      <a:pt x="108" y="120"/>
                    </a:lnTo>
                    <a:lnTo>
                      <a:pt x="116" y="102"/>
                    </a:lnTo>
                    <a:lnTo>
                      <a:pt x="116" y="102"/>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4" y="130"/>
                    </a:lnTo>
                    <a:lnTo>
                      <a:pt x="114" y="130"/>
                    </a:lnTo>
                    <a:lnTo>
                      <a:pt x="102" y="130"/>
                    </a:lnTo>
                    <a:lnTo>
                      <a:pt x="102" y="130"/>
                    </a:lnTo>
                    <a:lnTo>
                      <a:pt x="108" y="120"/>
                    </a:lnTo>
                    <a:close/>
                    <a:moveTo>
                      <a:pt x="6" y="106"/>
                    </a:moveTo>
                    <a:lnTo>
                      <a:pt x="6" y="106"/>
                    </a:lnTo>
                    <a:lnTo>
                      <a:pt x="6" y="104"/>
                    </a:lnTo>
                    <a:lnTo>
                      <a:pt x="6" y="104"/>
                    </a:lnTo>
                    <a:lnTo>
                      <a:pt x="14" y="100"/>
                    </a:lnTo>
                    <a:lnTo>
                      <a:pt x="14" y="100"/>
                    </a:lnTo>
                    <a:lnTo>
                      <a:pt x="22" y="116"/>
                    </a:lnTo>
                    <a:lnTo>
                      <a:pt x="22" y="116"/>
                    </a:lnTo>
                    <a:lnTo>
                      <a:pt x="24" y="118"/>
                    </a:lnTo>
                    <a:lnTo>
                      <a:pt x="22" y="120"/>
                    </a:lnTo>
                    <a:lnTo>
                      <a:pt x="22" y="120"/>
                    </a:lnTo>
                    <a:lnTo>
                      <a:pt x="22" y="122"/>
                    </a:lnTo>
                    <a:lnTo>
                      <a:pt x="20" y="122"/>
                    </a:lnTo>
                    <a:lnTo>
                      <a:pt x="20" y="122"/>
                    </a:lnTo>
                    <a:lnTo>
                      <a:pt x="18" y="122"/>
                    </a:lnTo>
                    <a:lnTo>
                      <a:pt x="18" y="122"/>
                    </a:lnTo>
                    <a:lnTo>
                      <a:pt x="14" y="120"/>
                    </a:lnTo>
                    <a:lnTo>
                      <a:pt x="10" y="118"/>
                    </a:lnTo>
                    <a:lnTo>
                      <a:pt x="6" y="114"/>
                    </a:lnTo>
                    <a:lnTo>
                      <a:pt x="4" y="110"/>
                    </a:lnTo>
                    <a:lnTo>
                      <a:pt x="4" y="110"/>
                    </a:lnTo>
                    <a:lnTo>
                      <a:pt x="6" y="106"/>
                    </a:lnTo>
                    <a:close/>
                    <a:moveTo>
                      <a:pt x="10" y="50"/>
                    </a:moveTo>
                    <a:lnTo>
                      <a:pt x="10" y="50"/>
                    </a:lnTo>
                    <a:lnTo>
                      <a:pt x="10" y="50"/>
                    </a:lnTo>
                    <a:lnTo>
                      <a:pt x="10" y="50"/>
                    </a:lnTo>
                    <a:lnTo>
                      <a:pt x="6" y="60"/>
                    </a:lnTo>
                    <a:lnTo>
                      <a:pt x="6" y="60"/>
                    </a:lnTo>
                    <a:lnTo>
                      <a:pt x="6" y="64"/>
                    </a:lnTo>
                    <a:lnTo>
                      <a:pt x="6" y="64"/>
                    </a:lnTo>
                    <a:lnTo>
                      <a:pt x="8" y="66"/>
                    </a:lnTo>
                    <a:lnTo>
                      <a:pt x="8" y="66"/>
                    </a:lnTo>
                    <a:lnTo>
                      <a:pt x="10" y="66"/>
                    </a:lnTo>
                    <a:lnTo>
                      <a:pt x="10" y="66"/>
                    </a:lnTo>
                    <a:lnTo>
                      <a:pt x="14" y="64"/>
                    </a:lnTo>
                    <a:lnTo>
                      <a:pt x="14" y="64"/>
                    </a:lnTo>
                    <a:lnTo>
                      <a:pt x="14" y="64"/>
                    </a:lnTo>
                    <a:lnTo>
                      <a:pt x="14" y="64"/>
                    </a:lnTo>
                    <a:lnTo>
                      <a:pt x="14" y="64"/>
                    </a:lnTo>
                    <a:lnTo>
                      <a:pt x="14" y="64"/>
                    </a:lnTo>
                    <a:lnTo>
                      <a:pt x="12" y="68"/>
                    </a:lnTo>
                    <a:lnTo>
                      <a:pt x="8" y="70"/>
                    </a:lnTo>
                    <a:lnTo>
                      <a:pt x="8" y="70"/>
                    </a:lnTo>
                    <a:lnTo>
                      <a:pt x="8" y="70"/>
                    </a:lnTo>
                    <a:lnTo>
                      <a:pt x="8" y="70"/>
                    </a:lnTo>
                    <a:lnTo>
                      <a:pt x="6" y="68"/>
                    </a:lnTo>
                    <a:lnTo>
                      <a:pt x="6" y="68"/>
                    </a:lnTo>
                    <a:lnTo>
                      <a:pt x="4" y="66"/>
                    </a:lnTo>
                    <a:lnTo>
                      <a:pt x="2" y="62"/>
                    </a:lnTo>
                    <a:lnTo>
                      <a:pt x="2" y="58"/>
                    </a:lnTo>
                    <a:lnTo>
                      <a:pt x="2" y="54"/>
                    </a:lnTo>
                    <a:lnTo>
                      <a:pt x="2" y="54"/>
                    </a:lnTo>
                    <a:lnTo>
                      <a:pt x="6" y="50"/>
                    </a:lnTo>
                    <a:lnTo>
                      <a:pt x="6" y="50"/>
                    </a:lnTo>
                    <a:lnTo>
                      <a:pt x="8" y="50"/>
                    </a:lnTo>
                    <a:lnTo>
                      <a:pt x="8" y="50"/>
                    </a:lnTo>
                    <a:lnTo>
                      <a:pt x="8" y="50"/>
                    </a:lnTo>
                    <a:lnTo>
                      <a:pt x="8" y="50"/>
                    </a:lnTo>
                    <a:lnTo>
                      <a:pt x="10"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2" y="50"/>
                    </a:lnTo>
                    <a:lnTo>
                      <a:pt x="160" y="42"/>
                    </a:lnTo>
                    <a:lnTo>
                      <a:pt x="160"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6" y="98"/>
                    </a:lnTo>
                    <a:lnTo>
                      <a:pt x="126"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50" y="126"/>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0" name="Freeform 1046"/>
              <p:cNvSpPr>
                <a:spLocks/>
              </p:cNvSpPr>
              <p:nvPr/>
            </p:nvSpPr>
            <p:spPr bwMode="auto">
              <a:xfrm>
                <a:off x="1278" y="304"/>
                <a:ext cx="18" cy="28"/>
              </a:xfrm>
              <a:custGeom>
                <a:avLst/>
                <a:gdLst>
                  <a:gd name="T0" fmla="*/ 6 w 18"/>
                  <a:gd name="T1" fmla="*/ 18 h 28"/>
                  <a:gd name="T2" fmla="*/ 6 w 18"/>
                  <a:gd name="T3" fmla="*/ 18 h 28"/>
                  <a:gd name="T4" fmla="*/ 14 w 18"/>
                  <a:gd name="T5" fmla="*/ 0 h 28"/>
                  <a:gd name="T6" fmla="*/ 14 w 18"/>
                  <a:gd name="T7" fmla="*/ 0 h 28"/>
                  <a:gd name="T8" fmla="*/ 14 w 18"/>
                  <a:gd name="T9" fmla="*/ 2 h 28"/>
                  <a:gd name="T10" fmla="*/ 14 w 18"/>
                  <a:gd name="T11" fmla="*/ 2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2 w 18"/>
                  <a:gd name="T29" fmla="*/ 28 h 28"/>
                  <a:gd name="T30" fmla="*/ 12 w 18"/>
                  <a:gd name="T31" fmla="*/ 28 h 28"/>
                  <a:gd name="T32" fmla="*/ 0 w 18"/>
                  <a:gd name="T33" fmla="*/ 28 h 28"/>
                  <a:gd name="T34" fmla="*/ 0 w 18"/>
                  <a:gd name="T35" fmla="*/ 28 h 28"/>
                  <a:gd name="T36" fmla="*/ 6 w 18"/>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6" y="18"/>
                    </a:moveTo>
                    <a:lnTo>
                      <a:pt x="6" y="18"/>
                    </a:lnTo>
                    <a:lnTo>
                      <a:pt x="14" y="0"/>
                    </a:lnTo>
                    <a:lnTo>
                      <a:pt x="14" y="0"/>
                    </a:lnTo>
                    <a:lnTo>
                      <a:pt x="14" y="2"/>
                    </a:lnTo>
                    <a:lnTo>
                      <a:pt x="14" y="2"/>
                    </a:lnTo>
                    <a:lnTo>
                      <a:pt x="14" y="2"/>
                    </a:lnTo>
                    <a:lnTo>
                      <a:pt x="14" y="2"/>
                    </a:lnTo>
                    <a:lnTo>
                      <a:pt x="16" y="10"/>
                    </a:lnTo>
                    <a:lnTo>
                      <a:pt x="16" y="10"/>
                    </a:lnTo>
                    <a:lnTo>
                      <a:pt x="18" y="24"/>
                    </a:lnTo>
                    <a:lnTo>
                      <a:pt x="18" y="24"/>
                    </a:lnTo>
                    <a:lnTo>
                      <a:pt x="16" y="28"/>
                    </a:lnTo>
                    <a:lnTo>
                      <a:pt x="16" y="28"/>
                    </a:lnTo>
                    <a:lnTo>
                      <a:pt x="12" y="28"/>
                    </a:lnTo>
                    <a:lnTo>
                      <a:pt x="12" y="28"/>
                    </a:lnTo>
                    <a:lnTo>
                      <a:pt x="0" y="28"/>
                    </a:lnTo>
                    <a:lnTo>
                      <a:pt x="0" y="28"/>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1" name="Freeform 1047"/>
              <p:cNvSpPr>
                <a:spLocks/>
              </p:cNvSpPr>
              <p:nvPr/>
            </p:nvSpPr>
            <p:spPr bwMode="auto">
              <a:xfrm>
                <a:off x="1180" y="302"/>
                <a:ext cx="20" cy="22"/>
              </a:xfrm>
              <a:custGeom>
                <a:avLst/>
                <a:gdLst>
                  <a:gd name="T0" fmla="*/ 2 w 20"/>
                  <a:gd name="T1" fmla="*/ 6 h 22"/>
                  <a:gd name="T2" fmla="*/ 2 w 20"/>
                  <a:gd name="T3" fmla="*/ 6 h 22"/>
                  <a:gd name="T4" fmla="*/ 2 w 20"/>
                  <a:gd name="T5" fmla="*/ 4 h 22"/>
                  <a:gd name="T6" fmla="*/ 2 w 20"/>
                  <a:gd name="T7" fmla="*/ 4 h 22"/>
                  <a:gd name="T8" fmla="*/ 10 w 20"/>
                  <a:gd name="T9" fmla="*/ 0 h 22"/>
                  <a:gd name="T10" fmla="*/ 10 w 20"/>
                  <a:gd name="T11" fmla="*/ 0 h 22"/>
                  <a:gd name="T12" fmla="*/ 18 w 20"/>
                  <a:gd name="T13" fmla="*/ 16 h 22"/>
                  <a:gd name="T14" fmla="*/ 18 w 20"/>
                  <a:gd name="T15" fmla="*/ 16 h 22"/>
                  <a:gd name="T16" fmla="*/ 20 w 20"/>
                  <a:gd name="T17" fmla="*/ 18 h 22"/>
                  <a:gd name="T18" fmla="*/ 18 w 20"/>
                  <a:gd name="T19" fmla="*/ 20 h 22"/>
                  <a:gd name="T20" fmla="*/ 18 w 20"/>
                  <a:gd name="T21" fmla="*/ 20 h 22"/>
                  <a:gd name="T22" fmla="*/ 18 w 20"/>
                  <a:gd name="T23" fmla="*/ 22 h 22"/>
                  <a:gd name="T24" fmla="*/ 16 w 20"/>
                  <a:gd name="T25" fmla="*/ 22 h 22"/>
                  <a:gd name="T26" fmla="*/ 16 w 20"/>
                  <a:gd name="T27" fmla="*/ 22 h 22"/>
                  <a:gd name="T28" fmla="*/ 14 w 20"/>
                  <a:gd name="T29" fmla="*/ 22 h 22"/>
                  <a:gd name="T30" fmla="*/ 14 w 20"/>
                  <a:gd name="T31" fmla="*/ 22 h 22"/>
                  <a:gd name="T32" fmla="*/ 10 w 20"/>
                  <a:gd name="T33" fmla="*/ 20 h 22"/>
                  <a:gd name="T34" fmla="*/ 6 w 20"/>
                  <a:gd name="T35" fmla="*/ 18 h 22"/>
                  <a:gd name="T36" fmla="*/ 2 w 20"/>
                  <a:gd name="T37" fmla="*/ 14 h 22"/>
                  <a:gd name="T38" fmla="*/ 0 w 20"/>
                  <a:gd name="T39" fmla="*/ 10 h 22"/>
                  <a:gd name="T40" fmla="*/ 0 w 20"/>
                  <a:gd name="T41" fmla="*/ 10 h 22"/>
                  <a:gd name="T42" fmla="*/ 2 w 20"/>
                  <a:gd name="T4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2">
                    <a:moveTo>
                      <a:pt x="2" y="6"/>
                    </a:moveTo>
                    <a:lnTo>
                      <a:pt x="2" y="6"/>
                    </a:lnTo>
                    <a:lnTo>
                      <a:pt x="2" y="4"/>
                    </a:lnTo>
                    <a:lnTo>
                      <a:pt x="2" y="4"/>
                    </a:lnTo>
                    <a:lnTo>
                      <a:pt x="10" y="0"/>
                    </a:lnTo>
                    <a:lnTo>
                      <a:pt x="10" y="0"/>
                    </a:lnTo>
                    <a:lnTo>
                      <a:pt x="18" y="16"/>
                    </a:lnTo>
                    <a:lnTo>
                      <a:pt x="18" y="16"/>
                    </a:lnTo>
                    <a:lnTo>
                      <a:pt x="20" y="18"/>
                    </a:lnTo>
                    <a:lnTo>
                      <a:pt x="18" y="20"/>
                    </a:lnTo>
                    <a:lnTo>
                      <a:pt x="18" y="20"/>
                    </a:lnTo>
                    <a:lnTo>
                      <a:pt x="18" y="22"/>
                    </a:lnTo>
                    <a:lnTo>
                      <a:pt x="16" y="22"/>
                    </a:lnTo>
                    <a:lnTo>
                      <a:pt x="16" y="22"/>
                    </a:lnTo>
                    <a:lnTo>
                      <a:pt x="14" y="22"/>
                    </a:lnTo>
                    <a:lnTo>
                      <a:pt x="14" y="22"/>
                    </a:lnTo>
                    <a:lnTo>
                      <a:pt x="10" y="20"/>
                    </a:lnTo>
                    <a:lnTo>
                      <a:pt x="6" y="18"/>
                    </a:lnTo>
                    <a:lnTo>
                      <a:pt x="2" y="14"/>
                    </a:lnTo>
                    <a:lnTo>
                      <a:pt x="0" y="10"/>
                    </a:lnTo>
                    <a:lnTo>
                      <a:pt x="0" y="10"/>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2" name="Freeform 1048"/>
              <p:cNvSpPr>
                <a:spLocks/>
              </p:cNvSpPr>
              <p:nvPr/>
            </p:nvSpPr>
            <p:spPr bwMode="auto">
              <a:xfrm>
                <a:off x="1178" y="252"/>
                <a:ext cx="12" cy="2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4 w 12"/>
                  <a:gd name="T13" fmla="*/ 14 h 20"/>
                  <a:gd name="T14" fmla="*/ 4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4" y="14"/>
                    </a:lnTo>
                    <a:lnTo>
                      <a:pt x="4" y="14"/>
                    </a:lnTo>
                    <a:lnTo>
                      <a:pt x="6" y="16"/>
                    </a:lnTo>
                    <a:lnTo>
                      <a:pt x="6" y="16"/>
                    </a:lnTo>
                    <a:lnTo>
                      <a:pt x="8" y="16"/>
                    </a:lnTo>
                    <a:lnTo>
                      <a:pt x="8" y="16"/>
                    </a:lnTo>
                    <a:lnTo>
                      <a:pt x="12" y="14"/>
                    </a:lnTo>
                    <a:lnTo>
                      <a:pt x="12" y="14"/>
                    </a:lnTo>
                    <a:lnTo>
                      <a:pt x="12" y="14"/>
                    </a:lnTo>
                    <a:lnTo>
                      <a:pt x="12" y="14"/>
                    </a:lnTo>
                    <a:lnTo>
                      <a:pt x="12" y="14"/>
                    </a:lnTo>
                    <a:lnTo>
                      <a:pt x="12" y="14"/>
                    </a:lnTo>
                    <a:lnTo>
                      <a:pt x="10" y="18"/>
                    </a:lnTo>
                    <a:lnTo>
                      <a:pt x="6" y="20"/>
                    </a:lnTo>
                    <a:lnTo>
                      <a:pt x="6" y="20"/>
                    </a:lnTo>
                    <a:lnTo>
                      <a:pt x="6" y="20"/>
                    </a:lnTo>
                    <a:lnTo>
                      <a:pt x="6" y="20"/>
                    </a:lnTo>
                    <a:lnTo>
                      <a:pt x="4" y="18"/>
                    </a:lnTo>
                    <a:lnTo>
                      <a:pt x="4" y="18"/>
                    </a:lnTo>
                    <a:lnTo>
                      <a:pt x="2" y="16"/>
                    </a:lnTo>
                    <a:lnTo>
                      <a:pt x="0" y="12"/>
                    </a:lnTo>
                    <a:lnTo>
                      <a:pt x="0" y="8"/>
                    </a:lnTo>
                    <a:lnTo>
                      <a:pt x="0" y="4"/>
                    </a:lnTo>
                    <a:lnTo>
                      <a:pt x="0" y="4"/>
                    </a:lnTo>
                    <a:lnTo>
                      <a:pt x="4" y="0"/>
                    </a:lnTo>
                    <a:lnTo>
                      <a:pt x="4"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3" name="Freeform 1049"/>
              <p:cNvSpPr>
                <a:spLocks/>
              </p:cNvSpPr>
              <p:nvPr/>
            </p:nvSpPr>
            <p:spPr bwMode="auto">
              <a:xfrm>
                <a:off x="1190" y="20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30 w 170"/>
                  <a:gd name="T77" fmla="*/ 136 h 138"/>
                  <a:gd name="T78" fmla="*/ 10 w 170"/>
                  <a:gd name="T79" fmla="*/ 126 h 138"/>
                  <a:gd name="T80" fmla="*/ 12 w 170"/>
                  <a:gd name="T81" fmla="*/ 118 h 138"/>
                  <a:gd name="T82" fmla="*/ 6 w 170"/>
                  <a:gd name="T83" fmla="*/ 102 h 138"/>
                  <a:gd name="T84" fmla="*/ 0 w 170"/>
                  <a:gd name="T85" fmla="*/ 74 h 138"/>
                  <a:gd name="T86" fmla="*/ 16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4 h 138"/>
                  <a:gd name="T100" fmla="*/ 58 w 170"/>
                  <a:gd name="T101" fmla="*/ 92 h 138"/>
                  <a:gd name="T102" fmla="*/ 80 w 170"/>
                  <a:gd name="T103" fmla="*/ 80 h 138"/>
                  <a:gd name="T104" fmla="*/ 82 w 170"/>
                  <a:gd name="T105" fmla="*/ 54 h 138"/>
                  <a:gd name="T106" fmla="*/ 78 w 170"/>
                  <a:gd name="T107" fmla="*/ 56 h 138"/>
                  <a:gd name="T108" fmla="*/ 76 w 170"/>
                  <a:gd name="T109" fmla="*/ 80 h 138"/>
                  <a:gd name="T110" fmla="*/ 58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8" y="46"/>
                    </a:lnTo>
                    <a:lnTo>
                      <a:pt x="146" y="38"/>
                    </a:lnTo>
                    <a:lnTo>
                      <a:pt x="146"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2" y="94"/>
                    </a:lnTo>
                    <a:lnTo>
                      <a:pt x="112"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4" name="Freeform 1050"/>
              <p:cNvSpPr>
                <a:spLocks/>
              </p:cNvSpPr>
              <p:nvPr/>
            </p:nvSpPr>
            <p:spPr bwMode="auto">
              <a:xfrm>
                <a:off x="1176" y="202"/>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6 h 146"/>
                  <a:gd name="T34" fmla="*/ 6 w 188"/>
                  <a:gd name="T35" fmla="*/ 118 h 146"/>
                  <a:gd name="T36" fmla="*/ 14 w 188"/>
                  <a:gd name="T37" fmla="*/ 124 h 146"/>
                  <a:gd name="T38" fmla="*/ 20 w 188"/>
                  <a:gd name="T39" fmla="*/ 130 h 146"/>
                  <a:gd name="T40" fmla="*/ 22 w 188"/>
                  <a:gd name="T41" fmla="*/ 138 h 146"/>
                  <a:gd name="T42" fmla="*/ 32 w 188"/>
                  <a:gd name="T43" fmla="*/ 142 h 146"/>
                  <a:gd name="T44" fmla="*/ 44 w 188"/>
                  <a:gd name="T45" fmla="*/ 144 h 146"/>
                  <a:gd name="T46" fmla="*/ 48 w 188"/>
                  <a:gd name="T47" fmla="*/ 142 h 146"/>
                  <a:gd name="T48" fmla="*/ 50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5" name="Freeform 1051"/>
              <p:cNvSpPr>
                <a:spLocks/>
              </p:cNvSpPr>
              <p:nvPr/>
            </p:nvSpPr>
            <p:spPr bwMode="auto">
              <a:xfrm>
                <a:off x="1182" y="302"/>
                <a:ext cx="16" cy="22"/>
              </a:xfrm>
              <a:custGeom>
                <a:avLst/>
                <a:gdLst>
                  <a:gd name="T0" fmla="*/ 8 w 16"/>
                  <a:gd name="T1" fmla="*/ 0 h 22"/>
                  <a:gd name="T2" fmla="*/ 8 w 16"/>
                  <a:gd name="T3" fmla="*/ 0 h 22"/>
                  <a:gd name="T4" fmla="*/ 0 w 16"/>
                  <a:gd name="T5" fmla="*/ 6 h 22"/>
                  <a:gd name="T6" fmla="*/ 0 w 16"/>
                  <a:gd name="T7" fmla="*/ 6 h 22"/>
                  <a:gd name="T8" fmla="*/ 0 w 16"/>
                  <a:gd name="T9" fmla="*/ 6 h 22"/>
                  <a:gd name="T10" fmla="*/ 0 w 16"/>
                  <a:gd name="T11" fmla="*/ 6 h 22"/>
                  <a:gd name="T12" fmla="*/ 0 w 16"/>
                  <a:gd name="T13" fmla="*/ 8 h 22"/>
                  <a:gd name="T14" fmla="*/ 0 w 16"/>
                  <a:gd name="T15" fmla="*/ 8 h 22"/>
                  <a:gd name="T16" fmla="*/ 0 w 16"/>
                  <a:gd name="T17" fmla="*/ 12 h 22"/>
                  <a:gd name="T18" fmla="*/ 4 w 16"/>
                  <a:gd name="T19" fmla="*/ 16 h 22"/>
                  <a:gd name="T20" fmla="*/ 8 w 16"/>
                  <a:gd name="T21" fmla="*/ 20 h 22"/>
                  <a:gd name="T22" fmla="*/ 12 w 16"/>
                  <a:gd name="T23" fmla="*/ 22 h 22"/>
                  <a:gd name="T24" fmla="*/ 12 w 16"/>
                  <a:gd name="T25" fmla="*/ 22 h 22"/>
                  <a:gd name="T26" fmla="*/ 14 w 16"/>
                  <a:gd name="T27" fmla="*/ 22 h 22"/>
                  <a:gd name="T28" fmla="*/ 14 w 16"/>
                  <a:gd name="T29" fmla="*/ 22 h 22"/>
                  <a:gd name="T30" fmla="*/ 16 w 16"/>
                  <a:gd name="T31" fmla="*/ 20 h 22"/>
                  <a:gd name="T32" fmla="*/ 16 w 16"/>
                  <a:gd name="T33" fmla="*/ 20 h 22"/>
                  <a:gd name="T34" fmla="*/ 16 w 16"/>
                  <a:gd name="T35" fmla="*/ 16 h 22"/>
                  <a:gd name="T36" fmla="*/ 16 w 16"/>
                  <a:gd name="T37" fmla="*/ 16 h 22"/>
                  <a:gd name="T38" fmla="*/ 8 w 16"/>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8" y="0"/>
                    </a:moveTo>
                    <a:lnTo>
                      <a:pt x="8" y="0"/>
                    </a:lnTo>
                    <a:lnTo>
                      <a:pt x="0" y="6"/>
                    </a:lnTo>
                    <a:lnTo>
                      <a:pt x="0" y="6"/>
                    </a:lnTo>
                    <a:lnTo>
                      <a:pt x="0" y="6"/>
                    </a:lnTo>
                    <a:lnTo>
                      <a:pt x="0" y="6"/>
                    </a:lnTo>
                    <a:lnTo>
                      <a:pt x="0" y="8"/>
                    </a:lnTo>
                    <a:lnTo>
                      <a:pt x="0" y="8"/>
                    </a:lnTo>
                    <a:lnTo>
                      <a:pt x="0" y="12"/>
                    </a:lnTo>
                    <a:lnTo>
                      <a:pt x="4" y="16"/>
                    </a:lnTo>
                    <a:lnTo>
                      <a:pt x="8" y="20"/>
                    </a:lnTo>
                    <a:lnTo>
                      <a:pt x="12" y="22"/>
                    </a:lnTo>
                    <a:lnTo>
                      <a:pt x="12" y="22"/>
                    </a:lnTo>
                    <a:lnTo>
                      <a:pt x="14" y="22"/>
                    </a:lnTo>
                    <a:lnTo>
                      <a:pt x="14" y="22"/>
                    </a:lnTo>
                    <a:lnTo>
                      <a:pt x="16" y="20"/>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6" name="Freeform 1052"/>
              <p:cNvSpPr>
                <a:spLocks/>
              </p:cNvSpPr>
              <p:nvPr/>
            </p:nvSpPr>
            <p:spPr bwMode="auto">
              <a:xfrm>
                <a:off x="1182" y="302"/>
                <a:ext cx="16" cy="22"/>
              </a:xfrm>
              <a:custGeom>
                <a:avLst/>
                <a:gdLst>
                  <a:gd name="T0" fmla="*/ 8 w 16"/>
                  <a:gd name="T1" fmla="*/ 0 h 22"/>
                  <a:gd name="T2" fmla="*/ 8 w 16"/>
                  <a:gd name="T3" fmla="*/ 0 h 22"/>
                  <a:gd name="T4" fmla="*/ 0 w 16"/>
                  <a:gd name="T5" fmla="*/ 6 h 22"/>
                  <a:gd name="T6" fmla="*/ 0 w 16"/>
                  <a:gd name="T7" fmla="*/ 6 h 22"/>
                  <a:gd name="T8" fmla="*/ 0 w 16"/>
                  <a:gd name="T9" fmla="*/ 6 h 22"/>
                  <a:gd name="T10" fmla="*/ 0 w 16"/>
                  <a:gd name="T11" fmla="*/ 6 h 22"/>
                  <a:gd name="T12" fmla="*/ 0 w 16"/>
                  <a:gd name="T13" fmla="*/ 8 h 22"/>
                  <a:gd name="T14" fmla="*/ 0 w 16"/>
                  <a:gd name="T15" fmla="*/ 8 h 22"/>
                  <a:gd name="T16" fmla="*/ 0 w 16"/>
                  <a:gd name="T17" fmla="*/ 12 h 22"/>
                  <a:gd name="T18" fmla="*/ 4 w 16"/>
                  <a:gd name="T19" fmla="*/ 16 h 22"/>
                  <a:gd name="T20" fmla="*/ 8 w 16"/>
                  <a:gd name="T21" fmla="*/ 20 h 22"/>
                  <a:gd name="T22" fmla="*/ 12 w 16"/>
                  <a:gd name="T23" fmla="*/ 22 h 22"/>
                  <a:gd name="T24" fmla="*/ 12 w 16"/>
                  <a:gd name="T25" fmla="*/ 22 h 22"/>
                  <a:gd name="T26" fmla="*/ 14 w 16"/>
                  <a:gd name="T27" fmla="*/ 22 h 22"/>
                  <a:gd name="T28" fmla="*/ 14 w 16"/>
                  <a:gd name="T29" fmla="*/ 22 h 22"/>
                  <a:gd name="T30" fmla="*/ 16 w 16"/>
                  <a:gd name="T31" fmla="*/ 20 h 22"/>
                  <a:gd name="T32" fmla="*/ 16 w 16"/>
                  <a:gd name="T33" fmla="*/ 20 h 22"/>
                  <a:gd name="T34" fmla="*/ 16 w 16"/>
                  <a:gd name="T35" fmla="*/ 16 h 22"/>
                  <a:gd name="T36" fmla="*/ 16 w 16"/>
                  <a:gd name="T37" fmla="*/ 16 h 22"/>
                  <a:gd name="T38" fmla="*/ 8 w 16"/>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8" y="0"/>
                    </a:moveTo>
                    <a:lnTo>
                      <a:pt x="8" y="0"/>
                    </a:lnTo>
                    <a:lnTo>
                      <a:pt x="0" y="6"/>
                    </a:lnTo>
                    <a:lnTo>
                      <a:pt x="0" y="6"/>
                    </a:lnTo>
                    <a:lnTo>
                      <a:pt x="0" y="6"/>
                    </a:lnTo>
                    <a:lnTo>
                      <a:pt x="0" y="6"/>
                    </a:lnTo>
                    <a:lnTo>
                      <a:pt x="0" y="8"/>
                    </a:lnTo>
                    <a:lnTo>
                      <a:pt x="0" y="8"/>
                    </a:lnTo>
                    <a:lnTo>
                      <a:pt x="0" y="12"/>
                    </a:lnTo>
                    <a:lnTo>
                      <a:pt x="4" y="16"/>
                    </a:lnTo>
                    <a:lnTo>
                      <a:pt x="8" y="20"/>
                    </a:lnTo>
                    <a:lnTo>
                      <a:pt x="12" y="22"/>
                    </a:lnTo>
                    <a:lnTo>
                      <a:pt x="12" y="22"/>
                    </a:lnTo>
                    <a:lnTo>
                      <a:pt x="14" y="22"/>
                    </a:lnTo>
                    <a:lnTo>
                      <a:pt x="14" y="22"/>
                    </a:lnTo>
                    <a:lnTo>
                      <a:pt x="16" y="20"/>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7" name="Freeform 1053"/>
              <p:cNvSpPr>
                <a:spLocks/>
              </p:cNvSpPr>
              <p:nvPr/>
            </p:nvSpPr>
            <p:spPr bwMode="auto">
              <a:xfrm>
                <a:off x="1182" y="302"/>
                <a:ext cx="18" cy="20"/>
              </a:xfrm>
              <a:custGeom>
                <a:avLst/>
                <a:gdLst>
                  <a:gd name="T0" fmla="*/ 8 w 18"/>
                  <a:gd name="T1" fmla="*/ 0 h 20"/>
                  <a:gd name="T2" fmla="*/ 8 w 18"/>
                  <a:gd name="T3" fmla="*/ 0 h 20"/>
                  <a:gd name="T4" fmla="*/ 0 w 18"/>
                  <a:gd name="T5" fmla="*/ 4 h 20"/>
                  <a:gd name="T6" fmla="*/ 0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6 w 18"/>
                  <a:gd name="T25" fmla="*/ 20 h 20"/>
                  <a:gd name="T26" fmla="*/ 16 w 18"/>
                  <a:gd name="T27" fmla="*/ 20 h 20"/>
                  <a:gd name="T28" fmla="*/ 18 w 18"/>
                  <a:gd name="T29" fmla="*/ 18 h 20"/>
                  <a:gd name="T30" fmla="*/ 16 w 18"/>
                  <a:gd name="T31" fmla="*/ 16 h 20"/>
                  <a:gd name="T32" fmla="*/ 16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0" y="4"/>
                    </a:lnTo>
                    <a:lnTo>
                      <a:pt x="0" y="4"/>
                    </a:lnTo>
                    <a:lnTo>
                      <a:pt x="0" y="6"/>
                    </a:lnTo>
                    <a:lnTo>
                      <a:pt x="0" y="6"/>
                    </a:lnTo>
                    <a:lnTo>
                      <a:pt x="0" y="6"/>
                    </a:lnTo>
                    <a:lnTo>
                      <a:pt x="0" y="6"/>
                    </a:lnTo>
                    <a:lnTo>
                      <a:pt x="8" y="0"/>
                    </a:lnTo>
                    <a:lnTo>
                      <a:pt x="8" y="0"/>
                    </a:lnTo>
                    <a:lnTo>
                      <a:pt x="16" y="16"/>
                    </a:lnTo>
                    <a:lnTo>
                      <a:pt x="16" y="16"/>
                    </a:lnTo>
                    <a:lnTo>
                      <a:pt x="16" y="20"/>
                    </a:lnTo>
                    <a:lnTo>
                      <a:pt x="16" y="20"/>
                    </a:lnTo>
                    <a:lnTo>
                      <a:pt x="18" y="18"/>
                    </a:lnTo>
                    <a:lnTo>
                      <a:pt x="16" y="16"/>
                    </a:lnTo>
                    <a:lnTo>
                      <a:pt x="16"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8" name="Freeform 1054"/>
              <p:cNvSpPr>
                <a:spLocks/>
              </p:cNvSpPr>
              <p:nvPr/>
            </p:nvSpPr>
            <p:spPr bwMode="auto">
              <a:xfrm>
                <a:off x="1182" y="302"/>
                <a:ext cx="18" cy="20"/>
              </a:xfrm>
              <a:custGeom>
                <a:avLst/>
                <a:gdLst>
                  <a:gd name="T0" fmla="*/ 8 w 18"/>
                  <a:gd name="T1" fmla="*/ 0 h 20"/>
                  <a:gd name="T2" fmla="*/ 8 w 18"/>
                  <a:gd name="T3" fmla="*/ 0 h 20"/>
                  <a:gd name="T4" fmla="*/ 0 w 18"/>
                  <a:gd name="T5" fmla="*/ 4 h 20"/>
                  <a:gd name="T6" fmla="*/ 0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6 w 18"/>
                  <a:gd name="T25" fmla="*/ 20 h 20"/>
                  <a:gd name="T26" fmla="*/ 16 w 18"/>
                  <a:gd name="T27" fmla="*/ 20 h 20"/>
                  <a:gd name="T28" fmla="*/ 18 w 18"/>
                  <a:gd name="T29" fmla="*/ 18 h 20"/>
                  <a:gd name="T30" fmla="*/ 16 w 18"/>
                  <a:gd name="T31" fmla="*/ 16 h 20"/>
                  <a:gd name="T32" fmla="*/ 16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0" y="4"/>
                    </a:lnTo>
                    <a:lnTo>
                      <a:pt x="0" y="4"/>
                    </a:lnTo>
                    <a:lnTo>
                      <a:pt x="0" y="6"/>
                    </a:lnTo>
                    <a:lnTo>
                      <a:pt x="0" y="6"/>
                    </a:lnTo>
                    <a:lnTo>
                      <a:pt x="0" y="6"/>
                    </a:lnTo>
                    <a:lnTo>
                      <a:pt x="0" y="6"/>
                    </a:lnTo>
                    <a:lnTo>
                      <a:pt x="8" y="0"/>
                    </a:lnTo>
                    <a:lnTo>
                      <a:pt x="8" y="0"/>
                    </a:lnTo>
                    <a:lnTo>
                      <a:pt x="16" y="16"/>
                    </a:lnTo>
                    <a:lnTo>
                      <a:pt x="16" y="16"/>
                    </a:lnTo>
                    <a:lnTo>
                      <a:pt x="16" y="20"/>
                    </a:lnTo>
                    <a:lnTo>
                      <a:pt x="16" y="20"/>
                    </a:lnTo>
                    <a:lnTo>
                      <a:pt x="18" y="18"/>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9" name="Freeform 1055"/>
              <p:cNvSpPr>
                <a:spLocks/>
              </p:cNvSpPr>
              <p:nvPr/>
            </p:nvSpPr>
            <p:spPr bwMode="auto">
              <a:xfrm>
                <a:off x="1280" y="306"/>
                <a:ext cx="16" cy="26"/>
              </a:xfrm>
              <a:custGeom>
                <a:avLst/>
                <a:gdLst>
                  <a:gd name="T0" fmla="*/ 12 w 16"/>
                  <a:gd name="T1" fmla="*/ 0 h 26"/>
                  <a:gd name="T2" fmla="*/ 12 w 16"/>
                  <a:gd name="T3" fmla="*/ 0 h 26"/>
                  <a:gd name="T4" fmla="*/ 4 w 16"/>
                  <a:gd name="T5" fmla="*/ 16 h 26"/>
                  <a:gd name="T6" fmla="*/ 4 w 16"/>
                  <a:gd name="T7" fmla="*/ 16 h 26"/>
                  <a:gd name="T8" fmla="*/ 0 w 16"/>
                  <a:gd name="T9" fmla="*/ 26 h 26"/>
                  <a:gd name="T10" fmla="*/ 0 w 16"/>
                  <a:gd name="T11" fmla="*/ 26 h 26"/>
                  <a:gd name="T12" fmla="*/ 8 w 16"/>
                  <a:gd name="T13" fmla="*/ 26 h 26"/>
                  <a:gd name="T14" fmla="*/ 8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4" y="16"/>
                    </a:lnTo>
                    <a:lnTo>
                      <a:pt x="4" y="16"/>
                    </a:lnTo>
                    <a:lnTo>
                      <a:pt x="0" y="26"/>
                    </a:lnTo>
                    <a:lnTo>
                      <a:pt x="0" y="26"/>
                    </a:lnTo>
                    <a:lnTo>
                      <a:pt x="8" y="26"/>
                    </a:lnTo>
                    <a:lnTo>
                      <a:pt x="8" y="26"/>
                    </a:lnTo>
                    <a:lnTo>
                      <a:pt x="14" y="26"/>
                    </a:lnTo>
                    <a:lnTo>
                      <a:pt x="14" y="26"/>
                    </a:lnTo>
                    <a:lnTo>
                      <a:pt x="16" y="22"/>
                    </a:lnTo>
                    <a:lnTo>
                      <a:pt x="16" y="22"/>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0" name="Freeform 1056"/>
              <p:cNvSpPr>
                <a:spLocks/>
              </p:cNvSpPr>
              <p:nvPr/>
            </p:nvSpPr>
            <p:spPr bwMode="auto">
              <a:xfrm>
                <a:off x="1280" y="306"/>
                <a:ext cx="16" cy="26"/>
              </a:xfrm>
              <a:custGeom>
                <a:avLst/>
                <a:gdLst>
                  <a:gd name="T0" fmla="*/ 12 w 16"/>
                  <a:gd name="T1" fmla="*/ 0 h 26"/>
                  <a:gd name="T2" fmla="*/ 12 w 16"/>
                  <a:gd name="T3" fmla="*/ 0 h 26"/>
                  <a:gd name="T4" fmla="*/ 4 w 16"/>
                  <a:gd name="T5" fmla="*/ 16 h 26"/>
                  <a:gd name="T6" fmla="*/ 4 w 16"/>
                  <a:gd name="T7" fmla="*/ 16 h 26"/>
                  <a:gd name="T8" fmla="*/ 0 w 16"/>
                  <a:gd name="T9" fmla="*/ 26 h 26"/>
                  <a:gd name="T10" fmla="*/ 0 w 16"/>
                  <a:gd name="T11" fmla="*/ 26 h 26"/>
                  <a:gd name="T12" fmla="*/ 8 w 16"/>
                  <a:gd name="T13" fmla="*/ 26 h 26"/>
                  <a:gd name="T14" fmla="*/ 8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4" y="16"/>
                    </a:lnTo>
                    <a:lnTo>
                      <a:pt x="4" y="16"/>
                    </a:lnTo>
                    <a:lnTo>
                      <a:pt x="0" y="26"/>
                    </a:lnTo>
                    <a:lnTo>
                      <a:pt x="0" y="26"/>
                    </a:lnTo>
                    <a:lnTo>
                      <a:pt x="8" y="26"/>
                    </a:lnTo>
                    <a:lnTo>
                      <a:pt x="8"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1" name="Freeform 1057"/>
              <p:cNvSpPr>
                <a:spLocks/>
              </p:cNvSpPr>
              <p:nvPr/>
            </p:nvSpPr>
            <p:spPr bwMode="auto">
              <a:xfrm>
                <a:off x="1284" y="304"/>
                <a:ext cx="8" cy="18"/>
              </a:xfrm>
              <a:custGeom>
                <a:avLst/>
                <a:gdLst>
                  <a:gd name="T0" fmla="*/ 8 w 8"/>
                  <a:gd name="T1" fmla="*/ 0 h 18"/>
                  <a:gd name="T2" fmla="*/ 8 w 8"/>
                  <a:gd name="T3" fmla="*/ 0 h 18"/>
                  <a:gd name="T4" fmla="*/ 0 w 8"/>
                  <a:gd name="T5" fmla="*/ 18 h 18"/>
                  <a:gd name="T6" fmla="*/ 0 w 8"/>
                  <a:gd name="T7" fmla="*/ 18 h 18"/>
                  <a:gd name="T8" fmla="*/ 8 w 8"/>
                  <a:gd name="T9" fmla="*/ 2 h 18"/>
                  <a:gd name="T10" fmla="*/ 8 w 8"/>
                  <a:gd name="T11" fmla="*/ 2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2"/>
                    </a:lnTo>
                    <a:lnTo>
                      <a:pt x="8" y="2"/>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2" name="Freeform 1058"/>
              <p:cNvSpPr>
                <a:spLocks/>
              </p:cNvSpPr>
              <p:nvPr/>
            </p:nvSpPr>
            <p:spPr bwMode="auto">
              <a:xfrm>
                <a:off x="1284" y="304"/>
                <a:ext cx="8" cy="18"/>
              </a:xfrm>
              <a:custGeom>
                <a:avLst/>
                <a:gdLst>
                  <a:gd name="T0" fmla="*/ 8 w 8"/>
                  <a:gd name="T1" fmla="*/ 0 h 18"/>
                  <a:gd name="T2" fmla="*/ 8 w 8"/>
                  <a:gd name="T3" fmla="*/ 0 h 18"/>
                  <a:gd name="T4" fmla="*/ 0 w 8"/>
                  <a:gd name="T5" fmla="*/ 18 h 18"/>
                  <a:gd name="T6" fmla="*/ 0 w 8"/>
                  <a:gd name="T7" fmla="*/ 18 h 18"/>
                  <a:gd name="T8" fmla="*/ 8 w 8"/>
                  <a:gd name="T9" fmla="*/ 2 h 18"/>
                  <a:gd name="T10" fmla="*/ 8 w 8"/>
                  <a:gd name="T11" fmla="*/ 2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2"/>
                    </a:lnTo>
                    <a:lnTo>
                      <a:pt x="8"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3" name="Freeform 1059"/>
              <p:cNvSpPr>
                <a:spLocks/>
              </p:cNvSpPr>
              <p:nvPr/>
            </p:nvSpPr>
            <p:spPr bwMode="auto">
              <a:xfrm>
                <a:off x="1178" y="25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6" y="20"/>
                    </a:lnTo>
                    <a:lnTo>
                      <a:pt x="6" y="20"/>
                    </a:lnTo>
                    <a:lnTo>
                      <a:pt x="10" y="18"/>
                    </a:lnTo>
                    <a:lnTo>
                      <a:pt x="12" y="14"/>
                    </a:lnTo>
                    <a:lnTo>
                      <a:pt x="12" y="14"/>
                    </a:lnTo>
                    <a:lnTo>
                      <a:pt x="8" y="16"/>
                    </a:lnTo>
                    <a:lnTo>
                      <a:pt x="8" y="16"/>
                    </a:lnTo>
                    <a:lnTo>
                      <a:pt x="6" y="16"/>
                    </a:lnTo>
                    <a:lnTo>
                      <a:pt x="6" y="16"/>
                    </a:lnTo>
                    <a:lnTo>
                      <a:pt x="4" y="14"/>
                    </a:lnTo>
                    <a:lnTo>
                      <a:pt x="4" y="14"/>
                    </a:lnTo>
                    <a:lnTo>
                      <a:pt x="2" y="10"/>
                    </a:lnTo>
                    <a:lnTo>
                      <a:pt x="2" y="1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4" name="Freeform 1060"/>
              <p:cNvSpPr>
                <a:spLocks/>
              </p:cNvSpPr>
              <p:nvPr/>
            </p:nvSpPr>
            <p:spPr bwMode="auto">
              <a:xfrm>
                <a:off x="1178" y="25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6" y="20"/>
                    </a:lnTo>
                    <a:lnTo>
                      <a:pt x="6" y="20"/>
                    </a:lnTo>
                    <a:lnTo>
                      <a:pt x="10" y="18"/>
                    </a:lnTo>
                    <a:lnTo>
                      <a:pt x="12" y="14"/>
                    </a:lnTo>
                    <a:lnTo>
                      <a:pt x="12" y="14"/>
                    </a:lnTo>
                    <a:lnTo>
                      <a:pt x="8" y="16"/>
                    </a:lnTo>
                    <a:lnTo>
                      <a:pt x="8" y="16"/>
                    </a:lnTo>
                    <a:lnTo>
                      <a:pt x="6" y="16"/>
                    </a:lnTo>
                    <a:lnTo>
                      <a:pt x="6"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5" name="Freeform 1061"/>
              <p:cNvSpPr>
                <a:spLocks noEditPoints="1"/>
              </p:cNvSpPr>
              <p:nvPr/>
            </p:nvSpPr>
            <p:spPr bwMode="auto">
              <a:xfrm>
                <a:off x="1180" y="252"/>
                <a:ext cx="10" cy="20"/>
              </a:xfrm>
              <a:custGeom>
                <a:avLst/>
                <a:gdLst>
                  <a:gd name="T0" fmla="*/ 10 w 10"/>
                  <a:gd name="T1" fmla="*/ 14 h 20"/>
                  <a:gd name="T2" fmla="*/ 10 w 10"/>
                  <a:gd name="T3" fmla="*/ 14 h 20"/>
                  <a:gd name="T4" fmla="*/ 10 w 10"/>
                  <a:gd name="T5" fmla="*/ 14 h 20"/>
                  <a:gd name="T6" fmla="*/ 10 w 10"/>
                  <a:gd name="T7" fmla="*/ 14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6 w 10"/>
                  <a:gd name="T27" fmla="*/ 0 h 20"/>
                  <a:gd name="T28" fmla="*/ 6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0 h 20"/>
                  <a:gd name="T48" fmla="*/ 0 w 10"/>
                  <a:gd name="T49" fmla="*/ 10 h 20"/>
                  <a:gd name="T50" fmla="*/ 2 w 10"/>
                  <a:gd name="T51" fmla="*/ 14 h 20"/>
                  <a:gd name="T52" fmla="*/ 2 w 10"/>
                  <a:gd name="T53" fmla="*/ 14 h 20"/>
                  <a:gd name="T54" fmla="*/ 4 w 10"/>
                  <a:gd name="T55" fmla="*/ 16 h 20"/>
                  <a:gd name="T56" fmla="*/ 4 w 10"/>
                  <a:gd name="T57" fmla="*/ 16 h 20"/>
                  <a:gd name="T58" fmla="*/ 2 w 10"/>
                  <a:gd name="T59" fmla="*/ 14 h 20"/>
                  <a:gd name="T60" fmla="*/ 2 w 10"/>
                  <a:gd name="T61" fmla="*/ 14 h 20"/>
                  <a:gd name="T62" fmla="*/ 2 w 10"/>
                  <a:gd name="T63" fmla="*/ 10 h 20"/>
                  <a:gd name="T64" fmla="*/ 2 w 10"/>
                  <a:gd name="T65" fmla="*/ 10 h 20"/>
                  <a:gd name="T66" fmla="*/ 6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10" y="14"/>
                    </a:lnTo>
                    <a:lnTo>
                      <a:pt x="10" y="14"/>
                    </a:lnTo>
                    <a:lnTo>
                      <a:pt x="8" y="18"/>
                    </a:lnTo>
                    <a:lnTo>
                      <a:pt x="4" y="20"/>
                    </a:lnTo>
                    <a:lnTo>
                      <a:pt x="4" y="20"/>
                    </a:lnTo>
                    <a:lnTo>
                      <a:pt x="4" y="20"/>
                    </a:lnTo>
                    <a:lnTo>
                      <a:pt x="4" y="20"/>
                    </a:lnTo>
                    <a:lnTo>
                      <a:pt x="4" y="20"/>
                    </a:lnTo>
                    <a:lnTo>
                      <a:pt x="4" y="20"/>
                    </a:lnTo>
                    <a:lnTo>
                      <a:pt x="8" y="18"/>
                    </a:lnTo>
                    <a:lnTo>
                      <a:pt x="10" y="14"/>
                    </a:lnTo>
                    <a:close/>
                    <a:moveTo>
                      <a:pt x="6" y="0"/>
                    </a:moveTo>
                    <a:lnTo>
                      <a:pt x="6" y="0"/>
                    </a:lnTo>
                    <a:lnTo>
                      <a:pt x="4" y="0"/>
                    </a:lnTo>
                    <a:lnTo>
                      <a:pt x="4" y="0"/>
                    </a:lnTo>
                    <a:lnTo>
                      <a:pt x="4" y="0"/>
                    </a:lnTo>
                    <a:lnTo>
                      <a:pt x="4" y="0"/>
                    </a:lnTo>
                    <a:lnTo>
                      <a:pt x="4" y="0"/>
                    </a:lnTo>
                    <a:lnTo>
                      <a:pt x="4" y="0"/>
                    </a:lnTo>
                    <a:lnTo>
                      <a:pt x="4" y="0"/>
                    </a:lnTo>
                    <a:lnTo>
                      <a:pt x="4" y="0"/>
                    </a:lnTo>
                    <a:lnTo>
                      <a:pt x="0" y="10"/>
                    </a:lnTo>
                    <a:lnTo>
                      <a:pt x="0" y="10"/>
                    </a:lnTo>
                    <a:lnTo>
                      <a:pt x="2" y="14"/>
                    </a:lnTo>
                    <a:lnTo>
                      <a:pt x="2" y="14"/>
                    </a:lnTo>
                    <a:lnTo>
                      <a:pt x="4" y="16"/>
                    </a:lnTo>
                    <a:lnTo>
                      <a:pt x="4" y="16"/>
                    </a:lnTo>
                    <a:lnTo>
                      <a:pt x="2" y="14"/>
                    </a:lnTo>
                    <a:lnTo>
                      <a:pt x="2" y="14"/>
                    </a:lnTo>
                    <a:lnTo>
                      <a:pt x="2" y="10"/>
                    </a:lnTo>
                    <a:lnTo>
                      <a:pt x="2" y="1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6" name="Freeform 1062"/>
              <p:cNvSpPr>
                <a:spLocks/>
              </p:cNvSpPr>
              <p:nvPr/>
            </p:nvSpPr>
            <p:spPr bwMode="auto">
              <a:xfrm>
                <a:off x="1184" y="266"/>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7" name="Freeform 1063"/>
              <p:cNvSpPr>
                <a:spLocks/>
              </p:cNvSpPr>
              <p:nvPr/>
            </p:nvSpPr>
            <p:spPr bwMode="auto">
              <a:xfrm>
                <a:off x="1180" y="252"/>
                <a:ext cx="6" cy="16"/>
              </a:xfrm>
              <a:custGeom>
                <a:avLst/>
                <a:gdLst>
                  <a:gd name="T0" fmla="*/ 6 w 6"/>
                  <a:gd name="T1" fmla="*/ 0 h 16"/>
                  <a:gd name="T2" fmla="*/ 6 w 6"/>
                  <a:gd name="T3" fmla="*/ 0 h 16"/>
                  <a:gd name="T4" fmla="*/ 4 w 6"/>
                  <a:gd name="T5" fmla="*/ 0 h 16"/>
                  <a:gd name="T6" fmla="*/ 4 w 6"/>
                  <a:gd name="T7" fmla="*/ 0 h 16"/>
                  <a:gd name="T8" fmla="*/ 4 w 6"/>
                  <a:gd name="T9" fmla="*/ 0 h 16"/>
                  <a:gd name="T10" fmla="*/ 4 w 6"/>
                  <a:gd name="T11" fmla="*/ 0 h 16"/>
                  <a:gd name="T12" fmla="*/ 4 w 6"/>
                  <a:gd name="T13" fmla="*/ 0 h 16"/>
                  <a:gd name="T14" fmla="*/ 4 w 6"/>
                  <a:gd name="T15" fmla="*/ 0 h 16"/>
                  <a:gd name="T16" fmla="*/ 4 w 6"/>
                  <a:gd name="T17" fmla="*/ 0 h 16"/>
                  <a:gd name="T18" fmla="*/ 4 w 6"/>
                  <a:gd name="T19" fmla="*/ 0 h 16"/>
                  <a:gd name="T20" fmla="*/ 0 w 6"/>
                  <a:gd name="T21" fmla="*/ 10 h 16"/>
                  <a:gd name="T22" fmla="*/ 0 w 6"/>
                  <a:gd name="T23" fmla="*/ 10 h 16"/>
                  <a:gd name="T24" fmla="*/ 2 w 6"/>
                  <a:gd name="T25" fmla="*/ 14 h 16"/>
                  <a:gd name="T26" fmla="*/ 2 w 6"/>
                  <a:gd name="T27" fmla="*/ 14 h 16"/>
                  <a:gd name="T28" fmla="*/ 4 w 6"/>
                  <a:gd name="T29" fmla="*/ 16 h 16"/>
                  <a:gd name="T30" fmla="*/ 4 w 6"/>
                  <a:gd name="T31" fmla="*/ 16 h 16"/>
                  <a:gd name="T32" fmla="*/ 2 w 6"/>
                  <a:gd name="T33" fmla="*/ 14 h 16"/>
                  <a:gd name="T34" fmla="*/ 2 w 6"/>
                  <a:gd name="T35" fmla="*/ 14 h 16"/>
                  <a:gd name="T36" fmla="*/ 2 w 6"/>
                  <a:gd name="T37" fmla="*/ 10 h 16"/>
                  <a:gd name="T38" fmla="*/ 2 w 6"/>
                  <a:gd name="T39" fmla="*/ 10 h 16"/>
                  <a:gd name="T40" fmla="*/ 6 w 6"/>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16">
                    <a:moveTo>
                      <a:pt x="6" y="0"/>
                    </a:moveTo>
                    <a:lnTo>
                      <a:pt x="6" y="0"/>
                    </a:lnTo>
                    <a:lnTo>
                      <a:pt x="4" y="0"/>
                    </a:lnTo>
                    <a:lnTo>
                      <a:pt x="4" y="0"/>
                    </a:lnTo>
                    <a:lnTo>
                      <a:pt x="4" y="0"/>
                    </a:lnTo>
                    <a:lnTo>
                      <a:pt x="4" y="0"/>
                    </a:lnTo>
                    <a:lnTo>
                      <a:pt x="4" y="0"/>
                    </a:lnTo>
                    <a:lnTo>
                      <a:pt x="4" y="0"/>
                    </a:lnTo>
                    <a:lnTo>
                      <a:pt x="4" y="0"/>
                    </a:lnTo>
                    <a:lnTo>
                      <a:pt x="4" y="0"/>
                    </a:lnTo>
                    <a:lnTo>
                      <a:pt x="0" y="10"/>
                    </a:lnTo>
                    <a:lnTo>
                      <a:pt x="0" y="10"/>
                    </a:lnTo>
                    <a:lnTo>
                      <a:pt x="2" y="14"/>
                    </a:lnTo>
                    <a:lnTo>
                      <a:pt x="2" y="14"/>
                    </a:lnTo>
                    <a:lnTo>
                      <a:pt x="4" y="16"/>
                    </a:lnTo>
                    <a:lnTo>
                      <a:pt x="4" y="16"/>
                    </a:lnTo>
                    <a:lnTo>
                      <a:pt x="2" y="14"/>
                    </a:lnTo>
                    <a:lnTo>
                      <a:pt x="2"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8" name="Freeform 1064"/>
              <p:cNvSpPr>
                <a:spLocks noEditPoints="1"/>
              </p:cNvSpPr>
              <p:nvPr/>
            </p:nvSpPr>
            <p:spPr bwMode="auto">
              <a:xfrm>
                <a:off x="1292" y="240"/>
                <a:ext cx="18" cy="14"/>
              </a:xfrm>
              <a:custGeom>
                <a:avLst/>
                <a:gdLst>
                  <a:gd name="T0" fmla="*/ 6 w 18"/>
                  <a:gd name="T1" fmla="*/ 10 h 14"/>
                  <a:gd name="T2" fmla="*/ 6 w 18"/>
                  <a:gd name="T3" fmla="*/ 10 h 14"/>
                  <a:gd name="T4" fmla="*/ 4 w 18"/>
                  <a:gd name="T5" fmla="*/ 10 h 14"/>
                  <a:gd name="T6" fmla="*/ 4 w 18"/>
                  <a:gd name="T7" fmla="*/ 10 h 14"/>
                  <a:gd name="T8" fmla="*/ 8 w 18"/>
                  <a:gd name="T9" fmla="*/ 6 h 14"/>
                  <a:gd name="T10" fmla="*/ 8 w 18"/>
                  <a:gd name="T11" fmla="*/ 6 h 14"/>
                  <a:gd name="T12" fmla="*/ 12 w 18"/>
                  <a:gd name="T13" fmla="*/ 8 h 14"/>
                  <a:gd name="T14" fmla="*/ 12 w 18"/>
                  <a:gd name="T15" fmla="*/ 8 h 14"/>
                  <a:gd name="T16" fmla="*/ 10 w 18"/>
                  <a:gd name="T17" fmla="*/ 8 h 14"/>
                  <a:gd name="T18" fmla="*/ 10 w 18"/>
                  <a:gd name="T19" fmla="*/ 8 h 14"/>
                  <a:gd name="T20" fmla="*/ 12 w 18"/>
                  <a:gd name="T21" fmla="*/ 8 h 14"/>
                  <a:gd name="T22" fmla="*/ 12 w 18"/>
                  <a:gd name="T23" fmla="*/ 8 h 14"/>
                  <a:gd name="T24" fmla="*/ 6 w 18"/>
                  <a:gd name="T25" fmla="*/ 12 h 14"/>
                  <a:gd name="T26" fmla="*/ 6 w 18"/>
                  <a:gd name="T27" fmla="*/ 12 h 14"/>
                  <a:gd name="T28" fmla="*/ 6 w 18"/>
                  <a:gd name="T29" fmla="*/ 10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10"/>
                    </a:moveTo>
                    <a:lnTo>
                      <a:pt x="6" y="10"/>
                    </a:lnTo>
                    <a:lnTo>
                      <a:pt x="4" y="10"/>
                    </a:lnTo>
                    <a:lnTo>
                      <a:pt x="4" y="10"/>
                    </a:lnTo>
                    <a:lnTo>
                      <a:pt x="8" y="6"/>
                    </a:lnTo>
                    <a:lnTo>
                      <a:pt x="8" y="6"/>
                    </a:lnTo>
                    <a:lnTo>
                      <a:pt x="12" y="8"/>
                    </a:lnTo>
                    <a:lnTo>
                      <a:pt x="12" y="8"/>
                    </a:lnTo>
                    <a:lnTo>
                      <a:pt x="10" y="8"/>
                    </a:lnTo>
                    <a:lnTo>
                      <a:pt x="10" y="8"/>
                    </a:lnTo>
                    <a:lnTo>
                      <a:pt x="12" y="8"/>
                    </a:lnTo>
                    <a:lnTo>
                      <a:pt x="12" y="8"/>
                    </a:lnTo>
                    <a:lnTo>
                      <a:pt x="6" y="12"/>
                    </a:lnTo>
                    <a:lnTo>
                      <a:pt x="6" y="12"/>
                    </a:lnTo>
                    <a:lnTo>
                      <a:pt x="6" y="10"/>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9" name="Freeform 1065"/>
              <p:cNvSpPr>
                <a:spLocks/>
              </p:cNvSpPr>
              <p:nvPr/>
            </p:nvSpPr>
            <p:spPr bwMode="auto">
              <a:xfrm>
                <a:off x="1296" y="246"/>
                <a:ext cx="8" cy="6"/>
              </a:xfrm>
              <a:custGeom>
                <a:avLst/>
                <a:gdLst>
                  <a:gd name="T0" fmla="*/ 2 w 8"/>
                  <a:gd name="T1" fmla="*/ 4 h 6"/>
                  <a:gd name="T2" fmla="*/ 2 w 8"/>
                  <a:gd name="T3" fmla="*/ 4 h 6"/>
                  <a:gd name="T4" fmla="*/ 0 w 8"/>
                  <a:gd name="T5" fmla="*/ 4 h 6"/>
                  <a:gd name="T6" fmla="*/ 0 w 8"/>
                  <a:gd name="T7" fmla="*/ 4 h 6"/>
                  <a:gd name="T8" fmla="*/ 4 w 8"/>
                  <a:gd name="T9" fmla="*/ 0 h 6"/>
                  <a:gd name="T10" fmla="*/ 4 w 8"/>
                  <a:gd name="T11" fmla="*/ 0 h 6"/>
                  <a:gd name="T12" fmla="*/ 8 w 8"/>
                  <a:gd name="T13" fmla="*/ 2 h 6"/>
                  <a:gd name="T14" fmla="*/ 8 w 8"/>
                  <a:gd name="T15" fmla="*/ 2 h 6"/>
                  <a:gd name="T16" fmla="*/ 6 w 8"/>
                  <a:gd name="T17" fmla="*/ 2 h 6"/>
                  <a:gd name="T18" fmla="*/ 6 w 8"/>
                  <a:gd name="T19" fmla="*/ 2 h 6"/>
                  <a:gd name="T20" fmla="*/ 8 w 8"/>
                  <a:gd name="T21" fmla="*/ 2 h 6"/>
                  <a:gd name="T22" fmla="*/ 8 w 8"/>
                  <a:gd name="T23" fmla="*/ 2 h 6"/>
                  <a:gd name="T24" fmla="*/ 2 w 8"/>
                  <a:gd name="T25" fmla="*/ 6 h 6"/>
                  <a:gd name="T26" fmla="*/ 2 w 8"/>
                  <a:gd name="T27" fmla="*/ 6 h 6"/>
                  <a:gd name="T28" fmla="*/ 2 w 8"/>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4"/>
                    </a:moveTo>
                    <a:lnTo>
                      <a:pt x="2" y="4"/>
                    </a:lnTo>
                    <a:lnTo>
                      <a:pt x="0" y="4"/>
                    </a:lnTo>
                    <a:lnTo>
                      <a:pt x="0" y="4"/>
                    </a:lnTo>
                    <a:lnTo>
                      <a:pt x="4" y="0"/>
                    </a:lnTo>
                    <a:lnTo>
                      <a:pt x="4" y="0"/>
                    </a:lnTo>
                    <a:lnTo>
                      <a:pt x="8" y="2"/>
                    </a:lnTo>
                    <a:lnTo>
                      <a:pt x="8" y="2"/>
                    </a:lnTo>
                    <a:lnTo>
                      <a:pt x="6" y="2"/>
                    </a:lnTo>
                    <a:lnTo>
                      <a:pt x="6" y="2"/>
                    </a:lnTo>
                    <a:lnTo>
                      <a:pt x="8" y="2"/>
                    </a:lnTo>
                    <a:lnTo>
                      <a:pt x="8" y="2"/>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0" name="Freeform 1066"/>
              <p:cNvSpPr>
                <a:spLocks/>
              </p:cNvSpPr>
              <p:nvPr/>
            </p:nvSpPr>
            <p:spPr bwMode="auto">
              <a:xfrm>
                <a:off x="1292" y="240"/>
                <a:ext cx="18" cy="14"/>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1" name="Freeform 1067"/>
              <p:cNvSpPr>
                <a:spLocks/>
              </p:cNvSpPr>
              <p:nvPr/>
            </p:nvSpPr>
            <p:spPr bwMode="auto">
              <a:xfrm>
                <a:off x="1246" y="230"/>
                <a:ext cx="20" cy="18"/>
              </a:xfrm>
              <a:custGeom>
                <a:avLst/>
                <a:gdLst>
                  <a:gd name="T0" fmla="*/ 16 w 20"/>
                  <a:gd name="T1" fmla="*/ 0 h 18"/>
                  <a:gd name="T2" fmla="*/ 16 w 20"/>
                  <a:gd name="T3" fmla="*/ 0 h 18"/>
                  <a:gd name="T4" fmla="*/ 10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4"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2" name="Freeform 1068"/>
              <p:cNvSpPr>
                <a:spLocks/>
              </p:cNvSpPr>
              <p:nvPr/>
            </p:nvSpPr>
            <p:spPr bwMode="auto">
              <a:xfrm>
                <a:off x="1246" y="230"/>
                <a:ext cx="20" cy="18"/>
              </a:xfrm>
              <a:custGeom>
                <a:avLst/>
                <a:gdLst>
                  <a:gd name="T0" fmla="*/ 16 w 20"/>
                  <a:gd name="T1" fmla="*/ 0 h 18"/>
                  <a:gd name="T2" fmla="*/ 16 w 20"/>
                  <a:gd name="T3" fmla="*/ 0 h 18"/>
                  <a:gd name="T4" fmla="*/ 10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4"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3" name="Freeform 1069"/>
              <p:cNvSpPr>
                <a:spLocks/>
              </p:cNvSpPr>
              <p:nvPr/>
            </p:nvSpPr>
            <p:spPr bwMode="auto">
              <a:xfrm>
                <a:off x="1342" y="232"/>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4" name="Freeform 1070"/>
              <p:cNvSpPr>
                <a:spLocks/>
              </p:cNvSpPr>
              <p:nvPr/>
            </p:nvSpPr>
            <p:spPr bwMode="auto">
              <a:xfrm>
                <a:off x="1342" y="232"/>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5" name="Freeform 1071"/>
              <p:cNvSpPr>
                <a:spLocks/>
              </p:cNvSpPr>
              <p:nvPr/>
            </p:nvSpPr>
            <p:spPr bwMode="auto">
              <a:xfrm>
                <a:off x="1286" y="230"/>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6" name="Freeform 1072"/>
              <p:cNvSpPr>
                <a:spLocks/>
              </p:cNvSpPr>
              <p:nvPr/>
            </p:nvSpPr>
            <p:spPr bwMode="auto">
              <a:xfrm>
                <a:off x="1286" y="230"/>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7" name="Freeform 1073"/>
              <p:cNvSpPr>
                <a:spLocks/>
              </p:cNvSpPr>
              <p:nvPr/>
            </p:nvSpPr>
            <p:spPr bwMode="auto">
              <a:xfrm>
                <a:off x="1302" y="280"/>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8" name="Freeform 1074"/>
              <p:cNvSpPr>
                <a:spLocks/>
              </p:cNvSpPr>
              <p:nvPr/>
            </p:nvSpPr>
            <p:spPr bwMode="auto">
              <a:xfrm>
                <a:off x="1302" y="280"/>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9" name="Freeform 1075"/>
              <p:cNvSpPr>
                <a:spLocks/>
              </p:cNvSpPr>
              <p:nvPr/>
            </p:nvSpPr>
            <p:spPr bwMode="auto">
              <a:xfrm>
                <a:off x="1298" y="248"/>
                <a:ext cx="4" cy="4"/>
              </a:xfrm>
              <a:custGeom>
                <a:avLst/>
                <a:gdLst>
                  <a:gd name="T0" fmla="*/ 2 w 4"/>
                  <a:gd name="T1" fmla="*/ 0 h 4"/>
                  <a:gd name="T2" fmla="*/ 2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2"/>
                    </a:lnTo>
                    <a:lnTo>
                      <a:pt x="0" y="2"/>
                    </a:lnTo>
                    <a:lnTo>
                      <a:pt x="0" y="4"/>
                    </a:lnTo>
                    <a:lnTo>
                      <a:pt x="0" y="4"/>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0" name="Freeform 1076"/>
              <p:cNvSpPr>
                <a:spLocks/>
              </p:cNvSpPr>
              <p:nvPr/>
            </p:nvSpPr>
            <p:spPr bwMode="auto">
              <a:xfrm>
                <a:off x="1298" y="248"/>
                <a:ext cx="4" cy="4"/>
              </a:xfrm>
              <a:custGeom>
                <a:avLst/>
                <a:gdLst>
                  <a:gd name="T0" fmla="*/ 2 w 4"/>
                  <a:gd name="T1" fmla="*/ 0 h 4"/>
                  <a:gd name="T2" fmla="*/ 2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2"/>
                    </a:lnTo>
                    <a:lnTo>
                      <a:pt x="0" y="2"/>
                    </a:lnTo>
                    <a:lnTo>
                      <a:pt x="0" y="4"/>
                    </a:lnTo>
                    <a:lnTo>
                      <a:pt x="0" y="4"/>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1" name="Freeform 1077"/>
              <p:cNvSpPr>
                <a:spLocks/>
              </p:cNvSpPr>
              <p:nvPr/>
            </p:nvSpPr>
            <p:spPr bwMode="auto">
              <a:xfrm>
                <a:off x="1298" y="248"/>
                <a:ext cx="6" cy="4"/>
              </a:xfrm>
              <a:custGeom>
                <a:avLst/>
                <a:gdLst>
                  <a:gd name="T0" fmla="*/ 4 w 6"/>
                  <a:gd name="T1" fmla="*/ 0 h 4"/>
                  <a:gd name="T2" fmla="*/ 4 w 6"/>
                  <a:gd name="T3" fmla="*/ 0 h 4"/>
                  <a:gd name="T4" fmla="*/ 0 w 6"/>
                  <a:gd name="T5" fmla="*/ 4 h 4"/>
                  <a:gd name="T6" fmla="*/ 0 w 6"/>
                  <a:gd name="T7" fmla="*/ 4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4"/>
                    </a:lnTo>
                    <a:lnTo>
                      <a:pt x="0" y="4"/>
                    </a:lnTo>
                    <a:lnTo>
                      <a:pt x="0" y="2"/>
                    </a:lnTo>
                    <a:lnTo>
                      <a:pt x="0" y="2"/>
                    </a:lnTo>
                    <a:lnTo>
                      <a:pt x="0" y="4"/>
                    </a:lnTo>
                    <a:lnTo>
                      <a:pt x="0" y="4"/>
                    </a:lnTo>
                    <a:lnTo>
                      <a:pt x="6" y="0"/>
                    </a:lnTo>
                    <a:lnTo>
                      <a:pt x="6"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2" name="Freeform 1078"/>
              <p:cNvSpPr>
                <a:spLocks/>
              </p:cNvSpPr>
              <p:nvPr/>
            </p:nvSpPr>
            <p:spPr bwMode="auto">
              <a:xfrm>
                <a:off x="1298" y="248"/>
                <a:ext cx="6" cy="4"/>
              </a:xfrm>
              <a:custGeom>
                <a:avLst/>
                <a:gdLst>
                  <a:gd name="T0" fmla="*/ 4 w 6"/>
                  <a:gd name="T1" fmla="*/ 0 h 4"/>
                  <a:gd name="T2" fmla="*/ 4 w 6"/>
                  <a:gd name="T3" fmla="*/ 0 h 4"/>
                  <a:gd name="T4" fmla="*/ 0 w 6"/>
                  <a:gd name="T5" fmla="*/ 4 h 4"/>
                  <a:gd name="T6" fmla="*/ 0 w 6"/>
                  <a:gd name="T7" fmla="*/ 4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4"/>
                    </a:lnTo>
                    <a:lnTo>
                      <a:pt x="0" y="4"/>
                    </a:lnTo>
                    <a:lnTo>
                      <a:pt x="0" y="2"/>
                    </a:lnTo>
                    <a:lnTo>
                      <a:pt x="0" y="2"/>
                    </a:lnTo>
                    <a:lnTo>
                      <a:pt x="0" y="4"/>
                    </a:lnTo>
                    <a:lnTo>
                      <a:pt x="0" y="4"/>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3" name="Freeform 1079"/>
              <p:cNvSpPr>
                <a:spLocks/>
              </p:cNvSpPr>
              <p:nvPr/>
            </p:nvSpPr>
            <p:spPr bwMode="auto">
              <a:xfrm>
                <a:off x="253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4" name="Freeform 1080"/>
              <p:cNvSpPr>
                <a:spLocks/>
              </p:cNvSpPr>
              <p:nvPr/>
            </p:nvSpPr>
            <p:spPr bwMode="auto">
              <a:xfrm>
                <a:off x="2626"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5" name="Freeform 1081"/>
              <p:cNvSpPr>
                <a:spLocks/>
              </p:cNvSpPr>
              <p:nvPr/>
            </p:nvSpPr>
            <p:spPr bwMode="auto">
              <a:xfrm>
                <a:off x="2718"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6" name="Freeform 1082"/>
              <p:cNvSpPr>
                <a:spLocks/>
              </p:cNvSpPr>
              <p:nvPr/>
            </p:nvSpPr>
            <p:spPr bwMode="auto">
              <a:xfrm>
                <a:off x="40" y="2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7" name="Freeform 1083"/>
              <p:cNvSpPr>
                <a:spLocks noEditPoints="1"/>
              </p:cNvSpPr>
              <p:nvPr/>
            </p:nvSpPr>
            <p:spPr bwMode="auto">
              <a:xfrm>
                <a:off x="3924" y="21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8" name="Freeform 1084"/>
              <p:cNvSpPr>
                <a:spLocks/>
              </p:cNvSpPr>
              <p:nvPr/>
            </p:nvSpPr>
            <p:spPr bwMode="auto">
              <a:xfrm>
                <a:off x="406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9" name="Freeform 1085"/>
              <p:cNvSpPr>
                <a:spLocks/>
              </p:cNvSpPr>
              <p:nvPr/>
            </p:nvSpPr>
            <p:spPr bwMode="auto">
              <a:xfrm>
                <a:off x="4158"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0" name="Freeform 1086"/>
              <p:cNvSpPr>
                <a:spLocks/>
              </p:cNvSpPr>
              <p:nvPr/>
            </p:nvSpPr>
            <p:spPr bwMode="auto">
              <a:xfrm>
                <a:off x="4250"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1" name="Freeform 1087"/>
              <p:cNvSpPr>
                <a:spLocks/>
              </p:cNvSpPr>
              <p:nvPr/>
            </p:nvSpPr>
            <p:spPr bwMode="auto">
              <a:xfrm>
                <a:off x="434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2" name="Freeform 1088"/>
              <p:cNvSpPr>
                <a:spLocks/>
              </p:cNvSpPr>
              <p:nvPr/>
            </p:nvSpPr>
            <p:spPr bwMode="auto">
              <a:xfrm>
                <a:off x="4582"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3" name="Freeform 1089"/>
              <p:cNvSpPr>
                <a:spLocks/>
              </p:cNvSpPr>
              <p:nvPr/>
            </p:nvSpPr>
            <p:spPr bwMode="auto">
              <a:xfrm>
                <a:off x="4674" y="21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4" name="Freeform 1090"/>
              <p:cNvSpPr>
                <a:spLocks/>
              </p:cNvSpPr>
              <p:nvPr/>
            </p:nvSpPr>
            <p:spPr bwMode="auto">
              <a:xfrm>
                <a:off x="4768"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5" name="Freeform 1091"/>
              <p:cNvSpPr>
                <a:spLocks/>
              </p:cNvSpPr>
              <p:nvPr/>
            </p:nvSpPr>
            <p:spPr bwMode="auto">
              <a:xfrm>
                <a:off x="486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6" name="Freeform 1092"/>
              <p:cNvSpPr>
                <a:spLocks/>
              </p:cNvSpPr>
              <p:nvPr/>
            </p:nvSpPr>
            <p:spPr bwMode="auto">
              <a:xfrm>
                <a:off x="4434" y="2166"/>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7" name="Freeform 1093"/>
              <p:cNvSpPr>
                <a:spLocks/>
              </p:cNvSpPr>
              <p:nvPr/>
            </p:nvSpPr>
            <p:spPr bwMode="auto">
              <a:xfrm>
                <a:off x="4434" y="2166"/>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8" name="Freeform 1094"/>
              <p:cNvSpPr>
                <a:spLocks/>
              </p:cNvSpPr>
              <p:nvPr/>
            </p:nvSpPr>
            <p:spPr bwMode="auto">
              <a:xfrm>
                <a:off x="4494" y="2166"/>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9" name="Freeform 1095"/>
              <p:cNvSpPr>
                <a:spLocks/>
              </p:cNvSpPr>
              <p:nvPr/>
            </p:nvSpPr>
            <p:spPr bwMode="auto">
              <a:xfrm>
                <a:off x="4494" y="2166"/>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0" name="Freeform 1096"/>
              <p:cNvSpPr>
                <a:spLocks/>
              </p:cNvSpPr>
              <p:nvPr/>
            </p:nvSpPr>
            <p:spPr bwMode="auto">
              <a:xfrm>
                <a:off x="5182"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1" name="Freeform 1097"/>
              <p:cNvSpPr>
                <a:spLocks/>
              </p:cNvSpPr>
              <p:nvPr/>
            </p:nvSpPr>
            <p:spPr bwMode="auto">
              <a:xfrm>
                <a:off x="5182"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2" name="Freeform 1098"/>
              <p:cNvSpPr>
                <a:spLocks/>
              </p:cNvSpPr>
              <p:nvPr/>
            </p:nvSpPr>
            <p:spPr bwMode="auto">
              <a:xfrm>
                <a:off x="5242" y="2166"/>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3" name="Freeform 1099"/>
              <p:cNvSpPr>
                <a:spLocks/>
              </p:cNvSpPr>
              <p:nvPr/>
            </p:nvSpPr>
            <p:spPr bwMode="auto">
              <a:xfrm>
                <a:off x="5242" y="2166"/>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4" name="Freeform 1100"/>
              <p:cNvSpPr>
                <a:spLocks/>
              </p:cNvSpPr>
              <p:nvPr/>
            </p:nvSpPr>
            <p:spPr bwMode="auto">
              <a:xfrm>
                <a:off x="533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5" name="Freeform 1101"/>
              <p:cNvSpPr>
                <a:spLocks/>
              </p:cNvSpPr>
              <p:nvPr/>
            </p:nvSpPr>
            <p:spPr bwMode="auto">
              <a:xfrm>
                <a:off x="5424"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6" name="Freeform 1102"/>
              <p:cNvSpPr>
                <a:spLocks/>
              </p:cNvSpPr>
              <p:nvPr/>
            </p:nvSpPr>
            <p:spPr bwMode="auto">
              <a:xfrm>
                <a:off x="551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7" name="Freeform 1103"/>
              <p:cNvSpPr>
                <a:spLocks/>
              </p:cNvSpPr>
              <p:nvPr/>
            </p:nvSpPr>
            <p:spPr bwMode="auto">
              <a:xfrm>
                <a:off x="575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8" name="Freeform 1104"/>
              <p:cNvSpPr>
                <a:spLocks/>
              </p:cNvSpPr>
              <p:nvPr/>
            </p:nvSpPr>
            <p:spPr bwMode="auto">
              <a:xfrm>
                <a:off x="584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9" name="Freeform 1105"/>
              <p:cNvSpPr>
                <a:spLocks/>
              </p:cNvSpPr>
              <p:nvPr/>
            </p:nvSpPr>
            <p:spPr bwMode="auto">
              <a:xfrm>
                <a:off x="594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0" name="Freeform 1106"/>
              <p:cNvSpPr>
                <a:spLocks noEditPoints="1"/>
              </p:cNvSpPr>
              <p:nvPr/>
            </p:nvSpPr>
            <p:spPr bwMode="auto">
              <a:xfrm>
                <a:off x="6032" y="21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1" name="Freeform 1107"/>
              <p:cNvSpPr>
                <a:spLocks noEditPoints="1"/>
              </p:cNvSpPr>
              <p:nvPr/>
            </p:nvSpPr>
            <p:spPr bwMode="auto">
              <a:xfrm>
                <a:off x="617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2" name="Freeform 1108"/>
              <p:cNvSpPr>
                <a:spLocks/>
              </p:cNvSpPr>
              <p:nvPr/>
            </p:nvSpPr>
            <p:spPr bwMode="auto">
              <a:xfrm>
                <a:off x="5606"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3" name="Freeform 1109"/>
              <p:cNvSpPr>
                <a:spLocks/>
              </p:cNvSpPr>
              <p:nvPr/>
            </p:nvSpPr>
            <p:spPr bwMode="auto">
              <a:xfrm>
                <a:off x="5606"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4" name="Freeform 1110"/>
              <p:cNvSpPr>
                <a:spLocks/>
              </p:cNvSpPr>
              <p:nvPr/>
            </p:nvSpPr>
            <p:spPr bwMode="auto">
              <a:xfrm>
                <a:off x="5666"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5" name="Freeform 1111"/>
              <p:cNvSpPr>
                <a:spLocks/>
              </p:cNvSpPr>
              <p:nvPr/>
            </p:nvSpPr>
            <p:spPr bwMode="auto">
              <a:xfrm>
                <a:off x="5666"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6" name="Freeform 1112"/>
              <p:cNvSpPr>
                <a:spLocks noEditPoints="1"/>
              </p:cNvSpPr>
              <p:nvPr/>
            </p:nvSpPr>
            <p:spPr bwMode="auto">
              <a:xfrm>
                <a:off x="6586" y="2162"/>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7" name="Freeform 1113"/>
              <p:cNvSpPr>
                <a:spLocks noEditPoints="1"/>
              </p:cNvSpPr>
              <p:nvPr/>
            </p:nvSpPr>
            <p:spPr bwMode="auto">
              <a:xfrm>
                <a:off x="6818" y="2162"/>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8" name="Freeform 1114"/>
              <p:cNvSpPr>
                <a:spLocks/>
              </p:cNvSpPr>
              <p:nvPr/>
            </p:nvSpPr>
            <p:spPr bwMode="auto">
              <a:xfrm>
                <a:off x="672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9" name="Freeform 1115"/>
              <p:cNvSpPr>
                <a:spLocks noEditPoints="1"/>
              </p:cNvSpPr>
              <p:nvPr/>
            </p:nvSpPr>
            <p:spPr bwMode="auto">
              <a:xfrm>
                <a:off x="6958"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0" name="Freeform 1116"/>
              <p:cNvSpPr>
                <a:spLocks/>
              </p:cNvSpPr>
              <p:nvPr/>
            </p:nvSpPr>
            <p:spPr bwMode="auto">
              <a:xfrm>
                <a:off x="7096"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1" name="Freeform 1117"/>
              <p:cNvSpPr>
                <a:spLocks/>
              </p:cNvSpPr>
              <p:nvPr/>
            </p:nvSpPr>
            <p:spPr bwMode="auto">
              <a:xfrm>
                <a:off x="7096"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2" name="Freeform 1118"/>
              <p:cNvSpPr>
                <a:spLocks/>
              </p:cNvSpPr>
              <p:nvPr/>
            </p:nvSpPr>
            <p:spPr bwMode="auto">
              <a:xfrm>
                <a:off x="715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3" name="Freeform 1119"/>
              <p:cNvSpPr>
                <a:spLocks/>
              </p:cNvSpPr>
              <p:nvPr/>
            </p:nvSpPr>
            <p:spPr bwMode="auto">
              <a:xfrm>
                <a:off x="715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4" name="Freeform 1120"/>
              <p:cNvSpPr>
                <a:spLocks noEditPoints="1"/>
              </p:cNvSpPr>
              <p:nvPr/>
            </p:nvSpPr>
            <p:spPr bwMode="auto">
              <a:xfrm>
                <a:off x="7392" y="21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5" name="Freeform 1121"/>
              <p:cNvSpPr>
                <a:spLocks/>
              </p:cNvSpPr>
              <p:nvPr/>
            </p:nvSpPr>
            <p:spPr bwMode="auto">
              <a:xfrm>
                <a:off x="7532"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6" name="Freeform 1122"/>
              <p:cNvSpPr>
                <a:spLocks noEditPoints="1"/>
              </p:cNvSpPr>
              <p:nvPr/>
            </p:nvSpPr>
            <p:spPr bwMode="auto">
              <a:xfrm>
                <a:off x="3932" y="1978"/>
                <a:ext cx="188" cy="146"/>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7" name="Freeform 1123"/>
              <p:cNvSpPr>
                <a:spLocks/>
              </p:cNvSpPr>
              <p:nvPr/>
            </p:nvSpPr>
            <p:spPr bwMode="auto">
              <a:xfrm>
                <a:off x="4036" y="2080"/>
                <a:ext cx="16" cy="28"/>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8" name="Freeform 1124"/>
              <p:cNvSpPr>
                <a:spLocks/>
              </p:cNvSpPr>
              <p:nvPr/>
            </p:nvSpPr>
            <p:spPr bwMode="auto">
              <a:xfrm>
                <a:off x="3938" y="2078"/>
                <a:ext cx="18" cy="22"/>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9" name="Freeform 1125"/>
              <p:cNvSpPr>
                <a:spLocks/>
              </p:cNvSpPr>
              <p:nvPr/>
            </p:nvSpPr>
            <p:spPr bwMode="auto">
              <a:xfrm>
                <a:off x="3934" y="20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0" name="Freeform 1126"/>
              <p:cNvSpPr>
                <a:spLocks/>
              </p:cNvSpPr>
              <p:nvPr/>
            </p:nvSpPr>
            <p:spPr bwMode="auto">
              <a:xfrm>
                <a:off x="3946" y="1982"/>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1" name="Freeform 1127"/>
              <p:cNvSpPr>
                <a:spLocks/>
              </p:cNvSpPr>
              <p:nvPr/>
            </p:nvSpPr>
            <p:spPr bwMode="auto">
              <a:xfrm>
                <a:off x="3932" y="1978"/>
                <a:ext cx="188" cy="146"/>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2" name="Freeform 1128"/>
              <p:cNvSpPr>
                <a:spLocks/>
              </p:cNvSpPr>
              <p:nvPr/>
            </p:nvSpPr>
            <p:spPr bwMode="auto">
              <a:xfrm>
                <a:off x="3938"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3" name="Freeform 1129"/>
              <p:cNvSpPr>
                <a:spLocks/>
              </p:cNvSpPr>
              <p:nvPr/>
            </p:nvSpPr>
            <p:spPr bwMode="auto">
              <a:xfrm>
                <a:off x="3938"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4" name="Freeform 1130"/>
              <p:cNvSpPr>
                <a:spLocks/>
              </p:cNvSpPr>
              <p:nvPr/>
            </p:nvSpPr>
            <p:spPr bwMode="auto">
              <a:xfrm>
                <a:off x="3938" y="2078"/>
                <a:ext cx="8" cy="12"/>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5" name="Freeform 1131"/>
              <p:cNvSpPr>
                <a:spLocks/>
              </p:cNvSpPr>
              <p:nvPr/>
            </p:nvSpPr>
            <p:spPr bwMode="auto">
              <a:xfrm>
                <a:off x="3938" y="2078"/>
                <a:ext cx="8" cy="12"/>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6" name="Freeform 1132"/>
              <p:cNvSpPr>
                <a:spLocks/>
              </p:cNvSpPr>
              <p:nvPr/>
            </p:nvSpPr>
            <p:spPr bwMode="auto">
              <a:xfrm>
                <a:off x="4036"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7" name="Freeform 1133"/>
              <p:cNvSpPr>
                <a:spLocks/>
              </p:cNvSpPr>
              <p:nvPr/>
            </p:nvSpPr>
            <p:spPr bwMode="auto">
              <a:xfrm>
                <a:off x="4036"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8" name="Freeform 1134"/>
              <p:cNvSpPr>
                <a:spLocks/>
              </p:cNvSpPr>
              <p:nvPr/>
            </p:nvSpPr>
            <p:spPr bwMode="auto">
              <a:xfrm>
                <a:off x="4036" y="2080"/>
                <a:ext cx="16" cy="28"/>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9" name="Freeform 1135"/>
              <p:cNvSpPr>
                <a:spLocks/>
              </p:cNvSpPr>
              <p:nvPr/>
            </p:nvSpPr>
            <p:spPr bwMode="auto">
              <a:xfrm>
                <a:off x="4036" y="2080"/>
                <a:ext cx="16" cy="28"/>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0" name="Freeform 1136"/>
              <p:cNvSpPr>
                <a:spLocks/>
              </p:cNvSpPr>
              <p:nvPr/>
            </p:nvSpPr>
            <p:spPr bwMode="auto">
              <a:xfrm>
                <a:off x="3934" y="20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1" name="Freeform 1137"/>
              <p:cNvSpPr>
                <a:spLocks/>
              </p:cNvSpPr>
              <p:nvPr/>
            </p:nvSpPr>
            <p:spPr bwMode="auto">
              <a:xfrm>
                <a:off x="3934" y="20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2" name="Freeform 1138"/>
              <p:cNvSpPr>
                <a:spLocks noEditPoints="1"/>
              </p:cNvSpPr>
              <p:nvPr/>
            </p:nvSpPr>
            <p:spPr bwMode="auto">
              <a:xfrm>
                <a:off x="3938" y="2028"/>
                <a:ext cx="8" cy="2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3" name="Freeform 1139"/>
              <p:cNvSpPr>
                <a:spLocks/>
              </p:cNvSpPr>
              <p:nvPr/>
            </p:nvSpPr>
            <p:spPr bwMode="auto">
              <a:xfrm>
                <a:off x="3938" y="2046"/>
                <a:ext cx="6" cy="2"/>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4" name="Freeform 1140"/>
              <p:cNvSpPr>
                <a:spLocks/>
              </p:cNvSpPr>
              <p:nvPr/>
            </p:nvSpPr>
            <p:spPr bwMode="auto">
              <a:xfrm>
                <a:off x="3944" y="2042"/>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5" name="Freeform 1141"/>
              <p:cNvSpPr>
                <a:spLocks/>
              </p:cNvSpPr>
              <p:nvPr/>
            </p:nvSpPr>
            <p:spPr bwMode="auto">
              <a:xfrm>
                <a:off x="3938" y="2028"/>
                <a:ext cx="4" cy="16"/>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6" name="Freeform 1142"/>
              <p:cNvSpPr>
                <a:spLocks/>
              </p:cNvSpPr>
              <p:nvPr/>
            </p:nvSpPr>
            <p:spPr bwMode="auto">
              <a:xfrm>
                <a:off x="3940" y="2028"/>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7" name="Freeform 1143"/>
              <p:cNvSpPr>
                <a:spLocks noEditPoints="1"/>
              </p:cNvSpPr>
              <p:nvPr/>
            </p:nvSpPr>
            <p:spPr bwMode="auto">
              <a:xfrm>
                <a:off x="4048" y="2016"/>
                <a:ext cx="20" cy="14"/>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8" name="Freeform 1144"/>
              <p:cNvSpPr>
                <a:spLocks/>
              </p:cNvSpPr>
              <p:nvPr/>
            </p:nvSpPr>
            <p:spPr bwMode="auto">
              <a:xfrm>
                <a:off x="4054" y="2022"/>
                <a:ext cx="6" cy="6"/>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9" name="Freeform 1145"/>
              <p:cNvSpPr>
                <a:spLocks/>
              </p:cNvSpPr>
              <p:nvPr/>
            </p:nvSpPr>
            <p:spPr bwMode="auto">
              <a:xfrm>
                <a:off x="4048" y="2016"/>
                <a:ext cx="20" cy="14"/>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0" name="Freeform 1146"/>
              <p:cNvSpPr>
                <a:spLocks/>
              </p:cNvSpPr>
              <p:nvPr/>
            </p:nvSpPr>
            <p:spPr bwMode="auto">
              <a:xfrm>
                <a:off x="4002" y="2006"/>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1" name="Freeform 1147"/>
              <p:cNvSpPr>
                <a:spLocks/>
              </p:cNvSpPr>
              <p:nvPr/>
            </p:nvSpPr>
            <p:spPr bwMode="auto">
              <a:xfrm>
                <a:off x="4002" y="2006"/>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2" name="Freeform 1148"/>
              <p:cNvSpPr>
                <a:spLocks/>
              </p:cNvSpPr>
              <p:nvPr/>
            </p:nvSpPr>
            <p:spPr bwMode="auto">
              <a:xfrm>
                <a:off x="4098" y="2008"/>
                <a:ext cx="12" cy="8"/>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3" name="Freeform 1149"/>
              <p:cNvSpPr>
                <a:spLocks/>
              </p:cNvSpPr>
              <p:nvPr/>
            </p:nvSpPr>
            <p:spPr bwMode="auto">
              <a:xfrm>
                <a:off x="4098" y="2008"/>
                <a:ext cx="12" cy="8"/>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4" name="Freeform 1150"/>
              <p:cNvSpPr>
                <a:spLocks/>
              </p:cNvSpPr>
              <p:nvPr/>
            </p:nvSpPr>
            <p:spPr bwMode="auto">
              <a:xfrm>
                <a:off x="4042" y="20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5" name="Freeform 1151"/>
              <p:cNvSpPr>
                <a:spLocks/>
              </p:cNvSpPr>
              <p:nvPr/>
            </p:nvSpPr>
            <p:spPr bwMode="auto">
              <a:xfrm>
                <a:off x="4042" y="20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6" name="Freeform 1152"/>
              <p:cNvSpPr>
                <a:spLocks/>
              </p:cNvSpPr>
              <p:nvPr/>
            </p:nvSpPr>
            <p:spPr bwMode="auto">
              <a:xfrm>
                <a:off x="4058" y="20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7" name="Freeform 1153"/>
              <p:cNvSpPr>
                <a:spLocks/>
              </p:cNvSpPr>
              <p:nvPr/>
            </p:nvSpPr>
            <p:spPr bwMode="auto">
              <a:xfrm>
                <a:off x="4058" y="20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8" name="Freeform 1154"/>
              <p:cNvSpPr>
                <a:spLocks/>
              </p:cNvSpPr>
              <p:nvPr/>
            </p:nvSpPr>
            <p:spPr bwMode="auto">
              <a:xfrm>
                <a:off x="4054"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9" name="Freeform 1155"/>
              <p:cNvSpPr>
                <a:spLocks/>
              </p:cNvSpPr>
              <p:nvPr/>
            </p:nvSpPr>
            <p:spPr bwMode="auto">
              <a:xfrm>
                <a:off x="4054"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0" name="Freeform 1156"/>
              <p:cNvSpPr>
                <a:spLocks/>
              </p:cNvSpPr>
              <p:nvPr/>
            </p:nvSpPr>
            <p:spPr bwMode="auto">
              <a:xfrm>
                <a:off x="4054"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1" name="Freeform 1157"/>
              <p:cNvSpPr>
                <a:spLocks/>
              </p:cNvSpPr>
              <p:nvPr/>
            </p:nvSpPr>
            <p:spPr bwMode="auto">
              <a:xfrm>
                <a:off x="4054"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2" name="Freeform 1158"/>
              <p:cNvSpPr>
                <a:spLocks noEditPoints="1"/>
              </p:cNvSpPr>
              <p:nvPr/>
            </p:nvSpPr>
            <p:spPr bwMode="auto">
              <a:xfrm>
                <a:off x="7244" y="2170"/>
                <a:ext cx="108" cy="142"/>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3" name="Freeform 1159"/>
              <p:cNvSpPr>
                <a:spLocks/>
              </p:cNvSpPr>
              <p:nvPr/>
            </p:nvSpPr>
            <p:spPr bwMode="auto">
              <a:xfrm>
                <a:off x="7288" y="2228"/>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4" name="Freeform 1160"/>
              <p:cNvSpPr>
                <a:spLocks/>
              </p:cNvSpPr>
              <p:nvPr/>
            </p:nvSpPr>
            <p:spPr bwMode="auto">
              <a:xfrm>
                <a:off x="7244" y="2170"/>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5" name="Freeform 1161"/>
              <p:cNvSpPr>
                <a:spLocks noEditPoints="1"/>
              </p:cNvSpPr>
              <p:nvPr/>
            </p:nvSpPr>
            <p:spPr bwMode="auto">
              <a:xfrm>
                <a:off x="4952" y="2164"/>
                <a:ext cx="190" cy="146"/>
              </a:xfrm>
              <a:custGeom>
                <a:avLst/>
                <a:gdLst>
                  <a:gd name="T0" fmla="*/ 120 w 190"/>
                  <a:gd name="T1" fmla="*/ 130 h 146"/>
                  <a:gd name="T2" fmla="*/ 106 w 190"/>
                  <a:gd name="T3" fmla="*/ 130 h 146"/>
                  <a:gd name="T4" fmla="*/ 118 w 190"/>
                  <a:gd name="T5" fmla="*/ 104 h 146"/>
                  <a:gd name="T6" fmla="*/ 24 w 190"/>
                  <a:gd name="T7" fmla="*/ 120 h 146"/>
                  <a:gd name="T8" fmla="*/ 8 w 190"/>
                  <a:gd name="T9" fmla="*/ 114 h 146"/>
                  <a:gd name="T10" fmla="*/ 10 w 190"/>
                  <a:gd name="T11" fmla="*/ 50 h 146"/>
                  <a:gd name="T12" fmla="*/ 6 w 190"/>
                  <a:gd name="T13" fmla="*/ 62 h 146"/>
                  <a:gd name="T14" fmla="*/ 8 w 190"/>
                  <a:gd name="T15" fmla="*/ 66 h 146"/>
                  <a:gd name="T16" fmla="*/ 14 w 190"/>
                  <a:gd name="T17" fmla="*/ 64 h 146"/>
                  <a:gd name="T18" fmla="*/ 8 w 190"/>
                  <a:gd name="T19" fmla="*/ 70 h 146"/>
                  <a:gd name="T20" fmla="*/ 8 w 190"/>
                  <a:gd name="T21" fmla="*/ 50 h 146"/>
                  <a:gd name="T22" fmla="*/ 98 w 190"/>
                  <a:gd name="T23" fmla="*/ 8 h 146"/>
                  <a:gd name="T24" fmla="*/ 146 w 190"/>
                  <a:gd name="T25" fmla="*/ 22 h 146"/>
                  <a:gd name="T26" fmla="*/ 156 w 190"/>
                  <a:gd name="T27" fmla="*/ 42 h 146"/>
                  <a:gd name="T28" fmla="*/ 150 w 190"/>
                  <a:gd name="T29" fmla="*/ 48 h 146"/>
                  <a:gd name="T30" fmla="*/ 156 w 190"/>
                  <a:gd name="T31" fmla="*/ 48 h 146"/>
                  <a:gd name="T32" fmla="*/ 162 w 190"/>
                  <a:gd name="T33" fmla="*/ 42 h 146"/>
                  <a:gd name="T34" fmla="*/ 180 w 190"/>
                  <a:gd name="T35" fmla="*/ 30 h 146"/>
                  <a:gd name="T36" fmla="*/ 174 w 190"/>
                  <a:gd name="T37" fmla="*/ 84 h 146"/>
                  <a:gd name="T38" fmla="*/ 130 w 190"/>
                  <a:gd name="T39" fmla="*/ 96 h 146"/>
                  <a:gd name="T40" fmla="*/ 142 w 190"/>
                  <a:gd name="T41" fmla="*/ 96 h 146"/>
                  <a:gd name="T42" fmla="*/ 138 w 190"/>
                  <a:gd name="T43" fmla="*/ 102 h 146"/>
                  <a:gd name="T44" fmla="*/ 114 w 190"/>
                  <a:gd name="T45" fmla="*/ 92 h 146"/>
                  <a:gd name="T46" fmla="*/ 92 w 190"/>
                  <a:gd name="T47" fmla="*/ 136 h 146"/>
                  <a:gd name="T48" fmla="*/ 70 w 190"/>
                  <a:gd name="T49" fmla="*/ 128 h 146"/>
                  <a:gd name="T50" fmla="*/ 76 w 190"/>
                  <a:gd name="T51" fmla="*/ 116 h 146"/>
                  <a:gd name="T52" fmla="*/ 54 w 190"/>
                  <a:gd name="T53" fmla="*/ 110 h 146"/>
                  <a:gd name="T54" fmla="*/ 50 w 190"/>
                  <a:gd name="T55" fmla="*/ 130 h 146"/>
                  <a:gd name="T56" fmla="*/ 26 w 190"/>
                  <a:gd name="T57" fmla="*/ 134 h 146"/>
                  <a:gd name="T58" fmla="*/ 22 w 190"/>
                  <a:gd name="T59" fmla="*/ 106 h 146"/>
                  <a:gd name="T60" fmla="*/ 30 w 190"/>
                  <a:gd name="T61" fmla="*/ 46 h 146"/>
                  <a:gd name="T62" fmla="*/ 42 w 190"/>
                  <a:gd name="T63" fmla="*/ 60 h 146"/>
                  <a:gd name="T64" fmla="*/ 50 w 190"/>
                  <a:gd name="T65" fmla="*/ 86 h 146"/>
                  <a:gd name="T66" fmla="*/ 74 w 190"/>
                  <a:gd name="T67" fmla="*/ 96 h 146"/>
                  <a:gd name="T68" fmla="*/ 96 w 190"/>
                  <a:gd name="T69" fmla="*/ 58 h 146"/>
                  <a:gd name="T70" fmla="*/ 88 w 190"/>
                  <a:gd name="T71" fmla="*/ 86 h 146"/>
                  <a:gd name="T72" fmla="*/ 54 w 190"/>
                  <a:gd name="T73" fmla="*/ 88 h 146"/>
                  <a:gd name="T74" fmla="*/ 46 w 190"/>
                  <a:gd name="T75" fmla="*/ 66 h 146"/>
                  <a:gd name="T76" fmla="*/ 76 w 190"/>
                  <a:gd name="T77" fmla="*/ 24 h 146"/>
                  <a:gd name="T78" fmla="*/ 106 w 190"/>
                  <a:gd name="T79" fmla="*/ 2 h 146"/>
                  <a:gd name="T80" fmla="*/ 72 w 190"/>
                  <a:gd name="T81" fmla="*/ 24 h 146"/>
                  <a:gd name="T82" fmla="*/ 18 w 190"/>
                  <a:gd name="T83" fmla="*/ 56 h 146"/>
                  <a:gd name="T84" fmla="*/ 14 w 190"/>
                  <a:gd name="T85" fmla="*/ 50 h 146"/>
                  <a:gd name="T86" fmla="*/ 4 w 190"/>
                  <a:gd name="T87" fmla="*/ 68 h 146"/>
                  <a:gd name="T88" fmla="*/ 10 w 190"/>
                  <a:gd name="T89" fmla="*/ 98 h 146"/>
                  <a:gd name="T90" fmla="*/ 16 w 190"/>
                  <a:gd name="T91" fmla="*/ 124 h 146"/>
                  <a:gd name="T92" fmla="*/ 34 w 190"/>
                  <a:gd name="T93" fmla="*/ 142 h 146"/>
                  <a:gd name="T94" fmla="*/ 52 w 190"/>
                  <a:gd name="T95" fmla="*/ 132 h 146"/>
                  <a:gd name="T96" fmla="*/ 76 w 190"/>
                  <a:gd name="T97" fmla="*/ 144 h 146"/>
                  <a:gd name="T98" fmla="*/ 98 w 190"/>
                  <a:gd name="T99" fmla="*/ 134 h 146"/>
                  <a:gd name="T100" fmla="*/ 124 w 190"/>
                  <a:gd name="T101" fmla="*/ 124 h 146"/>
                  <a:gd name="T102" fmla="*/ 126 w 190"/>
                  <a:gd name="T103" fmla="*/ 102 h 146"/>
                  <a:gd name="T104" fmla="*/ 150 w 190"/>
                  <a:gd name="T105" fmla="*/ 92 h 146"/>
                  <a:gd name="T106" fmla="*/ 182 w 190"/>
                  <a:gd name="T107" fmla="*/ 80 h 146"/>
                  <a:gd name="T108" fmla="*/ 182 w 190"/>
                  <a:gd name="T109" fmla="*/ 24 h 146"/>
                  <a:gd name="T110" fmla="*/ 164 w 190"/>
                  <a:gd name="T111" fmla="*/ 34 h 146"/>
                  <a:gd name="T112" fmla="*/ 128 w 190"/>
                  <a:gd name="T11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 h="146">
                    <a:moveTo>
                      <a:pt x="118" y="104"/>
                    </a:moveTo>
                    <a:lnTo>
                      <a:pt x="118" y="104"/>
                    </a:lnTo>
                    <a:lnTo>
                      <a:pt x="118" y="104"/>
                    </a:lnTo>
                    <a:lnTo>
                      <a:pt x="118" y="104"/>
                    </a:lnTo>
                    <a:lnTo>
                      <a:pt x="120" y="112"/>
                    </a:lnTo>
                    <a:lnTo>
                      <a:pt x="120" y="112"/>
                    </a:lnTo>
                    <a:lnTo>
                      <a:pt x="122" y="128"/>
                    </a:lnTo>
                    <a:lnTo>
                      <a:pt x="122" y="128"/>
                    </a:lnTo>
                    <a:lnTo>
                      <a:pt x="120" y="130"/>
                    </a:lnTo>
                    <a:lnTo>
                      <a:pt x="120" y="130"/>
                    </a:lnTo>
                    <a:lnTo>
                      <a:pt x="114" y="130"/>
                    </a:lnTo>
                    <a:lnTo>
                      <a:pt x="114" y="130"/>
                    </a:lnTo>
                    <a:lnTo>
                      <a:pt x="114" y="130"/>
                    </a:lnTo>
                    <a:lnTo>
                      <a:pt x="114" y="130"/>
                    </a:lnTo>
                    <a:lnTo>
                      <a:pt x="112" y="130"/>
                    </a:lnTo>
                    <a:lnTo>
                      <a:pt x="112" y="130"/>
                    </a:lnTo>
                    <a:lnTo>
                      <a:pt x="106" y="130"/>
                    </a:lnTo>
                    <a:lnTo>
                      <a:pt x="106" y="130"/>
                    </a:lnTo>
                    <a:lnTo>
                      <a:pt x="104" y="130"/>
                    </a:lnTo>
                    <a:lnTo>
                      <a:pt x="104" y="130"/>
                    </a:lnTo>
                    <a:lnTo>
                      <a:pt x="104" y="130"/>
                    </a:lnTo>
                    <a:lnTo>
                      <a:pt x="104" y="130"/>
                    </a:lnTo>
                    <a:lnTo>
                      <a:pt x="104" y="130"/>
                    </a:lnTo>
                    <a:lnTo>
                      <a:pt x="104" y="130"/>
                    </a:lnTo>
                    <a:lnTo>
                      <a:pt x="116" y="110"/>
                    </a:lnTo>
                    <a:lnTo>
                      <a:pt x="116" y="110"/>
                    </a:lnTo>
                    <a:lnTo>
                      <a:pt x="118" y="104"/>
                    </a:lnTo>
                    <a:lnTo>
                      <a:pt x="118" y="104"/>
                    </a:lnTo>
                    <a:lnTo>
                      <a:pt x="118" y="104"/>
                    </a:lnTo>
                    <a:close/>
                    <a:moveTo>
                      <a:pt x="8" y="104"/>
                    </a:moveTo>
                    <a:lnTo>
                      <a:pt x="8" y="104"/>
                    </a:lnTo>
                    <a:lnTo>
                      <a:pt x="16" y="100"/>
                    </a:lnTo>
                    <a:lnTo>
                      <a:pt x="16" y="100"/>
                    </a:lnTo>
                    <a:lnTo>
                      <a:pt x="24" y="116"/>
                    </a:lnTo>
                    <a:lnTo>
                      <a:pt x="24" y="116"/>
                    </a:lnTo>
                    <a:lnTo>
                      <a:pt x="24" y="120"/>
                    </a:lnTo>
                    <a:lnTo>
                      <a:pt x="22" y="122"/>
                    </a:lnTo>
                    <a:lnTo>
                      <a:pt x="22" y="122"/>
                    </a:lnTo>
                    <a:lnTo>
                      <a:pt x="20" y="122"/>
                    </a:lnTo>
                    <a:lnTo>
                      <a:pt x="20" y="122"/>
                    </a:lnTo>
                    <a:lnTo>
                      <a:pt x="20" y="122"/>
                    </a:lnTo>
                    <a:lnTo>
                      <a:pt x="20" y="122"/>
                    </a:lnTo>
                    <a:lnTo>
                      <a:pt x="14" y="120"/>
                    </a:lnTo>
                    <a:lnTo>
                      <a:pt x="10" y="118"/>
                    </a:lnTo>
                    <a:lnTo>
                      <a:pt x="8"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10" y="52"/>
                    </a:lnTo>
                    <a:lnTo>
                      <a:pt x="10" y="52"/>
                    </a:lnTo>
                    <a:lnTo>
                      <a:pt x="6" y="62"/>
                    </a:lnTo>
                    <a:lnTo>
                      <a:pt x="6" y="62"/>
                    </a:lnTo>
                    <a:lnTo>
                      <a:pt x="8" y="64"/>
                    </a:lnTo>
                    <a:lnTo>
                      <a:pt x="8" y="64"/>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6"/>
                    </a:lnTo>
                    <a:lnTo>
                      <a:pt x="12" y="68"/>
                    </a:lnTo>
                    <a:lnTo>
                      <a:pt x="12" y="68"/>
                    </a:lnTo>
                    <a:lnTo>
                      <a:pt x="10" y="70"/>
                    </a:lnTo>
                    <a:lnTo>
                      <a:pt x="10" y="70"/>
                    </a:lnTo>
                    <a:lnTo>
                      <a:pt x="8" y="70"/>
                    </a:lnTo>
                    <a:lnTo>
                      <a:pt x="8" y="70"/>
                    </a:lnTo>
                    <a:lnTo>
                      <a:pt x="8" y="68"/>
                    </a:lnTo>
                    <a:lnTo>
                      <a:pt x="8" y="68"/>
                    </a:lnTo>
                    <a:lnTo>
                      <a:pt x="4" y="62"/>
                    </a:lnTo>
                    <a:lnTo>
                      <a:pt x="4" y="54"/>
                    </a:lnTo>
                    <a:lnTo>
                      <a:pt x="4" y="54"/>
                    </a:lnTo>
                    <a:lnTo>
                      <a:pt x="8" y="50"/>
                    </a:lnTo>
                    <a:lnTo>
                      <a:pt x="8" y="50"/>
                    </a:lnTo>
                    <a:lnTo>
                      <a:pt x="8" y="50"/>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4" y="4"/>
                    </a:lnTo>
                    <a:lnTo>
                      <a:pt x="130" y="8"/>
                    </a:lnTo>
                    <a:lnTo>
                      <a:pt x="130" y="8"/>
                    </a:lnTo>
                    <a:lnTo>
                      <a:pt x="146" y="20"/>
                    </a:lnTo>
                    <a:lnTo>
                      <a:pt x="146" y="20"/>
                    </a:lnTo>
                    <a:lnTo>
                      <a:pt x="146" y="22"/>
                    </a:lnTo>
                    <a:lnTo>
                      <a:pt x="146" y="22"/>
                    </a:lnTo>
                    <a:lnTo>
                      <a:pt x="150" y="22"/>
                    </a:lnTo>
                    <a:lnTo>
                      <a:pt x="154" y="26"/>
                    </a:lnTo>
                    <a:lnTo>
                      <a:pt x="160" y="32"/>
                    </a:lnTo>
                    <a:lnTo>
                      <a:pt x="160" y="32"/>
                    </a:lnTo>
                    <a:lnTo>
                      <a:pt x="150" y="34"/>
                    </a:lnTo>
                    <a:lnTo>
                      <a:pt x="150" y="34"/>
                    </a:lnTo>
                    <a:lnTo>
                      <a:pt x="152" y="40"/>
                    </a:lnTo>
                    <a:lnTo>
                      <a:pt x="156" y="42"/>
                    </a:lnTo>
                    <a:lnTo>
                      <a:pt x="156" y="42"/>
                    </a:lnTo>
                    <a:lnTo>
                      <a:pt x="158" y="40"/>
                    </a:lnTo>
                    <a:lnTo>
                      <a:pt x="158" y="40"/>
                    </a:lnTo>
                    <a:lnTo>
                      <a:pt x="160" y="44"/>
                    </a:lnTo>
                    <a:lnTo>
                      <a:pt x="160" y="44"/>
                    </a:lnTo>
                    <a:lnTo>
                      <a:pt x="150" y="46"/>
                    </a:lnTo>
                    <a:lnTo>
                      <a:pt x="148" y="48"/>
                    </a:lnTo>
                    <a:lnTo>
                      <a:pt x="146" y="52"/>
                    </a:lnTo>
                    <a:lnTo>
                      <a:pt x="146" y="52"/>
                    </a:lnTo>
                    <a:lnTo>
                      <a:pt x="150" y="48"/>
                    </a:lnTo>
                    <a:lnTo>
                      <a:pt x="150" y="48"/>
                    </a:lnTo>
                    <a:lnTo>
                      <a:pt x="154" y="44"/>
                    </a:lnTo>
                    <a:lnTo>
                      <a:pt x="154" y="44"/>
                    </a:lnTo>
                    <a:lnTo>
                      <a:pt x="152" y="56"/>
                    </a:lnTo>
                    <a:lnTo>
                      <a:pt x="152" y="56"/>
                    </a:lnTo>
                    <a:lnTo>
                      <a:pt x="152" y="56"/>
                    </a:lnTo>
                    <a:lnTo>
                      <a:pt x="152" y="56"/>
                    </a:lnTo>
                    <a:lnTo>
                      <a:pt x="156" y="48"/>
                    </a:lnTo>
                    <a:lnTo>
                      <a:pt x="156" y="48"/>
                    </a:lnTo>
                    <a:lnTo>
                      <a:pt x="160" y="46"/>
                    </a:lnTo>
                    <a:lnTo>
                      <a:pt x="160"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8" y="28"/>
                    </a:lnTo>
                    <a:lnTo>
                      <a:pt x="178" y="28"/>
                    </a:lnTo>
                    <a:lnTo>
                      <a:pt x="180" y="30"/>
                    </a:lnTo>
                    <a:lnTo>
                      <a:pt x="180" y="30"/>
                    </a:lnTo>
                    <a:lnTo>
                      <a:pt x="184" y="40"/>
                    </a:lnTo>
                    <a:lnTo>
                      <a:pt x="184" y="40"/>
                    </a:lnTo>
                    <a:lnTo>
                      <a:pt x="186" y="56"/>
                    </a:lnTo>
                    <a:lnTo>
                      <a:pt x="186" y="62"/>
                    </a:lnTo>
                    <a:lnTo>
                      <a:pt x="184" y="70"/>
                    </a:lnTo>
                    <a:lnTo>
                      <a:pt x="184" y="70"/>
                    </a:lnTo>
                    <a:lnTo>
                      <a:pt x="180" y="78"/>
                    </a:lnTo>
                    <a:lnTo>
                      <a:pt x="174" y="84"/>
                    </a:lnTo>
                    <a:lnTo>
                      <a:pt x="168" y="88"/>
                    </a:lnTo>
                    <a:lnTo>
                      <a:pt x="160" y="88"/>
                    </a:lnTo>
                    <a:lnTo>
                      <a:pt x="160" y="88"/>
                    </a:lnTo>
                    <a:lnTo>
                      <a:pt x="152" y="88"/>
                    </a:lnTo>
                    <a:lnTo>
                      <a:pt x="152" y="88"/>
                    </a:lnTo>
                    <a:lnTo>
                      <a:pt x="142" y="86"/>
                    </a:lnTo>
                    <a:lnTo>
                      <a:pt x="132" y="82"/>
                    </a:lnTo>
                    <a:lnTo>
                      <a:pt x="132" y="82"/>
                    </a:lnTo>
                    <a:lnTo>
                      <a:pt x="130" y="96"/>
                    </a:lnTo>
                    <a:lnTo>
                      <a:pt x="130" y="96"/>
                    </a:lnTo>
                    <a:lnTo>
                      <a:pt x="132" y="98"/>
                    </a:lnTo>
                    <a:lnTo>
                      <a:pt x="132" y="100"/>
                    </a:lnTo>
                    <a:lnTo>
                      <a:pt x="132" y="100"/>
                    </a:lnTo>
                    <a:lnTo>
                      <a:pt x="136" y="100"/>
                    </a:lnTo>
                    <a:lnTo>
                      <a:pt x="136" y="100"/>
                    </a:lnTo>
                    <a:lnTo>
                      <a:pt x="140" y="98"/>
                    </a:lnTo>
                    <a:lnTo>
                      <a:pt x="140" y="98"/>
                    </a:lnTo>
                    <a:lnTo>
                      <a:pt x="142" y="96"/>
                    </a:lnTo>
                    <a:lnTo>
                      <a:pt x="144" y="92"/>
                    </a:lnTo>
                    <a:lnTo>
                      <a:pt x="144" y="92"/>
                    </a:lnTo>
                    <a:lnTo>
                      <a:pt x="146" y="90"/>
                    </a:lnTo>
                    <a:lnTo>
                      <a:pt x="146" y="90"/>
                    </a:lnTo>
                    <a:lnTo>
                      <a:pt x="146" y="94"/>
                    </a:lnTo>
                    <a:lnTo>
                      <a:pt x="144" y="98"/>
                    </a:lnTo>
                    <a:lnTo>
                      <a:pt x="142" y="100"/>
                    </a:lnTo>
                    <a:lnTo>
                      <a:pt x="138" y="102"/>
                    </a:lnTo>
                    <a:lnTo>
                      <a:pt x="138" y="102"/>
                    </a:lnTo>
                    <a:lnTo>
                      <a:pt x="134" y="102"/>
                    </a:lnTo>
                    <a:lnTo>
                      <a:pt x="134" y="102"/>
                    </a:lnTo>
                    <a:lnTo>
                      <a:pt x="130" y="102"/>
                    </a:lnTo>
                    <a:lnTo>
                      <a:pt x="126" y="98"/>
                    </a:lnTo>
                    <a:lnTo>
                      <a:pt x="126" y="98"/>
                    </a:lnTo>
                    <a:lnTo>
                      <a:pt x="118" y="92"/>
                    </a:lnTo>
                    <a:lnTo>
                      <a:pt x="108" y="88"/>
                    </a:lnTo>
                    <a:lnTo>
                      <a:pt x="108" y="88"/>
                    </a:lnTo>
                    <a:lnTo>
                      <a:pt x="114" y="92"/>
                    </a:lnTo>
                    <a:lnTo>
                      <a:pt x="114" y="92"/>
                    </a:lnTo>
                    <a:lnTo>
                      <a:pt x="116" y="96"/>
                    </a:lnTo>
                    <a:lnTo>
                      <a:pt x="116" y="96"/>
                    </a:lnTo>
                    <a:lnTo>
                      <a:pt x="110" y="114"/>
                    </a:lnTo>
                    <a:lnTo>
                      <a:pt x="106" y="122"/>
                    </a:lnTo>
                    <a:lnTo>
                      <a:pt x="100" y="128"/>
                    </a:lnTo>
                    <a:lnTo>
                      <a:pt x="100" y="128"/>
                    </a:lnTo>
                    <a:lnTo>
                      <a:pt x="92" y="136"/>
                    </a:lnTo>
                    <a:lnTo>
                      <a:pt x="92" y="136"/>
                    </a:lnTo>
                    <a:lnTo>
                      <a:pt x="88" y="140"/>
                    </a:lnTo>
                    <a:lnTo>
                      <a:pt x="88" y="140"/>
                    </a:lnTo>
                    <a:lnTo>
                      <a:pt x="84" y="142"/>
                    </a:lnTo>
                    <a:lnTo>
                      <a:pt x="82" y="142"/>
                    </a:lnTo>
                    <a:lnTo>
                      <a:pt x="82" y="142"/>
                    </a:lnTo>
                    <a:lnTo>
                      <a:pt x="78" y="142"/>
                    </a:lnTo>
                    <a:lnTo>
                      <a:pt x="78" y="142"/>
                    </a:lnTo>
                    <a:lnTo>
                      <a:pt x="70" y="128"/>
                    </a:lnTo>
                    <a:lnTo>
                      <a:pt x="70" y="128"/>
                    </a:lnTo>
                    <a:lnTo>
                      <a:pt x="70" y="126"/>
                    </a:lnTo>
                    <a:lnTo>
                      <a:pt x="72" y="122"/>
                    </a:lnTo>
                    <a:lnTo>
                      <a:pt x="72" y="122"/>
                    </a:lnTo>
                    <a:lnTo>
                      <a:pt x="80" y="118"/>
                    </a:lnTo>
                    <a:lnTo>
                      <a:pt x="80" y="118"/>
                    </a:lnTo>
                    <a:lnTo>
                      <a:pt x="80" y="110"/>
                    </a:lnTo>
                    <a:lnTo>
                      <a:pt x="80" y="110"/>
                    </a:lnTo>
                    <a:lnTo>
                      <a:pt x="78" y="114"/>
                    </a:lnTo>
                    <a:lnTo>
                      <a:pt x="76" y="116"/>
                    </a:lnTo>
                    <a:lnTo>
                      <a:pt x="72" y="116"/>
                    </a:lnTo>
                    <a:lnTo>
                      <a:pt x="72"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2" y="126"/>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8" y="34"/>
                    </a:lnTo>
                    <a:lnTo>
                      <a:pt x="58"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8"/>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2" y="20"/>
                    </a:lnTo>
                    <a:lnTo>
                      <a:pt x="92" y="20"/>
                    </a:lnTo>
                    <a:lnTo>
                      <a:pt x="84" y="20"/>
                    </a:lnTo>
                    <a:close/>
                    <a:moveTo>
                      <a:pt x="114" y="0"/>
                    </a:moveTo>
                    <a:lnTo>
                      <a:pt x="114" y="0"/>
                    </a:lnTo>
                    <a:lnTo>
                      <a:pt x="106" y="2"/>
                    </a:lnTo>
                    <a:lnTo>
                      <a:pt x="98" y="4"/>
                    </a:lnTo>
                    <a:lnTo>
                      <a:pt x="92" y="8"/>
                    </a:lnTo>
                    <a:lnTo>
                      <a:pt x="86" y="12"/>
                    </a:lnTo>
                    <a:lnTo>
                      <a:pt x="86" y="12"/>
                    </a:lnTo>
                    <a:lnTo>
                      <a:pt x="80" y="18"/>
                    </a:lnTo>
                    <a:lnTo>
                      <a:pt x="78" y="20"/>
                    </a:lnTo>
                    <a:lnTo>
                      <a:pt x="74" y="22"/>
                    </a:lnTo>
                    <a:lnTo>
                      <a:pt x="74" y="22"/>
                    </a:lnTo>
                    <a:lnTo>
                      <a:pt x="72" y="24"/>
                    </a:lnTo>
                    <a:lnTo>
                      <a:pt x="72" y="24"/>
                    </a:lnTo>
                    <a:lnTo>
                      <a:pt x="64"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6" y="144"/>
                    </a:lnTo>
                    <a:lnTo>
                      <a:pt x="76" y="144"/>
                    </a:lnTo>
                    <a:lnTo>
                      <a:pt x="78" y="146"/>
                    </a:lnTo>
                    <a:lnTo>
                      <a:pt x="82" y="146"/>
                    </a:lnTo>
                    <a:lnTo>
                      <a:pt x="82" y="146"/>
                    </a:lnTo>
                    <a:lnTo>
                      <a:pt x="86" y="144"/>
                    </a:lnTo>
                    <a:lnTo>
                      <a:pt x="90" y="142"/>
                    </a:lnTo>
                    <a:lnTo>
                      <a:pt x="90" y="142"/>
                    </a:lnTo>
                    <a:lnTo>
                      <a:pt x="98" y="134"/>
                    </a:lnTo>
                    <a:lnTo>
                      <a:pt x="98" y="134"/>
                    </a:lnTo>
                    <a:lnTo>
                      <a:pt x="102" y="132"/>
                    </a:lnTo>
                    <a:lnTo>
                      <a:pt x="102" y="132"/>
                    </a:lnTo>
                    <a:lnTo>
                      <a:pt x="118" y="134"/>
                    </a:lnTo>
                    <a:lnTo>
                      <a:pt x="118" y="134"/>
                    </a:lnTo>
                    <a:lnTo>
                      <a:pt x="122" y="132"/>
                    </a:lnTo>
                    <a:lnTo>
                      <a:pt x="124" y="132"/>
                    </a:lnTo>
                    <a:lnTo>
                      <a:pt x="124" y="128"/>
                    </a:lnTo>
                    <a:lnTo>
                      <a:pt x="124" y="124"/>
                    </a:lnTo>
                    <a:lnTo>
                      <a:pt x="124" y="124"/>
                    </a:lnTo>
                    <a:lnTo>
                      <a:pt x="124" y="114"/>
                    </a:lnTo>
                    <a:lnTo>
                      <a:pt x="124" y="114"/>
                    </a:lnTo>
                    <a:lnTo>
                      <a:pt x="122" y="104"/>
                    </a:lnTo>
                    <a:lnTo>
                      <a:pt x="122"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50" y="92"/>
                    </a:lnTo>
                    <a:lnTo>
                      <a:pt x="152" y="92"/>
                    </a:lnTo>
                    <a:lnTo>
                      <a:pt x="152" y="92"/>
                    </a:lnTo>
                    <a:lnTo>
                      <a:pt x="156" y="92"/>
                    </a:lnTo>
                    <a:lnTo>
                      <a:pt x="156" y="92"/>
                    </a:lnTo>
                    <a:lnTo>
                      <a:pt x="160" y="92"/>
                    </a:lnTo>
                    <a:lnTo>
                      <a:pt x="160" y="92"/>
                    </a:lnTo>
                    <a:lnTo>
                      <a:pt x="168" y="90"/>
                    </a:lnTo>
                    <a:lnTo>
                      <a:pt x="176" y="86"/>
                    </a:lnTo>
                    <a:lnTo>
                      <a:pt x="182" y="80"/>
                    </a:lnTo>
                    <a:lnTo>
                      <a:pt x="186" y="72"/>
                    </a:lnTo>
                    <a:lnTo>
                      <a:pt x="186" y="72"/>
                    </a:lnTo>
                    <a:lnTo>
                      <a:pt x="190" y="60"/>
                    </a:lnTo>
                    <a:lnTo>
                      <a:pt x="188" y="46"/>
                    </a:lnTo>
                    <a:lnTo>
                      <a:pt x="188" y="46"/>
                    </a:lnTo>
                    <a:lnTo>
                      <a:pt x="186" y="38"/>
                    </a:lnTo>
                    <a:lnTo>
                      <a:pt x="184" y="28"/>
                    </a:lnTo>
                    <a:lnTo>
                      <a:pt x="184" y="28"/>
                    </a:lnTo>
                    <a:lnTo>
                      <a:pt x="182" y="24"/>
                    </a:lnTo>
                    <a:lnTo>
                      <a:pt x="178" y="24"/>
                    </a:lnTo>
                    <a:lnTo>
                      <a:pt x="178" y="24"/>
                    </a:lnTo>
                    <a:lnTo>
                      <a:pt x="174" y="24"/>
                    </a:lnTo>
                    <a:lnTo>
                      <a:pt x="172" y="28"/>
                    </a:lnTo>
                    <a:lnTo>
                      <a:pt x="172" y="28"/>
                    </a:lnTo>
                    <a:lnTo>
                      <a:pt x="166" y="32"/>
                    </a:lnTo>
                    <a:lnTo>
                      <a:pt x="166" y="32"/>
                    </a:lnTo>
                    <a:lnTo>
                      <a:pt x="164" y="34"/>
                    </a:lnTo>
                    <a:lnTo>
                      <a:pt x="164" y="34"/>
                    </a:lnTo>
                    <a:lnTo>
                      <a:pt x="162" y="30"/>
                    </a:lnTo>
                    <a:lnTo>
                      <a:pt x="162" y="30"/>
                    </a:lnTo>
                    <a:lnTo>
                      <a:pt x="158" y="26"/>
                    </a:lnTo>
                    <a:lnTo>
                      <a:pt x="154" y="22"/>
                    </a:lnTo>
                    <a:lnTo>
                      <a:pt x="154" y="22"/>
                    </a:lnTo>
                    <a:lnTo>
                      <a:pt x="140" y="10"/>
                    </a:lnTo>
                    <a:lnTo>
                      <a:pt x="140" y="10"/>
                    </a:lnTo>
                    <a:lnTo>
                      <a:pt x="134" y="6"/>
                    </a:lnTo>
                    <a:lnTo>
                      <a:pt x="128"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6" name="Freeform 1162"/>
              <p:cNvSpPr>
                <a:spLocks/>
              </p:cNvSpPr>
              <p:nvPr/>
            </p:nvSpPr>
            <p:spPr bwMode="auto">
              <a:xfrm>
                <a:off x="5056" y="2268"/>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12 w 18"/>
                  <a:gd name="T49" fmla="*/ 6 h 26"/>
                  <a:gd name="T50" fmla="*/ 12 w 18"/>
                  <a:gd name="T51" fmla="*/ 6 h 26"/>
                  <a:gd name="T52" fmla="*/ 14 w 18"/>
                  <a:gd name="T53" fmla="*/ 0 h 26"/>
                  <a:gd name="T54" fmla="*/ 14 w 18"/>
                  <a:gd name="T55" fmla="*/ 0 h 26"/>
                  <a:gd name="T56" fmla="*/ 14 w 18"/>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8" y="26"/>
                    </a:lnTo>
                    <a:lnTo>
                      <a:pt x="8" y="26"/>
                    </a:lnTo>
                    <a:lnTo>
                      <a:pt x="2" y="26"/>
                    </a:lnTo>
                    <a:lnTo>
                      <a:pt x="2" y="26"/>
                    </a:lnTo>
                    <a:lnTo>
                      <a:pt x="0"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7" name="Freeform 1163"/>
              <p:cNvSpPr>
                <a:spLocks/>
              </p:cNvSpPr>
              <p:nvPr/>
            </p:nvSpPr>
            <p:spPr bwMode="auto">
              <a:xfrm>
                <a:off x="4958" y="2264"/>
                <a:ext cx="18" cy="22"/>
              </a:xfrm>
              <a:custGeom>
                <a:avLst/>
                <a:gdLst>
                  <a:gd name="T0" fmla="*/ 2 w 18"/>
                  <a:gd name="T1" fmla="*/ 4 h 22"/>
                  <a:gd name="T2" fmla="*/ 2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8"/>
                    </a:lnTo>
                    <a:lnTo>
                      <a:pt x="2"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8" name="Freeform 1164"/>
              <p:cNvSpPr>
                <a:spLocks/>
              </p:cNvSpPr>
              <p:nvPr/>
            </p:nvSpPr>
            <p:spPr bwMode="auto">
              <a:xfrm>
                <a:off x="4956" y="2214"/>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6 w 10"/>
                  <a:gd name="T49" fmla="*/ 16 h 20"/>
                  <a:gd name="T50" fmla="*/ 6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6" y="16"/>
                    </a:lnTo>
                    <a:lnTo>
                      <a:pt x="6"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9" name="Freeform 1165"/>
              <p:cNvSpPr>
                <a:spLocks/>
              </p:cNvSpPr>
              <p:nvPr/>
            </p:nvSpPr>
            <p:spPr bwMode="auto">
              <a:xfrm>
                <a:off x="4968" y="2168"/>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6 h 138"/>
                  <a:gd name="T100" fmla="*/ 58 w 170"/>
                  <a:gd name="T101" fmla="*/ 92 h 138"/>
                  <a:gd name="T102" fmla="*/ 80 w 170"/>
                  <a:gd name="T103" fmla="*/ 82 h 138"/>
                  <a:gd name="T104" fmla="*/ 80 w 170"/>
                  <a:gd name="T105" fmla="*/ 54 h 138"/>
                  <a:gd name="T106" fmla="*/ 78 w 170"/>
                  <a:gd name="T107" fmla="*/ 58 h 138"/>
                  <a:gd name="T108" fmla="*/ 76 w 170"/>
                  <a:gd name="T109" fmla="*/ 80 h 138"/>
                  <a:gd name="T110" fmla="*/ 56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6" y="96"/>
                    </a:lnTo>
                    <a:lnTo>
                      <a:pt x="116"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0" name="Freeform 1166"/>
              <p:cNvSpPr>
                <a:spLocks/>
              </p:cNvSpPr>
              <p:nvPr/>
            </p:nvSpPr>
            <p:spPr bwMode="auto">
              <a:xfrm>
                <a:off x="4952" y="2164"/>
                <a:ext cx="190" cy="146"/>
              </a:xfrm>
              <a:custGeom>
                <a:avLst/>
                <a:gdLst>
                  <a:gd name="T0" fmla="*/ 106 w 190"/>
                  <a:gd name="T1" fmla="*/ 2 h 146"/>
                  <a:gd name="T2" fmla="*/ 86 w 190"/>
                  <a:gd name="T3" fmla="*/ 12 h 146"/>
                  <a:gd name="T4" fmla="*/ 78 w 190"/>
                  <a:gd name="T5" fmla="*/ 20 h 146"/>
                  <a:gd name="T6" fmla="*/ 72 w 190"/>
                  <a:gd name="T7" fmla="*/ 24 h 146"/>
                  <a:gd name="T8" fmla="*/ 54 w 190"/>
                  <a:gd name="T9" fmla="*/ 32 h 146"/>
                  <a:gd name="T10" fmla="*/ 34 w 190"/>
                  <a:gd name="T11" fmla="*/ 40 h 146"/>
                  <a:gd name="T12" fmla="*/ 18 w 190"/>
                  <a:gd name="T13" fmla="*/ 56 h 146"/>
                  <a:gd name="T14" fmla="*/ 8 w 190"/>
                  <a:gd name="T15" fmla="*/ 64 h 146"/>
                  <a:gd name="T16" fmla="*/ 12 w 190"/>
                  <a:gd name="T17" fmla="*/ 54 h 146"/>
                  <a:gd name="T18" fmla="*/ 14 w 190"/>
                  <a:gd name="T19" fmla="*/ 50 h 146"/>
                  <a:gd name="T20" fmla="*/ 12 w 190"/>
                  <a:gd name="T21" fmla="*/ 44 h 146"/>
                  <a:gd name="T22" fmla="*/ 0 w 190"/>
                  <a:gd name="T23" fmla="*/ 58 h 146"/>
                  <a:gd name="T24" fmla="*/ 4 w 190"/>
                  <a:gd name="T25" fmla="*/ 68 h 146"/>
                  <a:gd name="T26" fmla="*/ 12 w 190"/>
                  <a:gd name="T27" fmla="*/ 72 h 146"/>
                  <a:gd name="T28" fmla="*/ 12 w 190"/>
                  <a:gd name="T29" fmla="*/ 84 h 146"/>
                  <a:gd name="T30" fmla="*/ 10 w 190"/>
                  <a:gd name="T31" fmla="*/ 98 h 146"/>
                  <a:gd name="T32" fmla="*/ 4 w 190"/>
                  <a:gd name="T33" fmla="*/ 108 h 146"/>
                  <a:gd name="T34" fmla="*/ 6 w 190"/>
                  <a:gd name="T35" fmla="*/ 118 h 146"/>
                  <a:gd name="T36" fmla="*/ 16 w 190"/>
                  <a:gd name="T37" fmla="*/ 124 h 146"/>
                  <a:gd name="T38" fmla="*/ 22 w 190"/>
                  <a:gd name="T39" fmla="*/ 132 h 146"/>
                  <a:gd name="T40" fmla="*/ 24 w 190"/>
                  <a:gd name="T41" fmla="*/ 138 h 146"/>
                  <a:gd name="T42" fmla="*/ 34 w 190"/>
                  <a:gd name="T43" fmla="*/ 142 h 146"/>
                  <a:gd name="T44" fmla="*/ 46 w 190"/>
                  <a:gd name="T45" fmla="*/ 144 h 146"/>
                  <a:gd name="T46" fmla="*/ 50 w 190"/>
                  <a:gd name="T47" fmla="*/ 142 h 146"/>
                  <a:gd name="T48" fmla="*/ 52 w 190"/>
                  <a:gd name="T49" fmla="*/ 132 h 146"/>
                  <a:gd name="T50" fmla="*/ 58 w 190"/>
                  <a:gd name="T51" fmla="*/ 120 h 146"/>
                  <a:gd name="T52" fmla="*/ 66 w 190"/>
                  <a:gd name="T53" fmla="*/ 124 h 146"/>
                  <a:gd name="T54" fmla="*/ 76 w 190"/>
                  <a:gd name="T55" fmla="*/ 144 h 146"/>
                  <a:gd name="T56" fmla="*/ 82 w 190"/>
                  <a:gd name="T57" fmla="*/ 146 h 146"/>
                  <a:gd name="T58" fmla="*/ 90 w 190"/>
                  <a:gd name="T59" fmla="*/ 142 h 146"/>
                  <a:gd name="T60" fmla="*/ 98 w 190"/>
                  <a:gd name="T61" fmla="*/ 134 h 146"/>
                  <a:gd name="T62" fmla="*/ 118 w 190"/>
                  <a:gd name="T63" fmla="*/ 134 h 146"/>
                  <a:gd name="T64" fmla="*/ 124 w 190"/>
                  <a:gd name="T65" fmla="*/ 132 h 146"/>
                  <a:gd name="T66" fmla="*/ 124 w 190"/>
                  <a:gd name="T67" fmla="*/ 124 h 146"/>
                  <a:gd name="T68" fmla="*/ 122 w 190"/>
                  <a:gd name="T69" fmla="*/ 104 h 146"/>
                  <a:gd name="T70" fmla="*/ 118 w 190"/>
                  <a:gd name="T71" fmla="*/ 96 h 146"/>
                  <a:gd name="T72" fmla="*/ 126 w 190"/>
                  <a:gd name="T73" fmla="*/ 102 h 146"/>
                  <a:gd name="T74" fmla="*/ 134 w 190"/>
                  <a:gd name="T75" fmla="*/ 104 h 146"/>
                  <a:gd name="T76" fmla="*/ 144 w 190"/>
                  <a:gd name="T77" fmla="*/ 100 h 146"/>
                  <a:gd name="T78" fmla="*/ 150 w 190"/>
                  <a:gd name="T79" fmla="*/ 92 h 146"/>
                  <a:gd name="T80" fmla="*/ 156 w 190"/>
                  <a:gd name="T81" fmla="*/ 92 h 146"/>
                  <a:gd name="T82" fmla="*/ 160 w 190"/>
                  <a:gd name="T83" fmla="*/ 92 h 146"/>
                  <a:gd name="T84" fmla="*/ 182 w 190"/>
                  <a:gd name="T85" fmla="*/ 80 h 146"/>
                  <a:gd name="T86" fmla="*/ 190 w 190"/>
                  <a:gd name="T87" fmla="*/ 60 h 146"/>
                  <a:gd name="T88" fmla="*/ 186 w 190"/>
                  <a:gd name="T89" fmla="*/ 38 h 146"/>
                  <a:gd name="T90" fmla="*/ 182 w 190"/>
                  <a:gd name="T91" fmla="*/ 24 h 146"/>
                  <a:gd name="T92" fmla="*/ 174 w 190"/>
                  <a:gd name="T93" fmla="*/ 24 h 146"/>
                  <a:gd name="T94" fmla="*/ 166 w 190"/>
                  <a:gd name="T95" fmla="*/ 32 h 146"/>
                  <a:gd name="T96" fmla="*/ 164 w 190"/>
                  <a:gd name="T97" fmla="*/ 34 h 146"/>
                  <a:gd name="T98" fmla="*/ 158 w 190"/>
                  <a:gd name="T99" fmla="*/ 26 h 146"/>
                  <a:gd name="T100" fmla="*/ 140 w 190"/>
                  <a:gd name="T101" fmla="*/ 10 h 146"/>
                  <a:gd name="T102" fmla="*/ 128 w 190"/>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0" h="146">
                    <a:moveTo>
                      <a:pt x="114" y="0"/>
                    </a:moveTo>
                    <a:lnTo>
                      <a:pt x="114" y="0"/>
                    </a:lnTo>
                    <a:lnTo>
                      <a:pt x="106" y="2"/>
                    </a:lnTo>
                    <a:lnTo>
                      <a:pt x="98" y="4"/>
                    </a:lnTo>
                    <a:lnTo>
                      <a:pt x="92" y="8"/>
                    </a:lnTo>
                    <a:lnTo>
                      <a:pt x="86" y="12"/>
                    </a:lnTo>
                    <a:lnTo>
                      <a:pt x="86" y="12"/>
                    </a:lnTo>
                    <a:lnTo>
                      <a:pt x="80" y="18"/>
                    </a:lnTo>
                    <a:lnTo>
                      <a:pt x="78" y="20"/>
                    </a:lnTo>
                    <a:lnTo>
                      <a:pt x="74" y="22"/>
                    </a:lnTo>
                    <a:lnTo>
                      <a:pt x="74" y="22"/>
                    </a:lnTo>
                    <a:lnTo>
                      <a:pt x="72" y="24"/>
                    </a:lnTo>
                    <a:lnTo>
                      <a:pt x="72" y="24"/>
                    </a:lnTo>
                    <a:lnTo>
                      <a:pt x="64"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6" y="144"/>
                    </a:lnTo>
                    <a:lnTo>
                      <a:pt x="76" y="144"/>
                    </a:lnTo>
                    <a:lnTo>
                      <a:pt x="78" y="146"/>
                    </a:lnTo>
                    <a:lnTo>
                      <a:pt x="82" y="146"/>
                    </a:lnTo>
                    <a:lnTo>
                      <a:pt x="82" y="146"/>
                    </a:lnTo>
                    <a:lnTo>
                      <a:pt x="86" y="144"/>
                    </a:lnTo>
                    <a:lnTo>
                      <a:pt x="90" y="142"/>
                    </a:lnTo>
                    <a:lnTo>
                      <a:pt x="90" y="142"/>
                    </a:lnTo>
                    <a:lnTo>
                      <a:pt x="98" y="134"/>
                    </a:lnTo>
                    <a:lnTo>
                      <a:pt x="98" y="134"/>
                    </a:lnTo>
                    <a:lnTo>
                      <a:pt x="102" y="132"/>
                    </a:lnTo>
                    <a:lnTo>
                      <a:pt x="102" y="132"/>
                    </a:lnTo>
                    <a:lnTo>
                      <a:pt x="118" y="134"/>
                    </a:lnTo>
                    <a:lnTo>
                      <a:pt x="118" y="134"/>
                    </a:lnTo>
                    <a:lnTo>
                      <a:pt x="122" y="132"/>
                    </a:lnTo>
                    <a:lnTo>
                      <a:pt x="124" y="132"/>
                    </a:lnTo>
                    <a:lnTo>
                      <a:pt x="124" y="128"/>
                    </a:lnTo>
                    <a:lnTo>
                      <a:pt x="124" y="124"/>
                    </a:lnTo>
                    <a:lnTo>
                      <a:pt x="124" y="124"/>
                    </a:lnTo>
                    <a:lnTo>
                      <a:pt x="124" y="114"/>
                    </a:lnTo>
                    <a:lnTo>
                      <a:pt x="124" y="114"/>
                    </a:lnTo>
                    <a:lnTo>
                      <a:pt x="122" y="104"/>
                    </a:lnTo>
                    <a:lnTo>
                      <a:pt x="122"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50" y="92"/>
                    </a:lnTo>
                    <a:lnTo>
                      <a:pt x="152" y="92"/>
                    </a:lnTo>
                    <a:lnTo>
                      <a:pt x="152" y="92"/>
                    </a:lnTo>
                    <a:lnTo>
                      <a:pt x="156" y="92"/>
                    </a:lnTo>
                    <a:lnTo>
                      <a:pt x="156" y="92"/>
                    </a:lnTo>
                    <a:lnTo>
                      <a:pt x="160" y="92"/>
                    </a:lnTo>
                    <a:lnTo>
                      <a:pt x="160" y="92"/>
                    </a:lnTo>
                    <a:lnTo>
                      <a:pt x="168" y="90"/>
                    </a:lnTo>
                    <a:lnTo>
                      <a:pt x="176" y="86"/>
                    </a:lnTo>
                    <a:lnTo>
                      <a:pt x="182" y="80"/>
                    </a:lnTo>
                    <a:lnTo>
                      <a:pt x="186" y="72"/>
                    </a:lnTo>
                    <a:lnTo>
                      <a:pt x="186" y="72"/>
                    </a:lnTo>
                    <a:lnTo>
                      <a:pt x="190" y="60"/>
                    </a:lnTo>
                    <a:lnTo>
                      <a:pt x="188" y="46"/>
                    </a:lnTo>
                    <a:lnTo>
                      <a:pt x="188" y="46"/>
                    </a:lnTo>
                    <a:lnTo>
                      <a:pt x="186" y="38"/>
                    </a:lnTo>
                    <a:lnTo>
                      <a:pt x="184" y="28"/>
                    </a:lnTo>
                    <a:lnTo>
                      <a:pt x="184" y="28"/>
                    </a:lnTo>
                    <a:lnTo>
                      <a:pt x="182" y="24"/>
                    </a:lnTo>
                    <a:lnTo>
                      <a:pt x="178" y="24"/>
                    </a:lnTo>
                    <a:lnTo>
                      <a:pt x="178" y="24"/>
                    </a:lnTo>
                    <a:lnTo>
                      <a:pt x="174" y="24"/>
                    </a:lnTo>
                    <a:lnTo>
                      <a:pt x="172" y="28"/>
                    </a:lnTo>
                    <a:lnTo>
                      <a:pt x="172" y="28"/>
                    </a:lnTo>
                    <a:lnTo>
                      <a:pt x="166" y="32"/>
                    </a:lnTo>
                    <a:lnTo>
                      <a:pt x="166" y="32"/>
                    </a:lnTo>
                    <a:lnTo>
                      <a:pt x="164" y="34"/>
                    </a:lnTo>
                    <a:lnTo>
                      <a:pt x="164" y="34"/>
                    </a:lnTo>
                    <a:lnTo>
                      <a:pt x="162" y="30"/>
                    </a:lnTo>
                    <a:lnTo>
                      <a:pt x="162" y="30"/>
                    </a:lnTo>
                    <a:lnTo>
                      <a:pt x="158" y="26"/>
                    </a:lnTo>
                    <a:lnTo>
                      <a:pt x="154" y="22"/>
                    </a:lnTo>
                    <a:lnTo>
                      <a:pt x="154" y="22"/>
                    </a:lnTo>
                    <a:lnTo>
                      <a:pt x="140" y="10"/>
                    </a:lnTo>
                    <a:lnTo>
                      <a:pt x="140" y="10"/>
                    </a:lnTo>
                    <a:lnTo>
                      <a:pt x="134" y="6"/>
                    </a:lnTo>
                    <a:lnTo>
                      <a:pt x="128"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1" name="Freeform 1167"/>
              <p:cNvSpPr>
                <a:spLocks/>
              </p:cNvSpPr>
              <p:nvPr/>
            </p:nvSpPr>
            <p:spPr bwMode="auto">
              <a:xfrm>
                <a:off x="4958" y="2264"/>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4 w 18"/>
                  <a:gd name="T23" fmla="*/ 22 h 22"/>
                  <a:gd name="T24" fmla="*/ 14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8 h 22"/>
                  <a:gd name="T38" fmla="*/ 18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4" y="22"/>
                    </a:lnTo>
                    <a:lnTo>
                      <a:pt x="14" y="22"/>
                    </a:lnTo>
                    <a:lnTo>
                      <a:pt x="14" y="22"/>
                    </a:lnTo>
                    <a:lnTo>
                      <a:pt x="14" y="22"/>
                    </a:lnTo>
                    <a:lnTo>
                      <a:pt x="14" y="22"/>
                    </a:lnTo>
                    <a:lnTo>
                      <a:pt x="14" y="22"/>
                    </a:lnTo>
                    <a:lnTo>
                      <a:pt x="18" y="20"/>
                    </a:lnTo>
                    <a:lnTo>
                      <a:pt x="18" y="18"/>
                    </a:lnTo>
                    <a:lnTo>
                      <a:pt x="18"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2" name="Freeform 1168"/>
              <p:cNvSpPr>
                <a:spLocks/>
              </p:cNvSpPr>
              <p:nvPr/>
            </p:nvSpPr>
            <p:spPr bwMode="auto">
              <a:xfrm>
                <a:off x="4958" y="2264"/>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4 w 18"/>
                  <a:gd name="T23" fmla="*/ 22 h 22"/>
                  <a:gd name="T24" fmla="*/ 14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8 h 22"/>
                  <a:gd name="T38" fmla="*/ 18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4" y="22"/>
                    </a:lnTo>
                    <a:lnTo>
                      <a:pt x="14" y="22"/>
                    </a:lnTo>
                    <a:lnTo>
                      <a:pt x="14" y="22"/>
                    </a:lnTo>
                    <a:lnTo>
                      <a:pt x="14" y="22"/>
                    </a:lnTo>
                    <a:lnTo>
                      <a:pt x="14" y="22"/>
                    </a:lnTo>
                    <a:lnTo>
                      <a:pt x="14" y="22"/>
                    </a:lnTo>
                    <a:lnTo>
                      <a:pt x="18" y="20"/>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3" name="Freeform 1169"/>
              <p:cNvSpPr>
                <a:spLocks/>
              </p:cNvSpPr>
              <p:nvPr/>
            </p:nvSpPr>
            <p:spPr bwMode="auto">
              <a:xfrm>
                <a:off x="4960" y="2264"/>
                <a:ext cx="16" cy="22"/>
              </a:xfrm>
              <a:custGeom>
                <a:avLst/>
                <a:gdLst>
                  <a:gd name="T0" fmla="*/ 8 w 16"/>
                  <a:gd name="T1" fmla="*/ 0 h 22"/>
                  <a:gd name="T2" fmla="*/ 8 w 16"/>
                  <a:gd name="T3" fmla="*/ 0 h 22"/>
                  <a:gd name="T4" fmla="*/ 0 w 16"/>
                  <a:gd name="T5" fmla="*/ 4 h 22"/>
                  <a:gd name="T6" fmla="*/ 0 w 16"/>
                  <a:gd name="T7" fmla="*/ 4 h 22"/>
                  <a:gd name="T8" fmla="*/ 6 w 16"/>
                  <a:gd name="T9" fmla="*/ 0 h 22"/>
                  <a:gd name="T10" fmla="*/ 6 w 16"/>
                  <a:gd name="T11" fmla="*/ 0 h 22"/>
                  <a:gd name="T12" fmla="*/ 16 w 16"/>
                  <a:gd name="T13" fmla="*/ 18 h 22"/>
                  <a:gd name="T14" fmla="*/ 16 w 16"/>
                  <a:gd name="T15" fmla="*/ 18 h 22"/>
                  <a:gd name="T16" fmla="*/ 16 w 16"/>
                  <a:gd name="T17" fmla="*/ 20 h 22"/>
                  <a:gd name="T18" fmla="*/ 12 w 16"/>
                  <a:gd name="T19" fmla="*/ 22 h 22"/>
                  <a:gd name="T20" fmla="*/ 12 w 16"/>
                  <a:gd name="T21" fmla="*/ 22 h 22"/>
                  <a:gd name="T22" fmla="*/ 12 w 16"/>
                  <a:gd name="T23" fmla="*/ 22 h 22"/>
                  <a:gd name="T24" fmla="*/ 12 w 16"/>
                  <a:gd name="T25" fmla="*/ 22 h 22"/>
                  <a:gd name="T26" fmla="*/ 12 w 16"/>
                  <a:gd name="T27" fmla="*/ 22 h 22"/>
                  <a:gd name="T28" fmla="*/ 12 w 16"/>
                  <a:gd name="T29" fmla="*/ 22 h 22"/>
                  <a:gd name="T30" fmla="*/ 12 w 16"/>
                  <a:gd name="T31" fmla="*/ 22 h 22"/>
                  <a:gd name="T32" fmla="*/ 12 w 16"/>
                  <a:gd name="T33" fmla="*/ 22 h 22"/>
                  <a:gd name="T34" fmla="*/ 14 w 16"/>
                  <a:gd name="T35" fmla="*/ 22 h 22"/>
                  <a:gd name="T36" fmla="*/ 14 w 16"/>
                  <a:gd name="T37" fmla="*/ 22 h 22"/>
                  <a:gd name="T38" fmla="*/ 16 w 16"/>
                  <a:gd name="T39" fmla="*/ 20 h 22"/>
                  <a:gd name="T40" fmla="*/ 16 w 16"/>
                  <a:gd name="T41" fmla="*/ 16 h 22"/>
                  <a:gd name="T42" fmla="*/ 16 w 16"/>
                  <a:gd name="T43" fmla="*/ 16 h 22"/>
                  <a:gd name="T44" fmla="*/ 8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8" y="0"/>
                    </a:moveTo>
                    <a:lnTo>
                      <a:pt x="8" y="0"/>
                    </a:lnTo>
                    <a:lnTo>
                      <a:pt x="0" y="4"/>
                    </a:lnTo>
                    <a:lnTo>
                      <a:pt x="0" y="4"/>
                    </a:lnTo>
                    <a:lnTo>
                      <a:pt x="6" y="0"/>
                    </a:lnTo>
                    <a:lnTo>
                      <a:pt x="6" y="0"/>
                    </a:lnTo>
                    <a:lnTo>
                      <a:pt x="16" y="18"/>
                    </a:lnTo>
                    <a:lnTo>
                      <a:pt x="16" y="18"/>
                    </a:lnTo>
                    <a:lnTo>
                      <a:pt x="16" y="20"/>
                    </a:lnTo>
                    <a:lnTo>
                      <a:pt x="12" y="22"/>
                    </a:lnTo>
                    <a:lnTo>
                      <a:pt x="12" y="22"/>
                    </a:lnTo>
                    <a:lnTo>
                      <a:pt x="12" y="22"/>
                    </a:lnTo>
                    <a:lnTo>
                      <a:pt x="12" y="22"/>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4" name="Freeform 1170"/>
              <p:cNvSpPr>
                <a:spLocks/>
              </p:cNvSpPr>
              <p:nvPr/>
            </p:nvSpPr>
            <p:spPr bwMode="auto">
              <a:xfrm>
                <a:off x="4960" y="2264"/>
                <a:ext cx="16" cy="22"/>
              </a:xfrm>
              <a:custGeom>
                <a:avLst/>
                <a:gdLst>
                  <a:gd name="T0" fmla="*/ 8 w 16"/>
                  <a:gd name="T1" fmla="*/ 0 h 22"/>
                  <a:gd name="T2" fmla="*/ 8 w 16"/>
                  <a:gd name="T3" fmla="*/ 0 h 22"/>
                  <a:gd name="T4" fmla="*/ 0 w 16"/>
                  <a:gd name="T5" fmla="*/ 4 h 22"/>
                  <a:gd name="T6" fmla="*/ 0 w 16"/>
                  <a:gd name="T7" fmla="*/ 4 h 22"/>
                  <a:gd name="T8" fmla="*/ 6 w 16"/>
                  <a:gd name="T9" fmla="*/ 0 h 22"/>
                  <a:gd name="T10" fmla="*/ 6 w 16"/>
                  <a:gd name="T11" fmla="*/ 0 h 22"/>
                  <a:gd name="T12" fmla="*/ 16 w 16"/>
                  <a:gd name="T13" fmla="*/ 18 h 22"/>
                  <a:gd name="T14" fmla="*/ 16 w 16"/>
                  <a:gd name="T15" fmla="*/ 18 h 22"/>
                  <a:gd name="T16" fmla="*/ 16 w 16"/>
                  <a:gd name="T17" fmla="*/ 20 h 22"/>
                  <a:gd name="T18" fmla="*/ 12 w 16"/>
                  <a:gd name="T19" fmla="*/ 22 h 22"/>
                  <a:gd name="T20" fmla="*/ 12 w 16"/>
                  <a:gd name="T21" fmla="*/ 22 h 22"/>
                  <a:gd name="T22" fmla="*/ 12 w 16"/>
                  <a:gd name="T23" fmla="*/ 22 h 22"/>
                  <a:gd name="T24" fmla="*/ 12 w 16"/>
                  <a:gd name="T25" fmla="*/ 22 h 22"/>
                  <a:gd name="T26" fmla="*/ 12 w 16"/>
                  <a:gd name="T27" fmla="*/ 22 h 22"/>
                  <a:gd name="T28" fmla="*/ 12 w 16"/>
                  <a:gd name="T29" fmla="*/ 22 h 22"/>
                  <a:gd name="T30" fmla="*/ 12 w 16"/>
                  <a:gd name="T31" fmla="*/ 22 h 22"/>
                  <a:gd name="T32" fmla="*/ 12 w 16"/>
                  <a:gd name="T33" fmla="*/ 22 h 22"/>
                  <a:gd name="T34" fmla="*/ 14 w 16"/>
                  <a:gd name="T35" fmla="*/ 22 h 22"/>
                  <a:gd name="T36" fmla="*/ 14 w 16"/>
                  <a:gd name="T37" fmla="*/ 22 h 22"/>
                  <a:gd name="T38" fmla="*/ 16 w 16"/>
                  <a:gd name="T39" fmla="*/ 20 h 22"/>
                  <a:gd name="T40" fmla="*/ 16 w 16"/>
                  <a:gd name="T41" fmla="*/ 16 h 22"/>
                  <a:gd name="T42" fmla="*/ 16 w 16"/>
                  <a:gd name="T43" fmla="*/ 16 h 22"/>
                  <a:gd name="T44" fmla="*/ 8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8" y="0"/>
                    </a:moveTo>
                    <a:lnTo>
                      <a:pt x="8" y="0"/>
                    </a:lnTo>
                    <a:lnTo>
                      <a:pt x="0" y="4"/>
                    </a:lnTo>
                    <a:lnTo>
                      <a:pt x="0" y="4"/>
                    </a:lnTo>
                    <a:lnTo>
                      <a:pt x="6" y="0"/>
                    </a:lnTo>
                    <a:lnTo>
                      <a:pt x="6" y="0"/>
                    </a:lnTo>
                    <a:lnTo>
                      <a:pt x="16" y="18"/>
                    </a:lnTo>
                    <a:lnTo>
                      <a:pt x="16" y="18"/>
                    </a:lnTo>
                    <a:lnTo>
                      <a:pt x="16" y="20"/>
                    </a:lnTo>
                    <a:lnTo>
                      <a:pt x="12" y="22"/>
                    </a:lnTo>
                    <a:lnTo>
                      <a:pt x="12" y="22"/>
                    </a:lnTo>
                    <a:lnTo>
                      <a:pt x="12" y="22"/>
                    </a:lnTo>
                    <a:lnTo>
                      <a:pt x="12" y="22"/>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5" name="Freeform 1171"/>
              <p:cNvSpPr>
                <a:spLocks/>
              </p:cNvSpPr>
              <p:nvPr/>
            </p:nvSpPr>
            <p:spPr bwMode="auto">
              <a:xfrm>
                <a:off x="5056" y="2268"/>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0 w 18"/>
                  <a:gd name="T25" fmla="*/ 26 h 26"/>
                  <a:gd name="T26" fmla="*/ 10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6" name="Freeform 1172"/>
              <p:cNvSpPr>
                <a:spLocks/>
              </p:cNvSpPr>
              <p:nvPr/>
            </p:nvSpPr>
            <p:spPr bwMode="auto">
              <a:xfrm>
                <a:off x="5056" y="2268"/>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0 w 18"/>
                  <a:gd name="T25" fmla="*/ 26 h 26"/>
                  <a:gd name="T26" fmla="*/ 10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7" name="Freeform 1173"/>
              <p:cNvSpPr>
                <a:spLocks noEditPoints="1"/>
              </p:cNvSpPr>
              <p:nvPr/>
            </p:nvSpPr>
            <p:spPr bwMode="auto">
              <a:xfrm>
                <a:off x="5056" y="2268"/>
                <a:ext cx="14" cy="26"/>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2 w 14"/>
                  <a:gd name="T27" fmla="*/ 26 h 26"/>
                  <a:gd name="T28" fmla="*/ 2 w 14"/>
                  <a:gd name="T29" fmla="*/ 26 h 26"/>
                  <a:gd name="T30" fmla="*/ 0 w 14"/>
                  <a:gd name="T31" fmla="*/ 26 h 26"/>
                  <a:gd name="T32" fmla="*/ 14 w 14"/>
                  <a:gd name="T33" fmla="*/ 0 h 26"/>
                  <a:gd name="T34" fmla="*/ 14 w 14"/>
                  <a:gd name="T35" fmla="*/ 0 h 26"/>
                  <a:gd name="T36" fmla="*/ 12 w 14"/>
                  <a:gd name="T37" fmla="*/ 6 h 26"/>
                  <a:gd name="T38" fmla="*/ 12 w 14"/>
                  <a:gd name="T39" fmla="*/ 6 h 26"/>
                  <a:gd name="T40" fmla="*/ 14 w 14"/>
                  <a:gd name="T41" fmla="*/ 0 h 26"/>
                  <a:gd name="T42" fmla="*/ 14 w 14"/>
                  <a:gd name="T43" fmla="*/ 0 h 26"/>
                  <a:gd name="T44" fmla="*/ 14 w 14"/>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8" name="Freeform 1174"/>
              <p:cNvSpPr>
                <a:spLocks/>
              </p:cNvSpPr>
              <p:nvPr/>
            </p:nvSpPr>
            <p:spPr bwMode="auto">
              <a:xfrm>
                <a:off x="5064" y="2294"/>
                <a:ext cx="2"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9" name="Freeform 1175"/>
              <p:cNvSpPr>
                <a:spLocks/>
              </p:cNvSpPr>
              <p:nvPr/>
            </p:nvSpPr>
            <p:spPr bwMode="auto">
              <a:xfrm>
                <a:off x="5056" y="229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0" name="Freeform 1176"/>
              <p:cNvSpPr>
                <a:spLocks/>
              </p:cNvSpPr>
              <p:nvPr/>
            </p:nvSpPr>
            <p:spPr bwMode="auto">
              <a:xfrm>
                <a:off x="5068" y="2268"/>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1" name="Freeform 1177"/>
              <p:cNvSpPr>
                <a:spLocks/>
              </p:cNvSpPr>
              <p:nvPr/>
            </p:nvSpPr>
            <p:spPr bwMode="auto">
              <a:xfrm>
                <a:off x="4956" y="2214"/>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6" y="16"/>
                    </a:lnTo>
                    <a:lnTo>
                      <a:pt x="6"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2" name="Freeform 1178"/>
              <p:cNvSpPr>
                <a:spLocks/>
              </p:cNvSpPr>
              <p:nvPr/>
            </p:nvSpPr>
            <p:spPr bwMode="auto">
              <a:xfrm>
                <a:off x="4956" y="2214"/>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6" y="16"/>
                    </a:lnTo>
                    <a:lnTo>
                      <a:pt x="6"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3" name="Freeform 1179"/>
              <p:cNvSpPr>
                <a:spLocks noEditPoints="1"/>
              </p:cNvSpPr>
              <p:nvPr/>
            </p:nvSpPr>
            <p:spPr bwMode="auto">
              <a:xfrm>
                <a:off x="4958" y="2214"/>
                <a:ext cx="8" cy="2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4" name="Freeform 1180"/>
              <p:cNvSpPr>
                <a:spLocks/>
              </p:cNvSpPr>
              <p:nvPr/>
            </p:nvSpPr>
            <p:spPr bwMode="auto">
              <a:xfrm>
                <a:off x="4960" y="2232"/>
                <a:ext cx="4" cy="2"/>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5" name="Freeform 1181"/>
              <p:cNvSpPr>
                <a:spLocks/>
              </p:cNvSpPr>
              <p:nvPr/>
            </p:nvSpPr>
            <p:spPr bwMode="auto">
              <a:xfrm>
                <a:off x="4960" y="223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6" name="Freeform 1182"/>
              <p:cNvSpPr>
                <a:spLocks/>
              </p:cNvSpPr>
              <p:nvPr/>
            </p:nvSpPr>
            <p:spPr bwMode="auto">
              <a:xfrm>
                <a:off x="4964" y="222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7" name="Freeform 1183"/>
              <p:cNvSpPr>
                <a:spLocks/>
              </p:cNvSpPr>
              <p:nvPr/>
            </p:nvSpPr>
            <p:spPr bwMode="auto">
              <a:xfrm>
                <a:off x="4958" y="2216"/>
                <a:ext cx="4" cy="12"/>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8" name="Freeform 1184"/>
              <p:cNvSpPr>
                <a:spLocks/>
              </p:cNvSpPr>
              <p:nvPr/>
            </p:nvSpPr>
            <p:spPr bwMode="auto">
              <a:xfrm>
                <a:off x="4960" y="22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9" name="Freeform 1185"/>
              <p:cNvSpPr>
                <a:spLocks noEditPoints="1"/>
              </p:cNvSpPr>
              <p:nvPr/>
            </p:nvSpPr>
            <p:spPr bwMode="auto">
              <a:xfrm>
                <a:off x="5070" y="2202"/>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6 w 18"/>
                  <a:gd name="T39" fmla="*/ 8 h 14"/>
                  <a:gd name="T40" fmla="*/ 6 w 18"/>
                  <a:gd name="T41" fmla="*/ 8 h 14"/>
                  <a:gd name="T42" fmla="*/ 8 w 18"/>
                  <a:gd name="T43" fmla="*/ 8 h 14"/>
                  <a:gd name="T44" fmla="*/ 12 w 18"/>
                  <a:gd name="T45" fmla="*/ 0 h 14"/>
                  <a:gd name="T46" fmla="*/ 12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2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6" y="8"/>
                    </a:lnTo>
                    <a:lnTo>
                      <a:pt x="6" y="8"/>
                    </a:lnTo>
                    <a:lnTo>
                      <a:pt x="8" y="8"/>
                    </a:lnTo>
                    <a:close/>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0" name="Freeform 1186"/>
              <p:cNvSpPr>
                <a:spLocks/>
              </p:cNvSpPr>
              <p:nvPr/>
            </p:nvSpPr>
            <p:spPr bwMode="auto">
              <a:xfrm>
                <a:off x="5074" y="2210"/>
                <a:ext cx="6" cy="4"/>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1" name="Freeform 1187"/>
              <p:cNvSpPr>
                <a:spLocks/>
              </p:cNvSpPr>
              <p:nvPr/>
            </p:nvSpPr>
            <p:spPr bwMode="auto">
              <a:xfrm>
                <a:off x="5070" y="2202"/>
                <a:ext cx="18" cy="14"/>
              </a:xfrm>
              <a:custGeom>
                <a:avLst/>
                <a:gdLst>
                  <a:gd name="T0" fmla="*/ 12 w 18"/>
                  <a:gd name="T1" fmla="*/ 0 h 14"/>
                  <a:gd name="T2" fmla="*/ 12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2" name="Freeform 1188"/>
              <p:cNvSpPr>
                <a:spLocks/>
              </p:cNvSpPr>
              <p:nvPr/>
            </p:nvSpPr>
            <p:spPr bwMode="auto">
              <a:xfrm>
                <a:off x="5024" y="21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3" name="Freeform 1189"/>
              <p:cNvSpPr>
                <a:spLocks/>
              </p:cNvSpPr>
              <p:nvPr/>
            </p:nvSpPr>
            <p:spPr bwMode="auto">
              <a:xfrm>
                <a:off x="5024" y="21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4" name="Freeform 1190"/>
              <p:cNvSpPr>
                <a:spLocks/>
              </p:cNvSpPr>
              <p:nvPr/>
            </p:nvSpPr>
            <p:spPr bwMode="auto">
              <a:xfrm>
                <a:off x="5120"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5" name="Freeform 1191"/>
              <p:cNvSpPr>
                <a:spLocks/>
              </p:cNvSpPr>
              <p:nvPr/>
            </p:nvSpPr>
            <p:spPr bwMode="auto">
              <a:xfrm>
                <a:off x="5120"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6" name="Freeform 1192"/>
              <p:cNvSpPr>
                <a:spLocks/>
              </p:cNvSpPr>
              <p:nvPr/>
            </p:nvSpPr>
            <p:spPr bwMode="auto">
              <a:xfrm>
                <a:off x="5064"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7" name="Freeform 1193"/>
              <p:cNvSpPr>
                <a:spLocks/>
              </p:cNvSpPr>
              <p:nvPr/>
            </p:nvSpPr>
            <p:spPr bwMode="auto">
              <a:xfrm>
                <a:off x="5064"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8" name="Freeform 1194"/>
              <p:cNvSpPr>
                <a:spLocks/>
              </p:cNvSpPr>
              <p:nvPr/>
            </p:nvSpPr>
            <p:spPr bwMode="auto">
              <a:xfrm>
                <a:off x="5078" y="2242"/>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9" name="Freeform 1195"/>
              <p:cNvSpPr>
                <a:spLocks/>
              </p:cNvSpPr>
              <p:nvPr/>
            </p:nvSpPr>
            <p:spPr bwMode="auto">
              <a:xfrm>
                <a:off x="5078" y="2242"/>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0" name="Freeform 1196"/>
              <p:cNvSpPr>
                <a:spLocks/>
              </p:cNvSpPr>
              <p:nvPr/>
            </p:nvSpPr>
            <p:spPr bwMode="auto">
              <a:xfrm>
                <a:off x="5074" y="2210"/>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2"/>
                    </a:lnTo>
                    <a:lnTo>
                      <a:pt x="0" y="2"/>
                    </a:lnTo>
                    <a:lnTo>
                      <a:pt x="2" y="4"/>
                    </a:lnTo>
                    <a:lnTo>
                      <a:pt x="2" y="4"/>
                    </a:lnTo>
                    <a:lnTo>
                      <a:pt x="6" y="2"/>
                    </a:lnTo>
                    <a:lnTo>
                      <a:pt x="6" y="2"/>
                    </a:lnTo>
                    <a:lnTo>
                      <a:pt x="6" y="0"/>
                    </a:lnTo>
                    <a:lnTo>
                      <a:pt x="6" y="0"/>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1" name="Freeform 1197"/>
              <p:cNvSpPr>
                <a:spLocks/>
              </p:cNvSpPr>
              <p:nvPr/>
            </p:nvSpPr>
            <p:spPr bwMode="auto">
              <a:xfrm>
                <a:off x="5074" y="2210"/>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2"/>
                    </a:lnTo>
                    <a:lnTo>
                      <a:pt x="0" y="2"/>
                    </a:lnTo>
                    <a:lnTo>
                      <a:pt x="2" y="4"/>
                    </a:lnTo>
                    <a:lnTo>
                      <a:pt x="2" y="4"/>
                    </a:lnTo>
                    <a:lnTo>
                      <a:pt x="6" y="2"/>
                    </a:lnTo>
                    <a:lnTo>
                      <a:pt x="6" y="2"/>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2" name="Freeform 1198"/>
              <p:cNvSpPr>
                <a:spLocks noEditPoints="1"/>
              </p:cNvSpPr>
              <p:nvPr/>
            </p:nvSpPr>
            <p:spPr bwMode="auto">
              <a:xfrm>
                <a:off x="5076" y="2210"/>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3" name="Freeform 1199"/>
              <p:cNvSpPr>
                <a:spLocks/>
              </p:cNvSpPr>
              <p:nvPr/>
            </p:nvSpPr>
            <p:spPr bwMode="auto">
              <a:xfrm>
                <a:off x="5076" y="2212"/>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4" name="Freeform 1200"/>
              <p:cNvSpPr>
                <a:spLocks/>
              </p:cNvSpPr>
              <p:nvPr/>
            </p:nvSpPr>
            <p:spPr bwMode="auto">
              <a:xfrm>
                <a:off x="5078" y="2210"/>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5" name="Freeform 1201"/>
              <p:cNvSpPr>
                <a:spLocks/>
              </p:cNvSpPr>
              <p:nvPr/>
            </p:nvSpPr>
            <p:spPr bwMode="auto">
              <a:xfrm>
                <a:off x="631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6" name="Freeform 1202"/>
              <p:cNvSpPr>
                <a:spLocks/>
              </p:cNvSpPr>
              <p:nvPr/>
            </p:nvSpPr>
            <p:spPr bwMode="auto">
              <a:xfrm>
                <a:off x="6402" y="21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7" name="Freeform 1203"/>
              <p:cNvSpPr>
                <a:spLocks/>
              </p:cNvSpPr>
              <p:nvPr/>
            </p:nvSpPr>
            <p:spPr bwMode="auto">
              <a:xfrm>
                <a:off x="6496"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8" name="Freeform 1204"/>
              <p:cNvSpPr>
                <a:spLocks/>
              </p:cNvSpPr>
              <p:nvPr/>
            </p:nvSpPr>
            <p:spPr bwMode="auto">
              <a:xfrm>
                <a:off x="690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9" name="Freeform 1205"/>
              <p:cNvSpPr>
                <a:spLocks/>
              </p:cNvSpPr>
              <p:nvPr/>
            </p:nvSpPr>
            <p:spPr bwMode="auto">
              <a:xfrm>
                <a:off x="699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0" name="Freeform 1206"/>
              <p:cNvSpPr>
                <a:spLocks/>
              </p:cNvSpPr>
              <p:nvPr/>
            </p:nvSpPr>
            <p:spPr bwMode="auto">
              <a:xfrm>
                <a:off x="7090"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1" name="Freeform 1207"/>
              <p:cNvSpPr>
                <a:spLocks/>
              </p:cNvSpPr>
              <p:nvPr/>
            </p:nvSpPr>
            <p:spPr bwMode="auto">
              <a:xfrm>
                <a:off x="718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2" name="Freeform 1208"/>
              <p:cNvSpPr>
                <a:spLocks/>
              </p:cNvSpPr>
              <p:nvPr/>
            </p:nvSpPr>
            <p:spPr bwMode="auto">
              <a:xfrm>
                <a:off x="741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3" name="Freeform 1209"/>
              <p:cNvSpPr>
                <a:spLocks/>
              </p:cNvSpPr>
              <p:nvPr/>
            </p:nvSpPr>
            <p:spPr bwMode="auto">
              <a:xfrm>
                <a:off x="751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9" name="Group 1411"/>
            <p:cNvGrpSpPr>
              <a:grpSpLocks/>
            </p:cNvGrpSpPr>
            <p:nvPr/>
          </p:nvGrpSpPr>
          <p:grpSpPr bwMode="auto">
            <a:xfrm>
              <a:off x="6591277" y="2184400"/>
              <a:ext cx="5400656" cy="873125"/>
              <a:chOff x="4152" y="1576"/>
              <a:chExt cx="3402" cy="550"/>
            </a:xfrm>
          </p:grpSpPr>
          <p:sp>
            <p:nvSpPr>
              <p:cNvPr id="1594" name="Freeform 1211"/>
              <p:cNvSpPr>
                <a:spLocks/>
              </p:cNvSpPr>
              <p:nvPr/>
            </p:nvSpPr>
            <p:spPr bwMode="auto">
              <a:xfrm>
                <a:off x="7272" y="1980"/>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5" name="Freeform 1212"/>
              <p:cNvSpPr>
                <a:spLocks/>
              </p:cNvSpPr>
              <p:nvPr/>
            </p:nvSpPr>
            <p:spPr bwMode="auto">
              <a:xfrm>
                <a:off x="7272" y="1980"/>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6" name="Freeform 1213"/>
              <p:cNvSpPr>
                <a:spLocks/>
              </p:cNvSpPr>
              <p:nvPr/>
            </p:nvSpPr>
            <p:spPr bwMode="auto">
              <a:xfrm>
                <a:off x="7332" y="1980"/>
                <a:ext cx="46" cy="146"/>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7" name="Freeform 1214"/>
              <p:cNvSpPr>
                <a:spLocks/>
              </p:cNvSpPr>
              <p:nvPr/>
            </p:nvSpPr>
            <p:spPr bwMode="auto">
              <a:xfrm>
                <a:off x="7332" y="1980"/>
                <a:ext cx="46" cy="146"/>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8" name="Freeform 1215"/>
              <p:cNvSpPr>
                <a:spLocks noEditPoints="1"/>
              </p:cNvSpPr>
              <p:nvPr/>
            </p:nvSpPr>
            <p:spPr bwMode="auto">
              <a:xfrm>
                <a:off x="6130" y="19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9" name="Freeform 1216"/>
              <p:cNvSpPr>
                <a:spLocks noEditPoints="1"/>
              </p:cNvSpPr>
              <p:nvPr/>
            </p:nvSpPr>
            <p:spPr bwMode="auto">
              <a:xfrm>
                <a:off x="6268"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0" name="Freeform 1217"/>
              <p:cNvSpPr>
                <a:spLocks noEditPoints="1"/>
              </p:cNvSpPr>
              <p:nvPr/>
            </p:nvSpPr>
            <p:spPr bwMode="auto">
              <a:xfrm>
                <a:off x="6680" y="1976"/>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1" name="Freeform 1218"/>
              <p:cNvSpPr>
                <a:spLocks/>
              </p:cNvSpPr>
              <p:nvPr/>
            </p:nvSpPr>
            <p:spPr bwMode="auto">
              <a:xfrm>
                <a:off x="681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2" name="Freeform 1219"/>
              <p:cNvSpPr>
                <a:spLocks/>
              </p:cNvSpPr>
              <p:nvPr/>
            </p:nvSpPr>
            <p:spPr bwMode="auto">
              <a:xfrm>
                <a:off x="640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3" name="Freeform 1220"/>
              <p:cNvSpPr>
                <a:spLocks/>
              </p:cNvSpPr>
              <p:nvPr/>
            </p:nvSpPr>
            <p:spPr bwMode="auto">
              <a:xfrm>
                <a:off x="649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4" name="Freeform 1221"/>
              <p:cNvSpPr>
                <a:spLocks/>
              </p:cNvSpPr>
              <p:nvPr/>
            </p:nvSpPr>
            <p:spPr bwMode="auto">
              <a:xfrm>
                <a:off x="658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5" name="Freeform 1222"/>
              <p:cNvSpPr>
                <a:spLocks/>
              </p:cNvSpPr>
              <p:nvPr/>
            </p:nvSpPr>
            <p:spPr bwMode="auto">
              <a:xfrm>
                <a:off x="415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6" name="Freeform 1223"/>
              <p:cNvSpPr>
                <a:spLocks/>
              </p:cNvSpPr>
              <p:nvPr/>
            </p:nvSpPr>
            <p:spPr bwMode="auto">
              <a:xfrm>
                <a:off x="424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7" name="Freeform 1224"/>
              <p:cNvSpPr>
                <a:spLocks/>
              </p:cNvSpPr>
              <p:nvPr/>
            </p:nvSpPr>
            <p:spPr bwMode="auto">
              <a:xfrm>
                <a:off x="433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8" name="Freeform 1225"/>
              <p:cNvSpPr>
                <a:spLocks/>
              </p:cNvSpPr>
              <p:nvPr/>
            </p:nvSpPr>
            <p:spPr bwMode="auto">
              <a:xfrm>
                <a:off x="4654" y="1980"/>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9" name="Freeform 1226"/>
              <p:cNvSpPr>
                <a:spLocks/>
              </p:cNvSpPr>
              <p:nvPr/>
            </p:nvSpPr>
            <p:spPr bwMode="auto">
              <a:xfrm>
                <a:off x="4654" y="1980"/>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0" name="Freeform 1227"/>
              <p:cNvSpPr>
                <a:spLocks/>
              </p:cNvSpPr>
              <p:nvPr/>
            </p:nvSpPr>
            <p:spPr bwMode="auto">
              <a:xfrm>
                <a:off x="4714" y="1980"/>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1" name="Freeform 1228"/>
              <p:cNvSpPr>
                <a:spLocks/>
              </p:cNvSpPr>
              <p:nvPr/>
            </p:nvSpPr>
            <p:spPr bwMode="auto">
              <a:xfrm>
                <a:off x="4714" y="1980"/>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2" name="Freeform 1229"/>
              <p:cNvSpPr>
                <a:spLocks/>
              </p:cNvSpPr>
              <p:nvPr/>
            </p:nvSpPr>
            <p:spPr bwMode="auto">
              <a:xfrm>
                <a:off x="48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3" name="Freeform 1230"/>
              <p:cNvSpPr>
                <a:spLocks/>
              </p:cNvSpPr>
              <p:nvPr/>
            </p:nvSpPr>
            <p:spPr bwMode="auto">
              <a:xfrm>
                <a:off x="4892"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4" name="Freeform 1231"/>
              <p:cNvSpPr>
                <a:spLocks/>
              </p:cNvSpPr>
              <p:nvPr/>
            </p:nvSpPr>
            <p:spPr bwMode="auto">
              <a:xfrm>
                <a:off x="498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5" name="Freeform 1232"/>
              <p:cNvSpPr>
                <a:spLocks noEditPoints="1"/>
              </p:cNvSpPr>
              <p:nvPr/>
            </p:nvSpPr>
            <p:spPr bwMode="auto">
              <a:xfrm>
                <a:off x="4426" y="1978"/>
                <a:ext cx="188" cy="146"/>
              </a:xfrm>
              <a:custGeom>
                <a:avLst/>
                <a:gdLst>
                  <a:gd name="T0" fmla="*/ 118 w 188"/>
                  <a:gd name="T1" fmla="*/ 104 h 146"/>
                  <a:gd name="T2" fmla="*/ 118 w 188"/>
                  <a:gd name="T3" fmla="*/ 130 h 146"/>
                  <a:gd name="T4" fmla="*/ 104 w 188"/>
                  <a:gd name="T5" fmla="*/ 130 h 146"/>
                  <a:gd name="T6" fmla="*/ 24 w 188"/>
                  <a:gd name="T7" fmla="*/ 116 h 146"/>
                  <a:gd name="T8" fmla="*/ 20 w 188"/>
                  <a:gd name="T9" fmla="*/ 122 h 146"/>
                  <a:gd name="T10" fmla="*/ 10 w 188"/>
                  <a:gd name="T11" fmla="*/ 50 h 146"/>
                  <a:gd name="T12" fmla="*/ 10 w 188"/>
                  <a:gd name="T13" fmla="*/ 50 h 146"/>
                  <a:gd name="T14" fmla="*/ 6 w 188"/>
                  <a:gd name="T15" fmla="*/ 64 h 146"/>
                  <a:gd name="T16" fmla="*/ 10 w 188"/>
                  <a:gd name="T17" fmla="*/ 66 h 146"/>
                  <a:gd name="T18" fmla="*/ 14 w 188"/>
                  <a:gd name="T19" fmla="*/ 64 h 146"/>
                  <a:gd name="T20" fmla="*/ 6 w 188"/>
                  <a:gd name="T21" fmla="*/ 68 h 146"/>
                  <a:gd name="T22" fmla="*/ 8 w 188"/>
                  <a:gd name="T23" fmla="*/ 50 h 146"/>
                  <a:gd name="T24" fmla="*/ 96 w 188"/>
                  <a:gd name="T25" fmla="*/ 8 h 146"/>
                  <a:gd name="T26" fmla="*/ 146 w 188"/>
                  <a:gd name="T27" fmla="*/ 22 h 146"/>
                  <a:gd name="T28" fmla="*/ 150 w 188"/>
                  <a:gd name="T29" fmla="*/ 40 h 146"/>
                  <a:gd name="T30" fmla="*/ 146 w 188"/>
                  <a:gd name="T31" fmla="*/ 48 h 146"/>
                  <a:gd name="T32" fmla="*/ 150 w 188"/>
                  <a:gd name="T33" fmla="*/ 56 h 146"/>
                  <a:gd name="T34" fmla="*/ 160 w 188"/>
                  <a:gd name="T35" fmla="*/ 50 h 146"/>
                  <a:gd name="T36" fmla="*/ 164 w 188"/>
                  <a:gd name="T37" fmla="*/ 36 h 146"/>
                  <a:gd name="T38" fmla="*/ 184 w 188"/>
                  <a:gd name="T39" fmla="*/ 40 h 146"/>
                  <a:gd name="T40" fmla="*/ 166 w 188"/>
                  <a:gd name="T41" fmla="*/ 88 h 146"/>
                  <a:gd name="T42" fmla="*/ 130 w 188"/>
                  <a:gd name="T43" fmla="*/ 96 h 146"/>
                  <a:gd name="T44" fmla="*/ 138 w 188"/>
                  <a:gd name="T45" fmla="*/ 98 h 146"/>
                  <a:gd name="T46" fmla="*/ 140 w 188"/>
                  <a:gd name="T47" fmla="*/ 100 h 146"/>
                  <a:gd name="T48" fmla="*/ 116 w 188"/>
                  <a:gd name="T49" fmla="*/ 92 h 146"/>
                  <a:gd name="T50" fmla="*/ 106 w 188"/>
                  <a:gd name="T51" fmla="*/ 120 h 146"/>
                  <a:gd name="T52" fmla="*/ 80 w 188"/>
                  <a:gd name="T53" fmla="*/ 142 h 146"/>
                  <a:gd name="T54" fmla="*/ 70 w 188"/>
                  <a:gd name="T55" fmla="*/ 122 h 146"/>
                  <a:gd name="T56" fmla="*/ 70 w 188"/>
                  <a:gd name="T57" fmla="*/ 116 h 146"/>
                  <a:gd name="T58" fmla="*/ 54 w 188"/>
                  <a:gd name="T59" fmla="*/ 110 h 146"/>
                  <a:gd name="T60" fmla="*/ 50 w 188"/>
                  <a:gd name="T61" fmla="*/ 130 h 146"/>
                  <a:gd name="T62" fmla="*/ 26 w 188"/>
                  <a:gd name="T63" fmla="*/ 136 h 146"/>
                  <a:gd name="T64" fmla="*/ 26 w 188"/>
                  <a:gd name="T65" fmla="*/ 114 h 146"/>
                  <a:gd name="T66" fmla="*/ 20 w 188"/>
                  <a:gd name="T67" fmla="*/ 60 h 146"/>
                  <a:gd name="T68" fmla="*/ 58 w 188"/>
                  <a:gd name="T69" fmla="*/ 34 h 146"/>
                  <a:gd name="T70" fmla="*/ 46 w 188"/>
                  <a:gd name="T71" fmla="*/ 74 h 146"/>
                  <a:gd name="T72" fmla="*/ 56 w 188"/>
                  <a:gd name="T73" fmla="*/ 96 h 146"/>
                  <a:gd name="T74" fmla="*/ 92 w 188"/>
                  <a:gd name="T75" fmla="*/ 88 h 146"/>
                  <a:gd name="T76" fmla="*/ 92 w 188"/>
                  <a:gd name="T77" fmla="*/ 44 h 146"/>
                  <a:gd name="T78" fmla="*/ 88 w 188"/>
                  <a:gd name="T79" fmla="*/ 86 h 146"/>
                  <a:gd name="T80" fmla="*/ 54 w 188"/>
                  <a:gd name="T81" fmla="*/ 90 h 146"/>
                  <a:gd name="T82" fmla="*/ 52 w 188"/>
                  <a:gd name="T83" fmla="*/ 78 h 146"/>
                  <a:gd name="T84" fmla="*/ 50 w 188"/>
                  <a:gd name="T85" fmla="*/ 50 h 146"/>
                  <a:gd name="T86" fmla="*/ 90 w 188"/>
                  <a:gd name="T87" fmla="*/ 20 h 146"/>
                  <a:gd name="T88" fmla="*/ 84 w 188"/>
                  <a:gd name="T89" fmla="*/ 12 h 146"/>
                  <a:gd name="T90" fmla="*/ 54 w 188"/>
                  <a:gd name="T91" fmla="*/ 32 h 146"/>
                  <a:gd name="T92" fmla="*/ 12 w 188"/>
                  <a:gd name="T93" fmla="*/ 62 h 146"/>
                  <a:gd name="T94" fmla="*/ 12 w 188"/>
                  <a:gd name="T95" fmla="*/ 50 h 146"/>
                  <a:gd name="T96" fmla="*/ 4 w 188"/>
                  <a:gd name="T97" fmla="*/ 68 h 146"/>
                  <a:gd name="T98" fmla="*/ 12 w 188"/>
                  <a:gd name="T99" fmla="*/ 94 h 146"/>
                  <a:gd name="T100" fmla="*/ 10 w 188"/>
                  <a:gd name="T101" fmla="*/ 120 h 146"/>
                  <a:gd name="T102" fmla="*/ 22 w 188"/>
                  <a:gd name="T103" fmla="*/ 138 h 146"/>
                  <a:gd name="T104" fmla="*/ 48 w 188"/>
                  <a:gd name="T105" fmla="*/ 142 h 146"/>
                  <a:gd name="T106" fmla="*/ 68 w 188"/>
                  <a:gd name="T107" fmla="*/ 120 h 146"/>
                  <a:gd name="T108" fmla="*/ 80 w 188"/>
                  <a:gd name="T109" fmla="*/ 146 h 146"/>
                  <a:gd name="T110" fmla="*/ 100 w 188"/>
                  <a:gd name="T111" fmla="*/ 132 h 146"/>
                  <a:gd name="T112" fmla="*/ 122 w 188"/>
                  <a:gd name="T113" fmla="*/ 114 h 146"/>
                  <a:gd name="T114" fmla="*/ 124 w 188"/>
                  <a:gd name="T115" fmla="*/ 102 h 146"/>
                  <a:gd name="T116" fmla="*/ 146 w 188"/>
                  <a:gd name="T117" fmla="*/ 96 h 146"/>
                  <a:gd name="T118" fmla="*/ 168 w 188"/>
                  <a:gd name="T119" fmla="*/ 90 h 146"/>
                  <a:gd name="T120" fmla="*/ 186 w 188"/>
                  <a:gd name="T121" fmla="*/ 38 h 146"/>
                  <a:gd name="T122" fmla="*/ 170 w 188"/>
                  <a:gd name="T123" fmla="*/ 28 h 146"/>
                  <a:gd name="T124" fmla="*/ 152 w 188"/>
                  <a:gd name="T125"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4" y="130"/>
                    </a:moveTo>
                    <a:lnTo>
                      <a:pt x="104" y="130"/>
                    </a:lnTo>
                    <a:lnTo>
                      <a:pt x="102" y="130"/>
                    </a:lnTo>
                    <a:lnTo>
                      <a:pt x="102" y="130"/>
                    </a:lnTo>
                    <a:lnTo>
                      <a:pt x="116" y="102"/>
                    </a:lnTo>
                    <a:lnTo>
                      <a:pt x="116" y="102"/>
                    </a:lnTo>
                    <a:lnTo>
                      <a:pt x="118" y="104"/>
                    </a:lnTo>
                    <a:lnTo>
                      <a:pt x="118" y="104"/>
                    </a:lnTo>
                    <a:lnTo>
                      <a:pt x="118" y="104"/>
                    </a:lnTo>
                    <a:lnTo>
                      <a:pt x="118" y="104"/>
                    </a:lnTo>
                    <a:lnTo>
                      <a:pt x="120" y="112"/>
                    </a:lnTo>
                    <a:lnTo>
                      <a:pt x="120" y="112"/>
                    </a:lnTo>
                    <a:lnTo>
                      <a:pt x="120" y="126"/>
                    </a:lnTo>
                    <a:lnTo>
                      <a:pt x="120" y="126"/>
                    </a:lnTo>
                    <a:lnTo>
                      <a:pt x="118" y="130"/>
                    </a:lnTo>
                    <a:lnTo>
                      <a:pt x="118" y="130"/>
                    </a:lnTo>
                    <a:lnTo>
                      <a:pt x="114" y="130"/>
                    </a:lnTo>
                    <a:lnTo>
                      <a:pt x="114" y="130"/>
                    </a:lnTo>
                    <a:lnTo>
                      <a:pt x="112" y="130"/>
                    </a:lnTo>
                    <a:lnTo>
                      <a:pt x="112" y="130"/>
                    </a:lnTo>
                    <a:lnTo>
                      <a:pt x="106" y="130"/>
                    </a:lnTo>
                    <a:lnTo>
                      <a:pt x="106" y="130"/>
                    </a:lnTo>
                    <a:lnTo>
                      <a:pt x="104" y="130"/>
                    </a:lnTo>
                    <a:lnTo>
                      <a:pt x="104" y="130"/>
                    </a:lnTo>
                    <a:lnTo>
                      <a:pt x="104" y="130"/>
                    </a:lnTo>
                    <a:close/>
                    <a:moveTo>
                      <a:pt x="6" y="106"/>
                    </a:moveTo>
                    <a:lnTo>
                      <a:pt x="6" y="106"/>
                    </a:lnTo>
                    <a:lnTo>
                      <a:pt x="8" y="104"/>
                    </a:lnTo>
                    <a:lnTo>
                      <a:pt x="8" y="104"/>
                    </a:lnTo>
                    <a:lnTo>
                      <a:pt x="14" y="100"/>
                    </a:lnTo>
                    <a:lnTo>
                      <a:pt x="14" y="100"/>
                    </a:lnTo>
                    <a:lnTo>
                      <a:pt x="24" y="116"/>
                    </a:lnTo>
                    <a:lnTo>
                      <a:pt x="24" y="116"/>
                    </a:lnTo>
                    <a:lnTo>
                      <a:pt x="24" y="118"/>
                    </a:lnTo>
                    <a:lnTo>
                      <a:pt x="24" y="120"/>
                    </a:lnTo>
                    <a:lnTo>
                      <a:pt x="24" y="120"/>
                    </a:lnTo>
                    <a:lnTo>
                      <a:pt x="22" y="122"/>
                    </a:lnTo>
                    <a:lnTo>
                      <a:pt x="20" y="122"/>
                    </a:lnTo>
                    <a:lnTo>
                      <a:pt x="20" y="122"/>
                    </a:lnTo>
                    <a:lnTo>
                      <a:pt x="20" y="122"/>
                    </a:lnTo>
                    <a:lnTo>
                      <a:pt x="20" y="122"/>
                    </a:lnTo>
                    <a:lnTo>
                      <a:pt x="14" y="120"/>
                    </a:lnTo>
                    <a:lnTo>
                      <a:pt x="10" y="118"/>
                    </a:lnTo>
                    <a:lnTo>
                      <a:pt x="6" y="114"/>
                    </a:lnTo>
                    <a:lnTo>
                      <a:pt x="6" y="110"/>
                    </a:lnTo>
                    <a:lnTo>
                      <a:pt x="6" y="110"/>
                    </a:lnTo>
                    <a:lnTo>
                      <a:pt x="6" y="106"/>
                    </a:lnTo>
                    <a:close/>
                    <a:moveTo>
                      <a:pt x="10" y="50"/>
                    </a:moveTo>
                    <a:lnTo>
                      <a:pt x="10" y="50"/>
                    </a:lnTo>
                    <a:lnTo>
                      <a:pt x="10" y="50"/>
                    </a:lnTo>
                    <a:lnTo>
                      <a:pt x="10" y="50"/>
                    </a:lnTo>
                    <a:lnTo>
                      <a:pt x="8" y="50"/>
                    </a:lnTo>
                    <a:lnTo>
                      <a:pt x="8" y="50"/>
                    </a:lnTo>
                    <a:lnTo>
                      <a:pt x="10" y="50"/>
                    </a:lnTo>
                    <a:lnTo>
                      <a:pt x="10" y="50"/>
                    </a:lnTo>
                    <a:lnTo>
                      <a:pt x="10" y="50"/>
                    </a:lnTo>
                    <a:lnTo>
                      <a:pt x="10" y="50"/>
                    </a:lnTo>
                    <a:lnTo>
                      <a:pt x="8" y="52"/>
                    </a:lnTo>
                    <a:lnTo>
                      <a:pt x="8" y="52"/>
                    </a:lnTo>
                    <a:lnTo>
                      <a:pt x="6" y="60"/>
                    </a:lnTo>
                    <a:lnTo>
                      <a:pt x="6" y="60"/>
                    </a:lnTo>
                    <a:lnTo>
                      <a:pt x="6" y="64"/>
                    </a:lnTo>
                    <a:lnTo>
                      <a:pt x="6" y="64"/>
                    </a:lnTo>
                    <a:lnTo>
                      <a:pt x="6" y="64"/>
                    </a:lnTo>
                    <a:lnTo>
                      <a:pt x="6" y="64"/>
                    </a:lnTo>
                    <a:lnTo>
                      <a:pt x="6" y="64"/>
                    </a:lnTo>
                    <a:lnTo>
                      <a:pt x="6" y="64"/>
                    </a:lnTo>
                    <a:lnTo>
                      <a:pt x="6" y="64"/>
                    </a:lnTo>
                    <a:lnTo>
                      <a:pt x="6" y="64"/>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6"/>
                    </a:lnTo>
                    <a:lnTo>
                      <a:pt x="12" y="68"/>
                    </a:lnTo>
                    <a:lnTo>
                      <a:pt x="12"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6"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8" y="112"/>
                    </a:lnTo>
                    <a:lnTo>
                      <a:pt x="76" y="114"/>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2" y="126"/>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0"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10" y="120"/>
                    </a:lnTo>
                    <a:lnTo>
                      <a:pt x="10"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2"/>
                    </a:lnTo>
                    <a:lnTo>
                      <a:pt x="50"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6" name="Freeform 1233"/>
              <p:cNvSpPr>
                <a:spLocks/>
              </p:cNvSpPr>
              <p:nvPr/>
            </p:nvSpPr>
            <p:spPr bwMode="auto">
              <a:xfrm>
                <a:off x="4528" y="2080"/>
                <a:ext cx="18" cy="28"/>
              </a:xfrm>
              <a:custGeom>
                <a:avLst/>
                <a:gdLst>
                  <a:gd name="T0" fmla="*/ 2 w 18"/>
                  <a:gd name="T1" fmla="*/ 28 h 28"/>
                  <a:gd name="T2" fmla="*/ 2 w 18"/>
                  <a:gd name="T3" fmla="*/ 28 h 28"/>
                  <a:gd name="T4" fmla="*/ 0 w 18"/>
                  <a:gd name="T5" fmla="*/ 28 h 28"/>
                  <a:gd name="T6" fmla="*/ 0 w 18"/>
                  <a:gd name="T7" fmla="*/ 28 h 28"/>
                  <a:gd name="T8" fmla="*/ 14 w 18"/>
                  <a:gd name="T9" fmla="*/ 0 h 28"/>
                  <a:gd name="T10" fmla="*/ 14 w 18"/>
                  <a:gd name="T11" fmla="*/ 0 h 28"/>
                  <a:gd name="T12" fmla="*/ 16 w 18"/>
                  <a:gd name="T13" fmla="*/ 2 h 28"/>
                  <a:gd name="T14" fmla="*/ 16 w 18"/>
                  <a:gd name="T15" fmla="*/ 2 h 28"/>
                  <a:gd name="T16" fmla="*/ 16 w 18"/>
                  <a:gd name="T17" fmla="*/ 2 h 28"/>
                  <a:gd name="T18" fmla="*/ 16 w 18"/>
                  <a:gd name="T19" fmla="*/ 2 h 28"/>
                  <a:gd name="T20" fmla="*/ 18 w 18"/>
                  <a:gd name="T21" fmla="*/ 10 h 28"/>
                  <a:gd name="T22" fmla="*/ 18 w 18"/>
                  <a:gd name="T23" fmla="*/ 10 h 28"/>
                  <a:gd name="T24" fmla="*/ 18 w 18"/>
                  <a:gd name="T25" fmla="*/ 24 h 28"/>
                  <a:gd name="T26" fmla="*/ 18 w 18"/>
                  <a:gd name="T27" fmla="*/ 24 h 28"/>
                  <a:gd name="T28" fmla="*/ 16 w 18"/>
                  <a:gd name="T29" fmla="*/ 28 h 28"/>
                  <a:gd name="T30" fmla="*/ 16 w 18"/>
                  <a:gd name="T31" fmla="*/ 28 h 28"/>
                  <a:gd name="T32" fmla="*/ 12 w 18"/>
                  <a:gd name="T33" fmla="*/ 28 h 28"/>
                  <a:gd name="T34" fmla="*/ 12 w 18"/>
                  <a:gd name="T35" fmla="*/ 28 h 28"/>
                  <a:gd name="T36" fmla="*/ 10 w 18"/>
                  <a:gd name="T37" fmla="*/ 28 h 28"/>
                  <a:gd name="T38" fmla="*/ 10 w 18"/>
                  <a:gd name="T39" fmla="*/ 28 h 28"/>
                  <a:gd name="T40" fmla="*/ 4 w 18"/>
                  <a:gd name="T41" fmla="*/ 28 h 28"/>
                  <a:gd name="T42" fmla="*/ 4 w 18"/>
                  <a:gd name="T43" fmla="*/ 28 h 28"/>
                  <a:gd name="T44" fmla="*/ 2 w 18"/>
                  <a:gd name="T45" fmla="*/ 28 h 28"/>
                  <a:gd name="T46" fmla="*/ 2 w 18"/>
                  <a:gd name="T47" fmla="*/ 28 h 28"/>
                  <a:gd name="T48" fmla="*/ 2 w 18"/>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8">
                    <a:moveTo>
                      <a:pt x="2" y="28"/>
                    </a:moveTo>
                    <a:lnTo>
                      <a:pt x="2" y="28"/>
                    </a:lnTo>
                    <a:lnTo>
                      <a:pt x="0" y="28"/>
                    </a:lnTo>
                    <a:lnTo>
                      <a:pt x="0" y="28"/>
                    </a:lnTo>
                    <a:lnTo>
                      <a:pt x="14" y="0"/>
                    </a:lnTo>
                    <a:lnTo>
                      <a:pt x="14" y="0"/>
                    </a:lnTo>
                    <a:lnTo>
                      <a:pt x="16" y="2"/>
                    </a:lnTo>
                    <a:lnTo>
                      <a:pt x="16" y="2"/>
                    </a:lnTo>
                    <a:lnTo>
                      <a:pt x="16" y="2"/>
                    </a:lnTo>
                    <a:lnTo>
                      <a:pt x="16" y="2"/>
                    </a:lnTo>
                    <a:lnTo>
                      <a:pt x="18" y="10"/>
                    </a:lnTo>
                    <a:lnTo>
                      <a:pt x="18" y="10"/>
                    </a:lnTo>
                    <a:lnTo>
                      <a:pt x="18" y="24"/>
                    </a:lnTo>
                    <a:lnTo>
                      <a:pt x="18" y="24"/>
                    </a:lnTo>
                    <a:lnTo>
                      <a:pt x="16" y="28"/>
                    </a:lnTo>
                    <a:lnTo>
                      <a:pt x="16" y="28"/>
                    </a:lnTo>
                    <a:lnTo>
                      <a:pt x="12" y="28"/>
                    </a:lnTo>
                    <a:lnTo>
                      <a:pt x="12" y="28"/>
                    </a:lnTo>
                    <a:lnTo>
                      <a:pt x="10" y="28"/>
                    </a:lnTo>
                    <a:lnTo>
                      <a:pt x="10" y="28"/>
                    </a:lnTo>
                    <a:lnTo>
                      <a:pt x="4" y="28"/>
                    </a:lnTo>
                    <a:lnTo>
                      <a:pt x="4" y="28"/>
                    </a:lnTo>
                    <a:lnTo>
                      <a:pt x="2" y="28"/>
                    </a:lnTo>
                    <a:lnTo>
                      <a:pt x="2" y="28"/>
                    </a:lnTo>
                    <a:lnTo>
                      <a:pt x="2"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7" name="Freeform 1234"/>
              <p:cNvSpPr>
                <a:spLocks/>
              </p:cNvSpPr>
              <p:nvPr/>
            </p:nvSpPr>
            <p:spPr bwMode="auto">
              <a:xfrm>
                <a:off x="4432" y="2078"/>
                <a:ext cx="18" cy="22"/>
              </a:xfrm>
              <a:custGeom>
                <a:avLst/>
                <a:gdLst>
                  <a:gd name="T0" fmla="*/ 0 w 18"/>
                  <a:gd name="T1" fmla="*/ 6 h 22"/>
                  <a:gd name="T2" fmla="*/ 0 w 18"/>
                  <a:gd name="T3" fmla="*/ 6 h 22"/>
                  <a:gd name="T4" fmla="*/ 2 w 18"/>
                  <a:gd name="T5" fmla="*/ 4 h 22"/>
                  <a:gd name="T6" fmla="*/ 2 w 18"/>
                  <a:gd name="T7" fmla="*/ 4 h 22"/>
                  <a:gd name="T8" fmla="*/ 8 w 18"/>
                  <a:gd name="T9" fmla="*/ 0 h 22"/>
                  <a:gd name="T10" fmla="*/ 8 w 18"/>
                  <a:gd name="T11" fmla="*/ 0 h 22"/>
                  <a:gd name="T12" fmla="*/ 18 w 18"/>
                  <a:gd name="T13" fmla="*/ 16 h 22"/>
                  <a:gd name="T14" fmla="*/ 18 w 18"/>
                  <a:gd name="T15" fmla="*/ 16 h 22"/>
                  <a:gd name="T16" fmla="*/ 18 w 18"/>
                  <a:gd name="T17" fmla="*/ 18 h 22"/>
                  <a:gd name="T18" fmla="*/ 18 w 18"/>
                  <a:gd name="T19" fmla="*/ 20 h 22"/>
                  <a:gd name="T20" fmla="*/ 18 w 18"/>
                  <a:gd name="T21" fmla="*/ 20 h 22"/>
                  <a:gd name="T22" fmla="*/ 16 w 18"/>
                  <a:gd name="T23" fmla="*/ 22 h 22"/>
                  <a:gd name="T24" fmla="*/ 14 w 18"/>
                  <a:gd name="T25" fmla="*/ 22 h 22"/>
                  <a:gd name="T26" fmla="*/ 14 w 18"/>
                  <a:gd name="T27" fmla="*/ 22 h 22"/>
                  <a:gd name="T28" fmla="*/ 14 w 18"/>
                  <a:gd name="T29" fmla="*/ 22 h 22"/>
                  <a:gd name="T30" fmla="*/ 14 w 18"/>
                  <a:gd name="T31" fmla="*/ 22 h 22"/>
                  <a:gd name="T32" fmla="*/ 8 w 18"/>
                  <a:gd name="T33" fmla="*/ 20 h 22"/>
                  <a:gd name="T34" fmla="*/ 4 w 18"/>
                  <a:gd name="T35" fmla="*/ 18 h 22"/>
                  <a:gd name="T36" fmla="*/ 0 w 18"/>
                  <a:gd name="T37" fmla="*/ 14 h 22"/>
                  <a:gd name="T38" fmla="*/ 0 w 18"/>
                  <a:gd name="T39" fmla="*/ 10 h 22"/>
                  <a:gd name="T40" fmla="*/ 0 w 18"/>
                  <a:gd name="T41" fmla="*/ 10 h 22"/>
                  <a:gd name="T42" fmla="*/ 0 w 18"/>
                  <a:gd name="T4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6"/>
                    </a:moveTo>
                    <a:lnTo>
                      <a:pt x="0" y="6"/>
                    </a:lnTo>
                    <a:lnTo>
                      <a:pt x="2" y="4"/>
                    </a:lnTo>
                    <a:lnTo>
                      <a:pt x="2" y="4"/>
                    </a:lnTo>
                    <a:lnTo>
                      <a:pt x="8" y="0"/>
                    </a:lnTo>
                    <a:lnTo>
                      <a:pt x="8" y="0"/>
                    </a:lnTo>
                    <a:lnTo>
                      <a:pt x="18" y="16"/>
                    </a:lnTo>
                    <a:lnTo>
                      <a:pt x="18" y="16"/>
                    </a:lnTo>
                    <a:lnTo>
                      <a:pt x="18" y="18"/>
                    </a:lnTo>
                    <a:lnTo>
                      <a:pt x="18" y="20"/>
                    </a:lnTo>
                    <a:lnTo>
                      <a:pt x="18" y="20"/>
                    </a:lnTo>
                    <a:lnTo>
                      <a:pt x="16" y="22"/>
                    </a:lnTo>
                    <a:lnTo>
                      <a:pt x="14" y="22"/>
                    </a:lnTo>
                    <a:lnTo>
                      <a:pt x="14" y="22"/>
                    </a:lnTo>
                    <a:lnTo>
                      <a:pt x="14" y="22"/>
                    </a:lnTo>
                    <a:lnTo>
                      <a:pt x="14" y="22"/>
                    </a:lnTo>
                    <a:lnTo>
                      <a:pt x="8" y="20"/>
                    </a:lnTo>
                    <a:lnTo>
                      <a:pt x="4" y="18"/>
                    </a:lnTo>
                    <a:lnTo>
                      <a:pt x="0" y="14"/>
                    </a:lnTo>
                    <a:lnTo>
                      <a:pt x="0" y="10"/>
                    </a:lnTo>
                    <a:lnTo>
                      <a:pt x="0" y="1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8" name="Freeform 1235"/>
              <p:cNvSpPr>
                <a:spLocks/>
              </p:cNvSpPr>
              <p:nvPr/>
            </p:nvSpPr>
            <p:spPr bwMode="auto">
              <a:xfrm>
                <a:off x="4428" y="2028"/>
                <a:ext cx="12" cy="20"/>
              </a:xfrm>
              <a:custGeom>
                <a:avLst/>
                <a:gdLst>
                  <a:gd name="T0" fmla="*/ 8 w 12"/>
                  <a:gd name="T1" fmla="*/ 0 h 20"/>
                  <a:gd name="T2" fmla="*/ 8 w 12"/>
                  <a:gd name="T3" fmla="*/ 0 h 20"/>
                  <a:gd name="T4" fmla="*/ 8 w 12"/>
                  <a:gd name="T5" fmla="*/ 0 h 20"/>
                  <a:gd name="T6" fmla="*/ 8 w 12"/>
                  <a:gd name="T7" fmla="*/ 0 h 20"/>
                  <a:gd name="T8" fmla="*/ 6 w 12"/>
                  <a:gd name="T9" fmla="*/ 0 h 20"/>
                  <a:gd name="T10" fmla="*/ 6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0 h 20"/>
                  <a:gd name="T26" fmla="*/ 4 w 12"/>
                  <a:gd name="T27" fmla="*/ 10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4 h 20"/>
                  <a:gd name="T42" fmla="*/ 4 w 12"/>
                  <a:gd name="T43" fmla="*/ 14 h 20"/>
                  <a:gd name="T44" fmla="*/ 4 w 12"/>
                  <a:gd name="T45" fmla="*/ 16 h 20"/>
                  <a:gd name="T46" fmla="*/ 4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0 w 12"/>
                  <a:gd name="T69" fmla="*/ 16 h 20"/>
                  <a:gd name="T70" fmla="*/ 10 w 12"/>
                  <a:gd name="T71" fmla="*/ 18 h 20"/>
                  <a:gd name="T72" fmla="*/ 10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8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8" y="0"/>
                    </a:moveTo>
                    <a:lnTo>
                      <a:pt x="8" y="0"/>
                    </a:lnTo>
                    <a:lnTo>
                      <a:pt x="8" y="0"/>
                    </a:lnTo>
                    <a:lnTo>
                      <a:pt x="8" y="0"/>
                    </a:lnTo>
                    <a:lnTo>
                      <a:pt x="6" y="0"/>
                    </a:lnTo>
                    <a:lnTo>
                      <a:pt x="6" y="0"/>
                    </a:lnTo>
                    <a:lnTo>
                      <a:pt x="8" y="0"/>
                    </a:lnTo>
                    <a:lnTo>
                      <a:pt x="8" y="0"/>
                    </a:lnTo>
                    <a:lnTo>
                      <a:pt x="8" y="0"/>
                    </a:lnTo>
                    <a:lnTo>
                      <a:pt x="8" y="0"/>
                    </a:lnTo>
                    <a:lnTo>
                      <a:pt x="6" y="2"/>
                    </a:lnTo>
                    <a:lnTo>
                      <a:pt x="6" y="2"/>
                    </a:lnTo>
                    <a:lnTo>
                      <a:pt x="4" y="10"/>
                    </a:lnTo>
                    <a:lnTo>
                      <a:pt x="4" y="10"/>
                    </a:lnTo>
                    <a:lnTo>
                      <a:pt x="4" y="14"/>
                    </a:lnTo>
                    <a:lnTo>
                      <a:pt x="4" y="14"/>
                    </a:lnTo>
                    <a:lnTo>
                      <a:pt x="4" y="14"/>
                    </a:lnTo>
                    <a:lnTo>
                      <a:pt x="4" y="14"/>
                    </a:lnTo>
                    <a:lnTo>
                      <a:pt x="4" y="14"/>
                    </a:lnTo>
                    <a:lnTo>
                      <a:pt x="4" y="14"/>
                    </a:lnTo>
                    <a:lnTo>
                      <a:pt x="4" y="14"/>
                    </a:lnTo>
                    <a:lnTo>
                      <a:pt x="4" y="14"/>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6"/>
                    </a:lnTo>
                    <a:lnTo>
                      <a:pt x="10" y="18"/>
                    </a:lnTo>
                    <a:lnTo>
                      <a:pt x="10"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9" name="Freeform 1236"/>
              <p:cNvSpPr>
                <a:spLocks/>
              </p:cNvSpPr>
              <p:nvPr/>
            </p:nvSpPr>
            <p:spPr bwMode="auto">
              <a:xfrm>
                <a:off x="4440" y="1982"/>
                <a:ext cx="172" cy="138"/>
              </a:xfrm>
              <a:custGeom>
                <a:avLst/>
                <a:gdLst>
                  <a:gd name="T0" fmla="*/ 74 w 172"/>
                  <a:gd name="T1" fmla="*/ 8 h 138"/>
                  <a:gd name="T2" fmla="*/ 100 w 172"/>
                  <a:gd name="T3" fmla="*/ 0 h 138"/>
                  <a:gd name="T4" fmla="*/ 130 w 172"/>
                  <a:gd name="T5" fmla="*/ 16 h 138"/>
                  <a:gd name="T6" fmla="*/ 136 w 172"/>
                  <a:gd name="T7" fmla="*/ 18 h 138"/>
                  <a:gd name="T8" fmla="*/ 134 w 172"/>
                  <a:gd name="T9" fmla="*/ 30 h 138"/>
                  <a:gd name="T10" fmla="*/ 140 w 172"/>
                  <a:gd name="T11" fmla="*/ 38 h 138"/>
                  <a:gd name="T12" fmla="*/ 144 w 172"/>
                  <a:gd name="T13" fmla="*/ 40 h 138"/>
                  <a:gd name="T14" fmla="*/ 132 w 172"/>
                  <a:gd name="T15" fmla="*/ 48 h 138"/>
                  <a:gd name="T16" fmla="*/ 138 w 172"/>
                  <a:gd name="T17" fmla="*/ 40 h 138"/>
                  <a:gd name="T18" fmla="*/ 138 w 172"/>
                  <a:gd name="T19" fmla="*/ 52 h 138"/>
                  <a:gd name="T20" fmla="*/ 144 w 172"/>
                  <a:gd name="T21" fmla="*/ 42 h 138"/>
                  <a:gd name="T22" fmla="*/ 144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0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8 w 172"/>
                  <a:gd name="T73" fmla="*/ 122 h 138"/>
                  <a:gd name="T74" fmla="*/ 32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2 w 172"/>
                  <a:gd name="T91" fmla="*/ 46 h 138"/>
                  <a:gd name="T92" fmla="*/ 26 w 172"/>
                  <a:gd name="T93" fmla="*/ 60 h 138"/>
                  <a:gd name="T94" fmla="*/ 34 w 172"/>
                  <a:gd name="T95" fmla="*/ 76 h 138"/>
                  <a:gd name="T96" fmla="*/ 34 w 172"/>
                  <a:gd name="T97" fmla="*/ 86 h 138"/>
                  <a:gd name="T98" fmla="*/ 50 w 172"/>
                  <a:gd name="T99" fmla="*/ 94 h 138"/>
                  <a:gd name="T100" fmla="*/ 58 w 172"/>
                  <a:gd name="T101" fmla="*/ 92 h 138"/>
                  <a:gd name="T102" fmla="*/ 80 w 172"/>
                  <a:gd name="T103" fmla="*/ 80 h 138"/>
                  <a:gd name="T104" fmla="*/ 82 w 172"/>
                  <a:gd name="T105" fmla="*/ 54 h 138"/>
                  <a:gd name="T106" fmla="*/ 78 w 172"/>
                  <a:gd name="T107" fmla="*/ 56 h 138"/>
                  <a:gd name="T108" fmla="*/ 76 w 172"/>
                  <a:gd name="T109" fmla="*/ 80 h 138"/>
                  <a:gd name="T110" fmla="*/ 58 w 172"/>
                  <a:gd name="T111" fmla="*/ 88 h 138"/>
                  <a:gd name="T112" fmla="*/ 44 w 172"/>
                  <a:gd name="T113" fmla="*/ 90 h 138"/>
                  <a:gd name="T114" fmla="*/ 38 w 172"/>
                  <a:gd name="T115" fmla="*/ 80 h 138"/>
                  <a:gd name="T116" fmla="*/ 46 w 172"/>
                  <a:gd name="T117" fmla="*/ 64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2"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4" y="108"/>
                    </a:lnTo>
                    <a:lnTo>
                      <a:pt x="62" y="110"/>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8" y="122"/>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2"/>
                    </a:lnTo>
                    <a:lnTo>
                      <a:pt x="0"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0" name="Freeform 1237"/>
              <p:cNvSpPr>
                <a:spLocks/>
              </p:cNvSpPr>
              <p:nvPr/>
            </p:nvSpPr>
            <p:spPr bwMode="auto">
              <a:xfrm>
                <a:off x="4426" y="1978"/>
                <a:ext cx="188" cy="146"/>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0"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10" y="120"/>
                    </a:lnTo>
                    <a:lnTo>
                      <a:pt x="10"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2"/>
                    </a:lnTo>
                    <a:lnTo>
                      <a:pt x="50"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1" name="Freeform 1238"/>
              <p:cNvSpPr>
                <a:spLocks/>
              </p:cNvSpPr>
              <p:nvPr/>
            </p:nvSpPr>
            <p:spPr bwMode="auto">
              <a:xfrm>
                <a:off x="4432" y="2078"/>
                <a:ext cx="18" cy="22"/>
              </a:xfrm>
              <a:custGeom>
                <a:avLst/>
                <a:gdLst>
                  <a:gd name="T0" fmla="*/ 8 w 18"/>
                  <a:gd name="T1" fmla="*/ 0 h 22"/>
                  <a:gd name="T2" fmla="*/ 8 w 18"/>
                  <a:gd name="T3" fmla="*/ 0 h 22"/>
                  <a:gd name="T4" fmla="*/ 0 w 18"/>
                  <a:gd name="T5" fmla="*/ 6 h 22"/>
                  <a:gd name="T6" fmla="*/ 0 w 18"/>
                  <a:gd name="T7" fmla="*/ 6 h 22"/>
                  <a:gd name="T8" fmla="*/ 0 w 18"/>
                  <a:gd name="T9" fmla="*/ 6 h 22"/>
                  <a:gd name="T10" fmla="*/ 0 w 18"/>
                  <a:gd name="T11" fmla="*/ 6 h 22"/>
                  <a:gd name="T12" fmla="*/ 0 w 18"/>
                  <a:gd name="T13" fmla="*/ 8 h 22"/>
                  <a:gd name="T14" fmla="*/ 0 w 18"/>
                  <a:gd name="T15" fmla="*/ 8 h 22"/>
                  <a:gd name="T16" fmla="*/ 2 w 18"/>
                  <a:gd name="T17" fmla="*/ 12 h 22"/>
                  <a:gd name="T18" fmla="*/ 4 w 18"/>
                  <a:gd name="T19" fmla="*/ 16 h 22"/>
                  <a:gd name="T20" fmla="*/ 8 w 18"/>
                  <a:gd name="T21" fmla="*/ 20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20 h 22"/>
                  <a:gd name="T34" fmla="*/ 16 w 18"/>
                  <a:gd name="T35" fmla="*/ 16 h 22"/>
                  <a:gd name="T36" fmla="*/ 16 w 18"/>
                  <a:gd name="T37" fmla="*/ 16 h 22"/>
                  <a:gd name="T38" fmla="*/ 8 w 18"/>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2">
                    <a:moveTo>
                      <a:pt x="8" y="0"/>
                    </a:moveTo>
                    <a:lnTo>
                      <a:pt x="8" y="0"/>
                    </a:lnTo>
                    <a:lnTo>
                      <a:pt x="0" y="6"/>
                    </a:lnTo>
                    <a:lnTo>
                      <a:pt x="0" y="6"/>
                    </a:lnTo>
                    <a:lnTo>
                      <a:pt x="0" y="6"/>
                    </a:lnTo>
                    <a:lnTo>
                      <a:pt x="0" y="6"/>
                    </a:lnTo>
                    <a:lnTo>
                      <a:pt x="0" y="8"/>
                    </a:lnTo>
                    <a:lnTo>
                      <a:pt x="0" y="8"/>
                    </a:lnTo>
                    <a:lnTo>
                      <a:pt x="2" y="12"/>
                    </a:lnTo>
                    <a:lnTo>
                      <a:pt x="4" y="16"/>
                    </a:lnTo>
                    <a:lnTo>
                      <a:pt x="8" y="20"/>
                    </a:lnTo>
                    <a:lnTo>
                      <a:pt x="14" y="22"/>
                    </a:lnTo>
                    <a:lnTo>
                      <a:pt x="14" y="22"/>
                    </a:lnTo>
                    <a:lnTo>
                      <a:pt x="14" y="22"/>
                    </a:lnTo>
                    <a:lnTo>
                      <a:pt x="14" y="22"/>
                    </a:lnTo>
                    <a:lnTo>
                      <a:pt x="18" y="20"/>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2" name="Freeform 1239"/>
              <p:cNvSpPr>
                <a:spLocks/>
              </p:cNvSpPr>
              <p:nvPr/>
            </p:nvSpPr>
            <p:spPr bwMode="auto">
              <a:xfrm>
                <a:off x="4432" y="2078"/>
                <a:ext cx="18" cy="22"/>
              </a:xfrm>
              <a:custGeom>
                <a:avLst/>
                <a:gdLst>
                  <a:gd name="T0" fmla="*/ 8 w 18"/>
                  <a:gd name="T1" fmla="*/ 0 h 22"/>
                  <a:gd name="T2" fmla="*/ 8 w 18"/>
                  <a:gd name="T3" fmla="*/ 0 h 22"/>
                  <a:gd name="T4" fmla="*/ 0 w 18"/>
                  <a:gd name="T5" fmla="*/ 6 h 22"/>
                  <a:gd name="T6" fmla="*/ 0 w 18"/>
                  <a:gd name="T7" fmla="*/ 6 h 22"/>
                  <a:gd name="T8" fmla="*/ 0 w 18"/>
                  <a:gd name="T9" fmla="*/ 6 h 22"/>
                  <a:gd name="T10" fmla="*/ 0 w 18"/>
                  <a:gd name="T11" fmla="*/ 6 h 22"/>
                  <a:gd name="T12" fmla="*/ 0 w 18"/>
                  <a:gd name="T13" fmla="*/ 8 h 22"/>
                  <a:gd name="T14" fmla="*/ 0 w 18"/>
                  <a:gd name="T15" fmla="*/ 8 h 22"/>
                  <a:gd name="T16" fmla="*/ 2 w 18"/>
                  <a:gd name="T17" fmla="*/ 12 h 22"/>
                  <a:gd name="T18" fmla="*/ 4 w 18"/>
                  <a:gd name="T19" fmla="*/ 16 h 22"/>
                  <a:gd name="T20" fmla="*/ 8 w 18"/>
                  <a:gd name="T21" fmla="*/ 20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20 h 22"/>
                  <a:gd name="T34" fmla="*/ 16 w 18"/>
                  <a:gd name="T35" fmla="*/ 16 h 22"/>
                  <a:gd name="T36" fmla="*/ 16 w 18"/>
                  <a:gd name="T37" fmla="*/ 16 h 22"/>
                  <a:gd name="T38" fmla="*/ 8 w 18"/>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2">
                    <a:moveTo>
                      <a:pt x="8" y="0"/>
                    </a:moveTo>
                    <a:lnTo>
                      <a:pt x="8" y="0"/>
                    </a:lnTo>
                    <a:lnTo>
                      <a:pt x="0" y="6"/>
                    </a:lnTo>
                    <a:lnTo>
                      <a:pt x="0" y="6"/>
                    </a:lnTo>
                    <a:lnTo>
                      <a:pt x="0" y="6"/>
                    </a:lnTo>
                    <a:lnTo>
                      <a:pt x="0" y="6"/>
                    </a:lnTo>
                    <a:lnTo>
                      <a:pt x="0" y="8"/>
                    </a:lnTo>
                    <a:lnTo>
                      <a:pt x="0" y="8"/>
                    </a:lnTo>
                    <a:lnTo>
                      <a:pt x="2" y="12"/>
                    </a:lnTo>
                    <a:lnTo>
                      <a:pt x="4" y="16"/>
                    </a:lnTo>
                    <a:lnTo>
                      <a:pt x="8" y="20"/>
                    </a:lnTo>
                    <a:lnTo>
                      <a:pt x="14" y="22"/>
                    </a:lnTo>
                    <a:lnTo>
                      <a:pt x="14" y="22"/>
                    </a:lnTo>
                    <a:lnTo>
                      <a:pt x="14" y="22"/>
                    </a:lnTo>
                    <a:lnTo>
                      <a:pt x="14" y="22"/>
                    </a:lnTo>
                    <a:lnTo>
                      <a:pt x="18" y="20"/>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3" name="Freeform 1240"/>
              <p:cNvSpPr>
                <a:spLocks/>
              </p:cNvSpPr>
              <p:nvPr/>
            </p:nvSpPr>
            <p:spPr bwMode="auto">
              <a:xfrm>
                <a:off x="4432" y="2078"/>
                <a:ext cx="18" cy="20"/>
              </a:xfrm>
              <a:custGeom>
                <a:avLst/>
                <a:gdLst>
                  <a:gd name="T0" fmla="*/ 8 w 18"/>
                  <a:gd name="T1" fmla="*/ 0 h 20"/>
                  <a:gd name="T2" fmla="*/ 8 w 18"/>
                  <a:gd name="T3" fmla="*/ 0 h 20"/>
                  <a:gd name="T4" fmla="*/ 2 w 18"/>
                  <a:gd name="T5" fmla="*/ 4 h 20"/>
                  <a:gd name="T6" fmla="*/ 2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8 w 18"/>
                  <a:gd name="T25" fmla="*/ 20 h 20"/>
                  <a:gd name="T26" fmla="*/ 18 w 18"/>
                  <a:gd name="T27" fmla="*/ 20 h 20"/>
                  <a:gd name="T28" fmla="*/ 18 w 18"/>
                  <a:gd name="T29" fmla="*/ 18 h 20"/>
                  <a:gd name="T30" fmla="*/ 18 w 18"/>
                  <a:gd name="T31" fmla="*/ 16 h 20"/>
                  <a:gd name="T32" fmla="*/ 18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2" y="4"/>
                    </a:lnTo>
                    <a:lnTo>
                      <a:pt x="2" y="4"/>
                    </a:lnTo>
                    <a:lnTo>
                      <a:pt x="0" y="6"/>
                    </a:lnTo>
                    <a:lnTo>
                      <a:pt x="0" y="6"/>
                    </a:lnTo>
                    <a:lnTo>
                      <a:pt x="0" y="6"/>
                    </a:lnTo>
                    <a:lnTo>
                      <a:pt x="0" y="6"/>
                    </a:lnTo>
                    <a:lnTo>
                      <a:pt x="8" y="0"/>
                    </a:lnTo>
                    <a:lnTo>
                      <a:pt x="8" y="0"/>
                    </a:lnTo>
                    <a:lnTo>
                      <a:pt x="16" y="16"/>
                    </a:lnTo>
                    <a:lnTo>
                      <a:pt x="16" y="16"/>
                    </a:lnTo>
                    <a:lnTo>
                      <a:pt x="18" y="20"/>
                    </a:lnTo>
                    <a:lnTo>
                      <a:pt x="18" y="20"/>
                    </a:lnTo>
                    <a:lnTo>
                      <a:pt x="18" y="18"/>
                    </a:lnTo>
                    <a:lnTo>
                      <a:pt x="18" y="16"/>
                    </a:lnTo>
                    <a:lnTo>
                      <a:pt x="18"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4" name="Freeform 1241"/>
              <p:cNvSpPr>
                <a:spLocks/>
              </p:cNvSpPr>
              <p:nvPr/>
            </p:nvSpPr>
            <p:spPr bwMode="auto">
              <a:xfrm>
                <a:off x="4432" y="2078"/>
                <a:ext cx="18" cy="20"/>
              </a:xfrm>
              <a:custGeom>
                <a:avLst/>
                <a:gdLst>
                  <a:gd name="T0" fmla="*/ 8 w 18"/>
                  <a:gd name="T1" fmla="*/ 0 h 20"/>
                  <a:gd name="T2" fmla="*/ 8 w 18"/>
                  <a:gd name="T3" fmla="*/ 0 h 20"/>
                  <a:gd name="T4" fmla="*/ 2 w 18"/>
                  <a:gd name="T5" fmla="*/ 4 h 20"/>
                  <a:gd name="T6" fmla="*/ 2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8 w 18"/>
                  <a:gd name="T25" fmla="*/ 20 h 20"/>
                  <a:gd name="T26" fmla="*/ 18 w 18"/>
                  <a:gd name="T27" fmla="*/ 20 h 20"/>
                  <a:gd name="T28" fmla="*/ 18 w 18"/>
                  <a:gd name="T29" fmla="*/ 18 h 20"/>
                  <a:gd name="T30" fmla="*/ 18 w 18"/>
                  <a:gd name="T31" fmla="*/ 16 h 20"/>
                  <a:gd name="T32" fmla="*/ 18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2" y="4"/>
                    </a:lnTo>
                    <a:lnTo>
                      <a:pt x="2" y="4"/>
                    </a:lnTo>
                    <a:lnTo>
                      <a:pt x="0" y="6"/>
                    </a:lnTo>
                    <a:lnTo>
                      <a:pt x="0" y="6"/>
                    </a:lnTo>
                    <a:lnTo>
                      <a:pt x="0" y="6"/>
                    </a:lnTo>
                    <a:lnTo>
                      <a:pt x="0" y="6"/>
                    </a:lnTo>
                    <a:lnTo>
                      <a:pt x="8" y="0"/>
                    </a:lnTo>
                    <a:lnTo>
                      <a:pt x="8" y="0"/>
                    </a:lnTo>
                    <a:lnTo>
                      <a:pt x="16" y="16"/>
                    </a:lnTo>
                    <a:lnTo>
                      <a:pt x="16" y="16"/>
                    </a:lnTo>
                    <a:lnTo>
                      <a:pt x="18" y="20"/>
                    </a:lnTo>
                    <a:lnTo>
                      <a:pt x="18" y="20"/>
                    </a:lnTo>
                    <a:lnTo>
                      <a:pt x="18" y="18"/>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5" name="Freeform 1242"/>
              <p:cNvSpPr>
                <a:spLocks/>
              </p:cNvSpPr>
              <p:nvPr/>
            </p:nvSpPr>
            <p:spPr bwMode="auto">
              <a:xfrm>
                <a:off x="4530" y="2082"/>
                <a:ext cx="16" cy="26"/>
              </a:xfrm>
              <a:custGeom>
                <a:avLst/>
                <a:gdLst>
                  <a:gd name="T0" fmla="*/ 14 w 16"/>
                  <a:gd name="T1" fmla="*/ 0 h 26"/>
                  <a:gd name="T2" fmla="*/ 14 w 16"/>
                  <a:gd name="T3" fmla="*/ 0 h 26"/>
                  <a:gd name="T4" fmla="*/ 0 w 16"/>
                  <a:gd name="T5" fmla="*/ 26 h 26"/>
                  <a:gd name="T6" fmla="*/ 0 w 16"/>
                  <a:gd name="T7" fmla="*/ 26 h 26"/>
                  <a:gd name="T8" fmla="*/ 2 w 16"/>
                  <a:gd name="T9" fmla="*/ 26 h 26"/>
                  <a:gd name="T10" fmla="*/ 2 w 16"/>
                  <a:gd name="T11" fmla="*/ 26 h 26"/>
                  <a:gd name="T12" fmla="*/ 8 w 16"/>
                  <a:gd name="T13" fmla="*/ 26 h 26"/>
                  <a:gd name="T14" fmla="*/ 8 w 16"/>
                  <a:gd name="T15" fmla="*/ 26 h 26"/>
                  <a:gd name="T16" fmla="*/ 10 w 16"/>
                  <a:gd name="T17" fmla="*/ 26 h 26"/>
                  <a:gd name="T18" fmla="*/ 10 w 16"/>
                  <a:gd name="T19" fmla="*/ 26 h 26"/>
                  <a:gd name="T20" fmla="*/ 14 w 16"/>
                  <a:gd name="T21" fmla="*/ 26 h 26"/>
                  <a:gd name="T22" fmla="*/ 14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0" y="26"/>
                    </a:lnTo>
                    <a:lnTo>
                      <a:pt x="0" y="26"/>
                    </a:lnTo>
                    <a:lnTo>
                      <a:pt x="2" y="26"/>
                    </a:lnTo>
                    <a:lnTo>
                      <a:pt x="2" y="26"/>
                    </a:lnTo>
                    <a:lnTo>
                      <a:pt x="8" y="26"/>
                    </a:lnTo>
                    <a:lnTo>
                      <a:pt x="8" y="26"/>
                    </a:lnTo>
                    <a:lnTo>
                      <a:pt x="10" y="26"/>
                    </a:lnTo>
                    <a:lnTo>
                      <a:pt x="10" y="26"/>
                    </a:lnTo>
                    <a:lnTo>
                      <a:pt x="14" y="26"/>
                    </a:lnTo>
                    <a:lnTo>
                      <a:pt x="14"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6" name="Freeform 1243"/>
              <p:cNvSpPr>
                <a:spLocks/>
              </p:cNvSpPr>
              <p:nvPr/>
            </p:nvSpPr>
            <p:spPr bwMode="auto">
              <a:xfrm>
                <a:off x="4530" y="2082"/>
                <a:ext cx="16" cy="26"/>
              </a:xfrm>
              <a:custGeom>
                <a:avLst/>
                <a:gdLst>
                  <a:gd name="T0" fmla="*/ 14 w 16"/>
                  <a:gd name="T1" fmla="*/ 0 h 26"/>
                  <a:gd name="T2" fmla="*/ 14 w 16"/>
                  <a:gd name="T3" fmla="*/ 0 h 26"/>
                  <a:gd name="T4" fmla="*/ 0 w 16"/>
                  <a:gd name="T5" fmla="*/ 26 h 26"/>
                  <a:gd name="T6" fmla="*/ 0 w 16"/>
                  <a:gd name="T7" fmla="*/ 26 h 26"/>
                  <a:gd name="T8" fmla="*/ 2 w 16"/>
                  <a:gd name="T9" fmla="*/ 26 h 26"/>
                  <a:gd name="T10" fmla="*/ 2 w 16"/>
                  <a:gd name="T11" fmla="*/ 26 h 26"/>
                  <a:gd name="T12" fmla="*/ 8 w 16"/>
                  <a:gd name="T13" fmla="*/ 26 h 26"/>
                  <a:gd name="T14" fmla="*/ 8 w 16"/>
                  <a:gd name="T15" fmla="*/ 26 h 26"/>
                  <a:gd name="T16" fmla="*/ 10 w 16"/>
                  <a:gd name="T17" fmla="*/ 26 h 26"/>
                  <a:gd name="T18" fmla="*/ 10 w 16"/>
                  <a:gd name="T19" fmla="*/ 26 h 26"/>
                  <a:gd name="T20" fmla="*/ 14 w 16"/>
                  <a:gd name="T21" fmla="*/ 26 h 26"/>
                  <a:gd name="T22" fmla="*/ 14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0" y="26"/>
                    </a:lnTo>
                    <a:lnTo>
                      <a:pt x="0" y="26"/>
                    </a:lnTo>
                    <a:lnTo>
                      <a:pt x="2" y="26"/>
                    </a:lnTo>
                    <a:lnTo>
                      <a:pt x="2" y="26"/>
                    </a:lnTo>
                    <a:lnTo>
                      <a:pt x="8" y="26"/>
                    </a:lnTo>
                    <a:lnTo>
                      <a:pt x="8"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7" name="Freeform 1244"/>
              <p:cNvSpPr>
                <a:spLocks noEditPoints="1"/>
              </p:cNvSpPr>
              <p:nvPr/>
            </p:nvSpPr>
            <p:spPr bwMode="auto">
              <a:xfrm>
                <a:off x="4528" y="2080"/>
                <a:ext cx="16" cy="28"/>
              </a:xfrm>
              <a:custGeom>
                <a:avLst/>
                <a:gdLst>
                  <a:gd name="T0" fmla="*/ 4 w 16"/>
                  <a:gd name="T1" fmla="*/ 28 h 28"/>
                  <a:gd name="T2" fmla="*/ 4 w 16"/>
                  <a:gd name="T3" fmla="*/ 28 h 28"/>
                  <a:gd name="T4" fmla="*/ 10 w 16"/>
                  <a:gd name="T5" fmla="*/ 28 h 28"/>
                  <a:gd name="T6" fmla="*/ 10 w 16"/>
                  <a:gd name="T7" fmla="*/ 28 h 28"/>
                  <a:gd name="T8" fmla="*/ 4 w 16"/>
                  <a:gd name="T9" fmla="*/ 28 h 28"/>
                  <a:gd name="T10" fmla="*/ 14 w 16"/>
                  <a:gd name="T11" fmla="*/ 0 h 28"/>
                  <a:gd name="T12" fmla="*/ 14 w 16"/>
                  <a:gd name="T13" fmla="*/ 0 h 28"/>
                  <a:gd name="T14" fmla="*/ 0 w 16"/>
                  <a:gd name="T15" fmla="*/ 28 h 28"/>
                  <a:gd name="T16" fmla="*/ 0 w 16"/>
                  <a:gd name="T17" fmla="*/ 28 h 28"/>
                  <a:gd name="T18" fmla="*/ 2 w 16"/>
                  <a:gd name="T19" fmla="*/ 28 h 28"/>
                  <a:gd name="T20" fmla="*/ 2 w 16"/>
                  <a:gd name="T21" fmla="*/ 28 h 28"/>
                  <a:gd name="T22" fmla="*/ 16 w 16"/>
                  <a:gd name="T23" fmla="*/ 2 h 28"/>
                  <a:gd name="T24" fmla="*/ 16 w 16"/>
                  <a:gd name="T25" fmla="*/ 2 h 28"/>
                  <a:gd name="T26" fmla="*/ 14 w 16"/>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8">
                    <a:moveTo>
                      <a:pt x="4" y="28"/>
                    </a:moveTo>
                    <a:lnTo>
                      <a:pt x="4" y="28"/>
                    </a:lnTo>
                    <a:lnTo>
                      <a:pt x="10" y="28"/>
                    </a:lnTo>
                    <a:lnTo>
                      <a:pt x="10" y="28"/>
                    </a:lnTo>
                    <a:lnTo>
                      <a:pt x="4" y="28"/>
                    </a:lnTo>
                    <a:close/>
                    <a:moveTo>
                      <a:pt x="14" y="0"/>
                    </a:moveTo>
                    <a:lnTo>
                      <a:pt x="14" y="0"/>
                    </a:lnTo>
                    <a:lnTo>
                      <a:pt x="0" y="28"/>
                    </a:lnTo>
                    <a:lnTo>
                      <a:pt x="0" y="28"/>
                    </a:lnTo>
                    <a:lnTo>
                      <a:pt x="2" y="28"/>
                    </a:lnTo>
                    <a:lnTo>
                      <a:pt x="2" y="28"/>
                    </a:lnTo>
                    <a:lnTo>
                      <a:pt x="16" y="2"/>
                    </a:lnTo>
                    <a:lnTo>
                      <a:pt x="16" y="2"/>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8" name="Rectangle 1245"/>
              <p:cNvSpPr>
                <a:spLocks noChangeArrowheads="1"/>
              </p:cNvSpPr>
              <p:nvPr/>
            </p:nvSpPr>
            <p:spPr bwMode="auto">
              <a:xfrm>
                <a:off x="4532" y="2108"/>
                <a:ext cx="6"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9" name="Freeform 1246"/>
              <p:cNvSpPr>
                <a:spLocks/>
              </p:cNvSpPr>
              <p:nvPr/>
            </p:nvSpPr>
            <p:spPr bwMode="auto">
              <a:xfrm>
                <a:off x="4528" y="2080"/>
                <a:ext cx="16" cy="28"/>
              </a:xfrm>
              <a:custGeom>
                <a:avLst/>
                <a:gdLst>
                  <a:gd name="T0" fmla="*/ 14 w 16"/>
                  <a:gd name="T1" fmla="*/ 0 h 28"/>
                  <a:gd name="T2" fmla="*/ 14 w 16"/>
                  <a:gd name="T3" fmla="*/ 0 h 28"/>
                  <a:gd name="T4" fmla="*/ 0 w 16"/>
                  <a:gd name="T5" fmla="*/ 28 h 28"/>
                  <a:gd name="T6" fmla="*/ 0 w 16"/>
                  <a:gd name="T7" fmla="*/ 28 h 28"/>
                  <a:gd name="T8" fmla="*/ 2 w 16"/>
                  <a:gd name="T9" fmla="*/ 28 h 28"/>
                  <a:gd name="T10" fmla="*/ 2 w 16"/>
                  <a:gd name="T11" fmla="*/ 28 h 28"/>
                  <a:gd name="T12" fmla="*/ 16 w 16"/>
                  <a:gd name="T13" fmla="*/ 2 h 28"/>
                  <a:gd name="T14" fmla="*/ 16 w 16"/>
                  <a:gd name="T15" fmla="*/ 2 h 28"/>
                  <a:gd name="T16" fmla="*/ 14 w 1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8">
                    <a:moveTo>
                      <a:pt x="14" y="0"/>
                    </a:moveTo>
                    <a:lnTo>
                      <a:pt x="14" y="0"/>
                    </a:lnTo>
                    <a:lnTo>
                      <a:pt x="0" y="28"/>
                    </a:lnTo>
                    <a:lnTo>
                      <a:pt x="0" y="28"/>
                    </a:lnTo>
                    <a:lnTo>
                      <a:pt x="2" y="28"/>
                    </a:lnTo>
                    <a:lnTo>
                      <a:pt x="2" y="28"/>
                    </a:lnTo>
                    <a:lnTo>
                      <a:pt x="16" y="2"/>
                    </a:lnTo>
                    <a:lnTo>
                      <a:pt x="16" y="2"/>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0" name="Freeform 1247"/>
              <p:cNvSpPr>
                <a:spLocks/>
              </p:cNvSpPr>
              <p:nvPr/>
            </p:nvSpPr>
            <p:spPr bwMode="auto">
              <a:xfrm>
                <a:off x="4428" y="20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4 w 12"/>
                  <a:gd name="T49" fmla="*/ 16 h 20"/>
                  <a:gd name="T50" fmla="*/ 4 w 12"/>
                  <a:gd name="T51" fmla="*/ 16 h 20"/>
                  <a:gd name="T52" fmla="*/ 4 w 12"/>
                  <a:gd name="T53" fmla="*/ 14 h 20"/>
                  <a:gd name="T54" fmla="*/ 4 w 12"/>
                  <a:gd name="T55" fmla="*/ 14 h 20"/>
                  <a:gd name="T56" fmla="*/ 4 w 12"/>
                  <a:gd name="T57" fmla="*/ 14 h 20"/>
                  <a:gd name="T58" fmla="*/ 4 w 12"/>
                  <a:gd name="T59" fmla="*/ 14 h 20"/>
                  <a:gd name="T60" fmla="*/ 4 w 12"/>
                  <a:gd name="T61" fmla="*/ 10 h 20"/>
                  <a:gd name="T62" fmla="*/ 4 w 12"/>
                  <a:gd name="T63" fmla="*/ 10 h 20"/>
                  <a:gd name="T64" fmla="*/ 6 w 12"/>
                  <a:gd name="T65" fmla="*/ 2 h 20"/>
                  <a:gd name="T66" fmla="*/ 6 w 12"/>
                  <a:gd name="T67" fmla="*/ 2 h 20"/>
                  <a:gd name="T68" fmla="*/ 6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4" y="16"/>
                    </a:lnTo>
                    <a:lnTo>
                      <a:pt x="4" y="16"/>
                    </a:lnTo>
                    <a:lnTo>
                      <a:pt x="4" y="14"/>
                    </a:lnTo>
                    <a:lnTo>
                      <a:pt x="4" y="14"/>
                    </a:lnTo>
                    <a:lnTo>
                      <a:pt x="4" y="14"/>
                    </a:lnTo>
                    <a:lnTo>
                      <a:pt x="4" y="14"/>
                    </a:lnTo>
                    <a:lnTo>
                      <a:pt x="4" y="10"/>
                    </a:lnTo>
                    <a:lnTo>
                      <a:pt x="4" y="10"/>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1" name="Freeform 1248"/>
              <p:cNvSpPr>
                <a:spLocks/>
              </p:cNvSpPr>
              <p:nvPr/>
            </p:nvSpPr>
            <p:spPr bwMode="auto">
              <a:xfrm>
                <a:off x="4428" y="20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4 w 12"/>
                  <a:gd name="T49" fmla="*/ 16 h 20"/>
                  <a:gd name="T50" fmla="*/ 4 w 12"/>
                  <a:gd name="T51" fmla="*/ 16 h 20"/>
                  <a:gd name="T52" fmla="*/ 4 w 12"/>
                  <a:gd name="T53" fmla="*/ 14 h 20"/>
                  <a:gd name="T54" fmla="*/ 4 w 12"/>
                  <a:gd name="T55" fmla="*/ 14 h 20"/>
                  <a:gd name="T56" fmla="*/ 4 w 12"/>
                  <a:gd name="T57" fmla="*/ 14 h 20"/>
                  <a:gd name="T58" fmla="*/ 4 w 12"/>
                  <a:gd name="T59" fmla="*/ 14 h 20"/>
                  <a:gd name="T60" fmla="*/ 4 w 12"/>
                  <a:gd name="T61" fmla="*/ 10 h 20"/>
                  <a:gd name="T62" fmla="*/ 4 w 12"/>
                  <a:gd name="T63" fmla="*/ 10 h 20"/>
                  <a:gd name="T64" fmla="*/ 6 w 12"/>
                  <a:gd name="T65" fmla="*/ 2 h 20"/>
                  <a:gd name="T66" fmla="*/ 6 w 12"/>
                  <a:gd name="T67" fmla="*/ 2 h 20"/>
                  <a:gd name="T68" fmla="*/ 6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4" y="16"/>
                    </a:lnTo>
                    <a:lnTo>
                      <a:pt x="4" y="16"/>
                    </a:lnTo>
                    <a:lnTo>
                      <a:pt x="4" y="14"/>
                    </a:lnTo>
                    <a:lnTo>
                      <a:pt x="4" y="14"/>
                    </a:lnTo>
                    <a:lnTo>
                      <a:pt x="4" y="14"/>
                    </a:lnTo>
                    <a:lnTo>
                      <a:pt x="4" y="14"/>
                    </a:lnTo>
                    <a:lnTo>
                      <a:pt x="4" y="10"/>
                    </a:lnTo>
                    <a:lnTo>
                      <a:pt x="4" y="10"/>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2" name="Freeform 1249"/>
              <p:cNvSpPr>
                <a:spLocks noEditPoints="1"/>
              </p:cNvSpPr>
              <p:nvPr/>
            </p:nvSpPr>
            <p:spPr bwMode="auto">
              <a:xfrm>
                <a:off x="4432" y="2028"/>
                <a:ext cx="8" cy="20"/>
              </a:xfrm>
              <a:custGeom>
                <a:avLst/>
                <a:gdLst>
                  <a:gd name="T0" fmla="*/ 0 w 8"/>
                  <a:gd name="T1" fmla="*/ 18 h 20"/>
                  <a:gd name="T2" fmla="*/ 0 w 8"/>
                  <a:gd name="T3" fmla="*/ 18 h 20"/>
                  <a:gd name="T4" fmla="*/ 0 w 8"/>
                  <a:gd name="T5" fmla="*/ 18 h 20"/>
                  <a:gd name="T6" fmla="*/ 0 w 8"/>
                  <a:gd name="T7" fmla="*/ 18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18 h 20"/>
                  <a:gd name="T22" fmla="*/ 0 w 8"/>
                  <a:gd name="T23" fmla="*/ 18 h 20"/>
                  <a:gd name="T24" fmla="*/ 0 w 8"/>
                  <a:gd name="T25" fmla="*/ 18 h 20"/>
                  <a:gd name="T26" fmla="*/ 0 w 8"/>
                  <a:gd name="T27" fmla="*/ 14 h 20"/>
                  <a:gd name="T28" fmla="*/ 0 w 8"/>
                  <a:gd name="T29" fmla="*/ 14 h 20"/>
                  <a:gd name="T30" fmla="*/ 0 w 8"/>
                  <a:gd name="T31" fmla="*/ 16 h 20"/>
                  <a:gd name="T32" fmla="*/ 0 w 8"/>
                  <a:gd name="T33" fmla="*/ 16 h 20"/>
                  <a:gd name="T34" fmla="*/ 0 w 8"/>
                  <a:gd name="T35" fmla="*/ 14 h 20"/>
                  <a:gd name="T36" fmla="*/ 0 w 8"/>
                  <a:gd name="T37" fmla="*/ 14 h 20"/>
                  <a:gd name="T38" fmla="*/ 0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0 h 20"/>
                  <a:gd name="T60" fmla="*/ 0 w 8"/>
                  <a:gd name="T61" fmla="*/ 10 h 20"/>
                  <a:gd name="T62" fmla="*/ 0 w 8"/>
                  <a:gd name="T63" fmla="*/ 14 h 20"/>
                  <a:gd name="T64" fmla="*/ 0 w 8"/>
                  <a:gd name="T65" fmla="*/ 14 h 20"/>
                  <a:gd name="T66" fmla="*/ 0 w 8"/>
                  <a:gd name="T67" fmla="*/ 10 h 20"/>
                  <a:gd name="T68" fmla="*/ 0 w 8"/>
                  <a:gd name="T69" fmla="*/ 10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2 w 8"/>
                  <a:gd name="T89" fmla="*/ 0 h 20"/>
                  <a:gd name="T90" fmla="*/ 2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0" y="18"/>
                    </a:moveTo>
                    <a:lnTo>
                      <a:pt x="0" y="18"/>
                    </a:lnTo>
                    <a:lnTo>
                      <a:pt x="0" y="18"/>
                    </a:lnTo>
                    <a:lnTo>
                      <a:pt x="0" y="18"/>
                    </a:lnTo>
                    <a:lnTo>
                      <a:pt x="2" y="20"/>
                    </a:lnTo>
                    <a:lnTo>
                      <a:pt x="2" y="20"/>
                    </a:lnTo>
                    <a:lnTo>
                      <a:pt x="6" y="18"/>
                    </a:lnTo>
                    <a:lnTo>
                      <a:pt x="6" y="18"/>
                    </a:lnTo>
                    <a:lnTo>
                      <a:pt x="2" y="20"/>
                    </a:lnTo>
                    <a:lnTo>
                      <a:pt x="2" y="20"/>
                    </a:lnTo>
                    <a:lnTo>
                      <a:pt x="0" y="18"/>
                    </a:lnTo>
                    <a:lnTo>
                      <a:pt x="0" y="18"/>
                    </a:lnTo>
                    <a:lnTo>
                      <a:pt x="0" y="18"/>
                    </a:lnTo>
                    <a:close/>
                    <a:moveTo>
                      <a:pt x="0" y="14"/>
                    </a:moveTo>
                    <a:lnTo>
                      <a:pt x="0" y="14"/>
                    </a:lnTo>
                    <a:lnTo>
                      <a:pt x="0" y="16"/>
                    </a:lnTo>
                    <a:lnTo>
                      <a:pt x="0" y="16"/>
                    </a:lnTo>
                    <a:lnTo>
                      <a:pt x="0" y="14"/>
                    </a:lnTo>
                    <a:lnTo>
                      <a:pt x="0" y="14"/>
                    </a:lnTo>
                    <a:lnTo>
                      <a:pt x="0" y="14"/>
                    </a:lnTo>
                    <a:close/>
                    <a:moveTo>
                      <a:pt x="8" y="14"/>
                    </a:moveTo>
                    <a:lnTo>
                      <a:pt x="8" y="14"/>
                    </a:lnTo>
                    <a:lnTo>
                      <a:pt x="6" y="16"/>
                    </a:lnTo>
                    <a:lnTo>
                      <a:pt x="6" y="16"/>
                    </a:lnTo>
                    <a:lnTo>
                      <a:pt x="8" y="14"/>
                    </a:lnTo>
                    <a:lnTo>
                      <a:pt x="8" y="14"/>
                    </a:lnTo>
                    <a:lnTo>
                      <a:pt x="8" y="14"/>
                    </a:lnTo>
                    <a:close/>
                    <a:moveTo>
                      <a:pt x="2" y="2"/>
                    </a:moveTo>
                    <a:lnTo>
                      <a:pt x="2" y="2"/>
                    </a:lnTo>
                    <a:lnTo>
                      <a:pt x="0" y="10"/>
                    </a:lnTo>
                    <a:lnTo>
                      <a:pt x="0" y="10"/>
                    </a:lnTo>
                    <a:lnTo>
                      <a:pt x="0" y="14"/>
                    </a:lnTo>
                    <a:lnTo>
                      <a:pt x="0" y="14"/>
                    </a:lnTo>
                    <a:lnTo>
                      <a:pt x="0" y="10"/>
                    </a:lnTo>
                    <a:lnTo>
                      <a:pt x="0" y="10"/>
                    </a:lnTo>
                    <a:lnTo>
                      <a:pt x="2" y="2"/>
                    </a:lnTo>
                    <a:close/>
                    <a:moveTo>
                      <a:pt x="4" y="0"/>
                    </a:moveTo>
                    <a:lnTo>
                      <a:pt x="4" y="0"/>
                    </a:lnTo>
                    <a:lnTo>
                      <a:pt x="2" y="0"/>
                    </a:lnTo>
                    <a:lnTo>
                      <a:pt x="2" y="0"/>
                    </a:lnTo>
                    <a:lnTo>
                      <a:pt x="2" y="0"/>
                    </a:lnTo>
                    <a:lnTo>
                      <a:pt x="2" y="0"/>
                    </a:lnTo>
                    <a:lnTo>
                      <a:pt x="2" y="0"/>
                    </a:lnTo>
                    <a:lnTo>
                      <a:pt x="2" y="0"/>
                    </a:lnTo>
                    <a:lnTo>
                      <a:pt x="2" y="0"/>
                    </a:lnTo>
                    <a:lnTo>
                      <a:pt x="2"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3" name="Freeform 1250"/>
              <p:cNvSpPr>
                <a:spLocks/>
              </p:cNvSpPr>
              <p:nvPr/>
            </p:nvSpPr>
            <p:spPr bwMode="auto">
              <a:xfrm>
                <a:off x="4432" y="2046"/>
                <a:ext cx="6" cy="2"/>
              </a:xfrm>
              <a:custGeom>
                <a:avLst/>
                <a:gdLst>
                  <a:gd name="T0" fmla="*/ 0 w 6"/>
                  <a:gd name="T1" fmla="*/ 0 h 2"/>
                  <a:gd name="T2" fmla="*/ 0 w 6"/>
                  <a:gd name="T3" fmla="*/ 0 h 2"/>
                  <a:gd name="T4" fmla="*/ 0 w 6"/>
                  <a:gd name="T5" fmla="*/ 0 h 2"/>
                  <a:gd name="T6" fmla="*/ 0 w 6"/>
                  <a:gd name="T7" fmla="*/ 0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0 h 2"/>
                  <a:gd name="T22" fmla="*/ 0 w 6"/>
                  <a:gd name="T23" fmla="*/ 0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0"/>
                    </a:lnTo>
                    <a:lnTo>
                      <a:pt x="0" y="0"/>
                    </a:lnTo>
                    <a:lnTo>
                      <a:pt x="2" y="2"/>
                    </a:lnTo>
                    <a:lnTo>
                      <a:pt x="2" y="2"/>
                    </a:lnTo>
                    <a:lnTo>
                      <a:pt x="6" y="0"/>
                    </a:lnTo>
                    <a:lnTo>
                      <a:pt x="6"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4" name="Freeform 1251"/>
              <p:cNvSpPr>
                <a:spLocks/>
              </p:cNvSpPr>
              <p:nvPr/>
            </p:nvSpPr>
            <p:spPr bwMode="auto">
              <a:xfrm>
                <a:off x="4432" y="2042"/>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5" name="Freeform 1252"/>
              <p:cNvSpPr>
                <a:spLocks/>
              </p:cNvSpPr>
              <p:nvPr/>
            </p:nvSpPr>
            <p:spPr bwMode="auto">
              <a:xfrm>
                <a:off x="4438" y="20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6" name="Freeform 1253"/>
              <p:cNvSpPr>
                <a:spLocks/>
              </p:cNvSpPr>
              <p:nvPr/>
            </p:nvSpPr>
            <p:spPr bwMode="auto">
              <a:xfrm>
                <a:off x="4432" y="2030"/>
                <a:ext cx="2" cy="12"/>
              </a:xfrm>
              <a:custGeom>
                <a:avLst/>
                <a:gdLst>
                  <a:gd name="T0" fmla="*/ 2 w 2"/>
                  <a:gd name="T1" fmla="*/ 0 h 12"/>
                  <a:gd name="T2" fmla="*/ 2 w 2"/>
                  <a:gd name="T3" fmla="*/ 0 h 12"/>
                  <a:gd name="T4" fmla="*/ 0 w 2"/>
                  <a:gd name="T5" fmla="*/ 8 h 12"/>
                  <a:gd name="T6" fmla="*/ 0 w 2"/>
                  <a:gd name="T7" fmla="*/ 8 h 12"/>
                  <a:gd name="T8" fmla="*/ 0 w 2"/>
                  <a:gd name="T9" fmla="*/ 12 h 12"/>
                  <a:gd name="T10" fmla="*/ 0 w 2"/>
                  <a:gd name="T11" fmla="*/ 12 h 12"/>
                  <a:gd name="T12" fmla="*/ 0 w 2"/>
                  <a:gd name="T13" fmla="*/ 8 h 12"/>
                  <a:gd name="T14" fmla="*/ 0 w 2"/>
                  <a:gd name="T15" fmla="*/ 8 h 12"/>
                  <a:gd name="T16" fmla="*/ 2 w 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2">
                    <a:moveTo>
                      <a:pt x="2" y="0"/>
                    </a:moveTo>
                    <a:lnTo>
                      <a:pt x="2" y="0"/>
                    </a:lnTo>
                    <a:lnTo>
                      <a:pt x="0" y="8"/>
                    </a:lnTo>
                    <a:lnTo>
                      <a:pt x="0" y="8"/>
                    </a:lnTo>
                    <a:lnTo>
                      <a:pt x="0" y="12"/>
                    </a:lnTo>
                    <a:lnTo>
                      <a:pt x="0" y="12"/>
                    </a:lnTo>
                    <a:lnTo>
                      <a:pt x="0" y="8"/>
                    </a:lnTo>
                    <a:lnTo>
                      <a:pt x="0" y="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7" name="Freeform 1254"/>
              <p:cNvSpPr>
                <a:spLocks/>
              </p:cNvSpPr>
              <p:nvPr/>
            </p:nvSpPr>
            <p:spPr bwMode="auto">
              <a:xfrm>
                <a:off x="4434" y="2028"/>
                <a:ext cx="2" cy="0"/>
              </a:xfrm>
              <a:custGeom>
                <a:avLst/>
                <a:gdLst>
                  <a:gd name="T0" fmla="*/ 2 w 2"/>
                  <a:gd name="T1" fmla="*/ 2 w 2"/>
                  <a:gd name="T2" fmla="*/ 0 w 2"/>
                  <a:gd name="T3" fmla="*/ 0 w 2"/>
                  <a:gd name="T4" fmla="*/ 0 w 2"/>
                  <a:gd name="T5" fmla="*/ 0 w 2"/>
                  <a:gd name="T6" fmla="*/ 0 w 2"/>
                  <a:gd name="T7" fmla="*/ 0 w 2"/>
                  <a:gd name="T8" fmla="*/ 0 w 2"/>
                  <a:gd name="T9" fmla="*/ 0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8" name="Freeform 1255"/>
              <p:cNvSpPr>
                <a:spLocks noEditPoints="1"/>
              </p:cNvSpPr>
              <p:nvPr/>
            </p:nvSpPr>
            <p:spPr bwMode="auto">
              <a:xfrm>
                <a:off x="4542" y="2016"/>
                <a:ext cx="20" cy="14"/>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6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6"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9" name="Freeform 1256"/>
              <p:cNvSpPr>
                <a:spLocks/>
              </p:cNvSpPr>
              <p:nvPr/>
            </p:nvSpPr>
            <p:spPr bwMode="auto">
              <a:xfrm>
                <a:off x="4548" y="2022"/>
                <a:ext cx="6" cy="6"/>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0" name="Freeform 1257"/>
              <p:cNvSpPr>
                <a:spLocks/>
              </p:cNvSpPr>
              <p:nvPr/>
            </p:nvSpPr>
            <p:spPr bwMode="auto">
              <a:xfrm>
                <a:off x="4542" y="2016"/>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1" name="Freeform 1258"/>
              <p:cNvSpPr>
                <a:spLocks/>
              </p:cNvSpPr>
              <p:nvPr/>
            </p:nvSpPr>
            <p:spPr bwMode="auto">
              <a:xfrm>
                <a:off x="4496" y="2006"/>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0 h 18"/>
                  <a:gd name="T22" fmla="*/ 8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2" name="Freeform 1259"/>
              <p:cNvSpPr>
                <a:spLocks/>
              </p:cNvSpPr>
              <p:nvPr/>
            </p:nvSpPr>
            <p:spPr bwMode="auto">
              <a:xfrm>
                <a:off x="4496" y="2006"/>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0 h 18"/>
                  <a:gd name="T22" fmla="*/ 8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3" name="Freeform 1260"/>
              <p:cNvSpPr>
                <a:spLocks/>
              </p:cNvSpPr>
              <p:nvPr/>
            </p:nvSpPr>
            <p:spPr bwMode="auto">
              <a:xfrm>
                <a:off x="4592" y="200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4" name="Freeform 1261"/>
              <p:cNvSpPr>
                <a:spLocks/>
              </p:cNvSpPr>
              <p:nvPr/>
            </p:nvSpPr>
            <p:spPr bwMode="auto">
              <a:xfrm>
                <a:off x="4592" y="200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5" name="Freeform 1262"/>
              <p:cNvSpPr>
                <a:spLocks/>
              </p:cNvSpPr>
              <p:nvPr/>
            </p:nvSpPr>
            <p:spPr bwMode="auto">
              <a:xfrm>
                <a:off x="4538"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6" name="Freeform 1263"/>
              <p:cNvSpPr>
                <a:spLocks/>
              </p:cNvSpPr>
              <p:nvPr/>
            </p:nvSpPr>
            <p:spPr bwMode="auto">
              <a:xfrm>
                <a:off x="4538"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7" name="Freeform 1264"/>
              <p:cNvSpPr>
                <a:spLocks/>
              </p:cNvSpPr>
              <p:nvPr/>
            </p:nvSpPr>
            <p:spPr bwMode="auto">
              <a:xfrm>
                <a:off x="455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8" name="Freeform 1265"/>
              <p:cNvSpPr>
                <a:spLocks/>
              </p:cNvSpPr>
              <p:nvPr/>
            </p:nvSpPr>
            <p:spPr bwMode="auto">
              <a:xfrm>
                <a:off x="455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9" name="Freeform 1266"/>
              <p:cNvSpPr>
                <a:spLocks/>
              </p:cNvSpPr>
              <p:nvPr/>
            </p:nvSpPr>
            <p:spPr bwMode="auto">
              <a:xfrm>
                <a:off x="4548"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0" name="Freeform 1267"/>
              <p:cNvSpPr>
                <a:spLocks/>
              </p:cNvSpPr>
              <p:nvPr/>
            </p:nvSpPr>
            <p:spPr bwMode="auto">
              <a:xfrm>
                <a:off x="4548"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1" name="Freeform 1268"/>
              <p:cNvSpPr>
                <a:spLocks/>
              </p:cNvSpPr>
              <p:nvPr/>
            </p:nvSpPr>
            <p:spPr bwMode="auto">
              <a:xfrm>
                <a:off x="4548"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2" name="Freeform 1269"/>
              <p:cNvSpPr>
                <a:spLocks/>
              </p:cNvSpPr>
              <p:nvPr/>
            </p:nvSpPr>
            <p:spPr bwMode="auto">
              <a:xfrm>
                <a:off x="4548"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3" name="Freeform 1270"/>
              <p:cNvSpPr>
                <a:spLocks/>
              </p:cNvSpPr>
              <p:nvPr/>
            </p:nvSpPr>
            <p:spPr bwMode="auto">
              <a:xfrm>
                <a:off x="5072"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4" name="Freeform 1271"/>
              <p:cNvSpPr>
                <a:spLocks/>
              </p:cNvSpPr>
              <p:nvPr/>
            </p:nvSpPr>
            <p:spPr bwMode="auto">
              <a:xfrm>
                <a:off x="530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5" name="Freeform 1272"/>
              <p:cNvSpPr>
                <a:spLocks/>
              </p:cNvSpPr>
              <p:nvPr/>
            </p:nvSpPr>
            <p:spPr bwMode="auto">
              <a:xfrm>
                <a:off x="54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6" name="Freeform 1273"/>
              <p:cNvSpPr>
                <a:spLocks/>
              </p:cNvSpPr>
              <p:nvPr/>
            </p:nvSpPr>
            <p:spPr bwMode="auto">
              <a:xfrm>
                <a:off x="5492"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7" name="Freeform 1274"/>
              <p:cNvSpPr>
                <a:spLocks/>
              </p:cNvSpPr>
              <p:nvPr/>
            </p:nvSpPr>
            <p:spPr bwMode="auto">
              <a:xfrm>
                <a:off x="5162"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8" name="Freeform 1275"/>
              <p:cNvSpPr>
                <a:spLocks/>
              </p:cNvSpPr>
              <p:nvPr/>
            </p:nvSpPr>
            <p:spPr bwMode="auto">
              <a:xfrm>
                <a:off x="5162"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9" name="Freeform 1276"/>
              <p:cNvSpPr>
                <a:spLocks/>
              </p:cNvSpPr>
              <p:nvPr/>
            </p:nvSpPr>
            <p:spPr bwMode="auto">
              <a:xfrm>
                <a:off x="5222" y="19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0" name="Freeform 1277"/>
              <p:cNvSpPr>
                <a:spLocks/>
              </p:cNvSpPr>
              <p:nvPr/>
            </p:nvSpPr>
            <p:spPr bwMode="auto">
              <a:xfrm>
                <a:off x="5222" y="19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1" name="Freeform 1278"/>
              <p:cNvSpPr>
                <a:spLocks noEditPoints="1"/>
              </p:cNvSpPr>
              <p:nvPr/>
            </p:nvSpPr>
            <p:spPr bwMode="auto">
              <a:xfrm>
                <a:off x="5582" y="19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2" name="Freeform 1279"/>
              <p:cNvSpPr>
                <a:spLocks noEditPoints="1"/>
              </p:cNvSpPr>
              <p:nvPr/>
            </p:nvSpPr>
            <p:spPr bwMode="auto">
              <a:xfrm>
                <a:off x="5720" y="19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3" name="Freeform 1280"/>
              <p:cNvSpPr>
                <a:spLocks/>
              </p:cNvSpPr>
              <p:nvPr/>
            </p:nvSpPr>
            <p:spPr bwMode="auto">
              <a:xfrm>
                <a:off x="585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4" name="Freeform 1281"/>
              <p:cNvSpPr>
                <a:spLocks/>
              </p:cNvSpPr>
              <p:nvPr/>
            </p:nvSpPr>
            <p:spPr bwMode="auto">
              <a:xfrm>
                <a:off x="5948"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5" name="Freeform 1282"/>
              <p:cNvSpPr>
                <a:spLocks/>
              </p:cNvSpPr>
              <p:nvPr/>
            </p:nvSpPr>
            <p:spPr bwMode="auto">
              <a:xfrm>
                <a:off x="6040"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6" name="Freeform 1283"/>
              <p:cNvSpPr>
                <a:spLocks noEditPoints="1"/>
              </p:cNvSpPr>
              <p:nvPr/>
            </p:nvSpPr>
            <p:spPr bwMode="auto">
              <a:xfrm>
                <a:off x="5670" y="1762"/>
                <a:ext cx="100" cy="150"/>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7" name="Freeform 1284"/>
              <p:cNvSpPr>
                <a:spLocks/>
              </p:cNvSpPr>
              <p:nvPr/>
            </p:nvSpPr>
            <p:spPr bwMode="auto">
              <a:xfrm>
                <a:off x="581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8" name="Freeform 1285"/>
              <p:cNvSpPr>
                <a:spLocks/>
              </p:cNvSpPr>
              <p:nvPr/>
            </p:nvSpPr>
            <p:spPr bwMode="auto">
              <a:xfrm>
                <a:off x="590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9" name="Freeform 1286"/>
              <p:cNvSpPr>
                <a:spLocks/>
              </p:cNvSpPr>
              <p:nvPr/>
            </p:nvSpPr>
            <p:spPr bwMode="auto">
              <a:xfrm>
                <a:off x="5994"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0" name="Freeform 1287"/>
              <p:cNvSpPr>
                <a:spLocks/>
              </p:cNvSpPr>
              <p:nvPr/>
            </p:nvSpPr>
            <p:spPr bwMode="auto">
              <a:xfrm>
                <a:off x="608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1" name="Freeform 1288"/>
              <p:cNvSpPr>
                <a:spLocks/>
              </p:cNvSpPr>
              <p:nvPr/>
            </p:nvSpPr>
            <p:spPr bwMode="auto">
              <a:xfrm>
                <a:off x="632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2" name="Freeform 1289"/>
              <p:cNvSpPr>
                <a:spLocks/>
              </p:cNvSpPr>
              <p:nvPr/>
            </p:nvSpPr>
            <p:spPr bwMode="auto">
              <a:xfrm>
                <a:off x="642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3" name="Freeform 1290"/>
              <p:cNvSpPr>
                <a:spLocks/>
              </p:cNvSpPr>
              <p:nvPr/>
            </p:nvSpPr>
            <p:spPr bwMode="auto">
              <a:xfrm>
                <a:off x="651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4" name="Freeform 1291"/>
              <p:cNvSpPr>
                <a:spLocks/>
              </p:cNvSpPr>
              <p:nvPr/>
            </p:nvSpPr>
            <p:spPr bwMode="auto">
              <a:xfrm>
                <a:off x="6608"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5" name="Freeform 1292"/>
              <p:cNvSpPr>
                <a:spLocks/>
              </p:cNvSpPr>
              <p:nvPr/>
            </p:nvSpPr>
            <p:spPr bwMode="auto">
              <a:xfrm>
                <a:off x="6178"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6" name="Freeform 1293"/>
              <p:cNvSpPr>
                <a:spLocks/>
              </p:cNvSpPr>
              <p:nvPr/>
            </p:nvSpPr>
            <p:spPr bwMode="auto">
              <a:xfrm>
                <a:off x="6178"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7" name="Freeform 1294"/>
              <p:cNvSpPr>
                <a:spLocks/>
              </p:cNvSpPr>
              <p:nvPr/>
            </p:nvSpPr>
            <p:spPr bwMode="auto">
              <a:xfrm>
                <a:off x="6240"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8" name="Freeform 1295"/>
              <p:cNvSpPr>
                <a:spLocks/>
              </p:cNvSpPr>
              <p:nvPr/>
            </p:nvSpPr>
            <p:spPr bwMode="auto">
              <a:xfrm>
                <a:off x="6240"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9" name="Freeform 1296"/>
              <p:cNvSpPr>
                <a:spLocks/>
              </p:cNvSpPr>
              <p:nvPr/>
            </p:nvSpPr>
            <p:spPr bwMode="auto">
              <a:xfrm>
                <a:off x="6928"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0" name="Freeform 1297"/>
              <p:cNvSpPr>
                <a:spLocks/>
              </p:cNvSpPr>
              <p:nvPr/>
            </p:nvSpPr>
            <p:spPr bwMode="auto">
              <a:xfrm>
                <a:off x="6928"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1" name="Freeform 1298"/>
              <p:cNvSpPr>
                <a:spLocks/>
              </p:cNvSpPr>
              <p:nvPr/>
            </p:nvSpPr>
            <p:spPr bwMode="auto">
              <a:xfrm>
                <a:off x="6990"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2" name="Freeform 1299"/>
              <p:cNvSpPr>
                <a:spLocks/>
              </p:cNvSpPr>
              <p:nvPr/>
            </p:nvSpPr>
            <p:spPr bwMode="auto">
              <a:xfrm>
                <a:off x="6990"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3" name="Freeform 1300"/>
              <p:cNvSpPr>
                <a:spLocks/>
              </p:cNvSpPr>
              <p:nvPr/>
            </p:nvSpPr>
            <p:spPr bwMode="auto">
              <a:xfrm>
                <a:off x="7076"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4" name="Freeform 1301"/>
              <p:cNvSpPr>
                <a:spLocks/>
              </p:cNvSpPr>
              <p:nvPr/>
            </p:nvSpPr>
            <p:spPr bwMode="auto">
              <a:xfrm>
                <a:off x="717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5" name="Freeform 1302"/>
              <p:cNvSpPr>
                <a:spLocks/>
              </p:cNvSpPr>
              <p:nvPr/>
            </p:nvSpPr>
            <p:spPr bwMode="auto">
              <a:xfrm>
                <a:off x="7262"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6" name="Freeform 1303"/>
              <p:cNvSpPr>
                <a:spLocks/>
              </p:cNvSpPr>
              <p:nvPr/>
            </p:nvSpPr>
            <p:spPr bwMode="auto">
              <a:xfrm>
                <a:off x="750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7" name="Freeform 1304"/>
              <p:cNvSpPr>
                <a:spLocks/>
              </p:cNvSpPr>
              <p:nvPr/>
            </p:nvSpPr>
            <p:spPr bwMode="auto">
              <a:xfrm>
                <a:off x="7354" y="1766"/>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8" name="Freeform 1305"/>
              <p:cNvSpPr>
                <a:spLocks/>
              </p:cNvSpPr>
              <p:nvPr/>
            </p:nvSpPr>
            <p:spPr bwMode="auto">
              <a:xfrm>
                <a:off x="7354" y="1766"/>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9" name="Freeform 1306"/>
              <p:cNvSpPr>
                <a:spLocks/>
              </p:cNvSpPr>
              <p:nvPr/>
            </p:nvSpPr>
            <p:spPr bwMode="auto">
              <a:xfrm>
                <a:off x="7414"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0" name="Freeform 1307"/>
              <p:cNvSpPr>
                <a:spLocks/>
              </p:cNvSpPr>
              <p:nvPr/>
            </p:nvSpPr>
            <p:spPr bwMode="auto">
              <a:xfrm>
                <a:off x="7414"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1" name="Freeform 1308"/>
              <p:cNvSpPr>
                <a:spLocks noEditPoints="1"/>
              </p:cNvSpPr>
              <p:nvPr/>
            </p:nvSpPr>
            <p:spPr bwMode="auto">
              <a:xfrm>
                <a:off x="5660" y="1576"/>
                <a:ext cx="188" cy="146"/>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2" name="Freeform 1309"/>
              <p:cNvSpPr>
                <a:spLocks/>
              </p:cNvSpPr>
              <p:nvPr/>
            </p:nvSpPr>
            <p:spPr bwMode="auto">
              <a:xfrm>
                <a:off x="5764" y="1680"/>
                <a:ext cx="16" cy="28"/>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3" name="Freeform 1310"/>
              <p:cNvSpPr>
                <a:spLocks/>
              </p:cNvSpPr>
              <p:nvPr/>
            </p:nvSpPr>
            <p:spPr bwMode="auto">
              <a:xfrm>
                <a:off x="5666" y="1676"/>
                <a:ext cx="18" cy="24"/>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4" name="Freeform 1311"/>
              <p:cNvSpPr>
                <a:spLocks/>
              </p:cNvSpPr>
              <p:nvPr/>
            </p:nvSpPr>
            <p:spPr bwMode="auto">
              <a:xfrm>
                <a:off x="5662" y="1626"/>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5" name="Freeform 1312"/>
              <p:cNvSpPr>
                <a:spLocks/>
              </p:cNvSpPr>
              <p:nvPr/>
            </p:nvSpPr>
            <p:spPr bwMode="auto">
              <a:xfrm>
                <a:off x="5676" y="1580"/>
                <a:ext cx="170" cy="138"/>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6" name="Freeform 1313"/>
              <p:cNvSpPr>
                <a:spLocks/>
              </p:cNvSpPr>
              <p:nvPr/>
            </p:nvSpPr>
            <p:spPr bwMode="auto">
              <a:xfrm>
                <a:off x="5660" y="1576"/>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7" name="Freeform 1314"/>
              <p:cNvSpPr>
                <a:spLocks/>
              </p:cNvSpPr>
              <p:nvPr/>
            </p:nvSpPr>
            <p:spPr bwMode="auto">
              <a:xfrm>
                <a:off x="5666"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8" name="Freeform 1315"/>
              <p:cNvSpPr>
                <a:spLocks/>
              </p:cNvSpPr>
              <p:nvPr/>
            </p:nvSpPr>
            <p:spPr bwMode="auto">
              <a:xfrm>
                <a:off x="5666"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9" name="Freeform 1316"/>
              <p:cNvSpPr>
                <a:spLocks/>
              </p:cNvSpPr>
              <p:nvPr/>
            </p:nvSpPr>
            <p:spPr bwMode="auto">
              <a:xfrm>
                <a:off x="5668"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0" name="Freeform 1317"/>
              <p:cNvSpPr>
                <a:spLocks/>
              </p:cNvSpPr>
              <p:nvPr/>
            </p:nvSpPr>
            <p:spPr bwMode="auto">
              <a:xfrm>
                <a:off x="5668"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1" name="Freeform 1318"/>
              <p:cNvSpPr>
                <a:spLocks/>
              </p:cNvSpPr>
              <p:nvPr/>
            </p:nvSpPr>
            <p:spPr bwMode="auto">
              <a:xfrm>
                <a:off x="5764" y="1680"/>
                <a:ext cx="16" cy="28"/>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2" name="Freeform 1319"/>
              <p:cNvSpPr>
                <a:spLocks/>
              </p:cNvSpPr>
              <p:nvPr/>
            </p:nvSpPr>
            <p:spPr bwMode="auto">
              <a:xfrm>
                <a:off x="5764" y="1680"/>
                <a:ext cx="16" cy="28"/>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3" name="Freeform 1320"/>
              <p:cNvSpPr>
                <a:spLocks/>
              </p:cNvSpPr>
              <p:nvPr/>
            </p:nvSpPr>
            <p:spPr bwMode="auto">
              <a:xfrm>
                <a:off x="5768" y="1680"/>
                <a:ext cx="10" cy="18"/>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4" name="Freeform 1321"/>
              <p:cNvSpPr>
                <a:spLocks/>
              </p:cNvSpPr>
              <p:nvPr/>
            </p:nvSpPr>
            <p:spPr bwMode="auto">
              <a:xfrm>
                <a:off x="5768" y="1680"/>
                <a:ext cx="10" cy="18"/>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5" name="Freeform 1322"/>
              <p:cNvSpPr>
                <a:spLocks/>
              </p:cNvSpPr>
              <p:nvPr/>
            </p:nvSpPr>
            <p:spPr bwMode="auto">
              <a:xfrm>
                <a:off x="5662" y="1626"/>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6" name="Freeform 1323"/>
              <p:cNvSpPr>
                <a:spLocks/>
              </p:cNvSpPr>
              <p:nvPr/>
            </p:nvSpPr>
            <p:spPr bwMode="auto">
              <a:xfrm>
                <a:off x="5662" y="1626"/>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7" name="Freeform 1324"/>
              <p:cNvSpPr>
                <a:spLocks noEditPoints="1"/>
              </p:cNvSpPr>
              <p:nvPr/>
            </p:nvSpPr>
            <p:spPr bwMode="auto">
              <a:xfrm>
                <a:off x="5666" y="1626"/>
                <a:ext cx="8" cy="2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8" name="Freeform 1325"/>
              <p:cNvSpPr>
                <a:spLocks/>
              </p:cNvSpPr>
              <p:nvPr/>
            </p:nvSpPr>
            <p:spPr bwMode="auto">
              <a:xfrm>
                <a:off x="5666" y="1644"/>
                <a:ext cx="6" cy="2"/>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9" name="Freeform 1326"/>
              <p:cNvSpPr>
                <a:spLocks/>
              </p:cNvSpPr>
              <p:nvPr/>
            </p:nvSpPr>
            <p:spPr bwMode="auto">
              <a:xfrm>
                <a:off x="5668" y="164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0" name="Freeform 1327"/>
              <p:cNvSpPr>
                <a:spLocks/>
              </p:cNvSpPr>
              <p:nvPr/>
            </p:nvSpPr>
            <p:spPr bwMode="auto">
              <a:xfrm>
                <a:off x="5672"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1" name="Freeform 1328"/>
              <p:cNvSpPr>
                <a:spLocks/>
              </p:cNvSpPr>
              <p:nvPr/>
            </p:nvSpPr>
            <p:spPr bwMode="auto">
              <a:xfrm>
                <a:off x="5666" y="1628"/>
                <a:ext cx="2" cy="14"/>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2" name="Freeform 1329"/>
              <p:cNvSpPr>
                <a:spLocks/>
              </p:cNvSpPr>
              <p:nvPr/>
            </p:nvSpPr>
            <p:spPr bwMode="auto">
              <a:xfrm>
                <a:off x="5668" y="1626"/>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3" name="Freeform 1330"/>
              <p:cNvSpPr>
                <a:spLocks noEditPoints="1"/>
              </p:cNvSpPr>
              <p:nvPr/>
            </p:nvSpPr>
            <p:spPr bwMode="auto">
              <a:xfrm>
                <a:off x="5776" y="1616"/>
                <a:ext cx="20" cy="12"/>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4" name="Freeform 1331"/>
              <p:cNvSpPr>
                <a:spLocks/>
              </p:cNvSpPr>
              <p:nvPr/>
            </p:nvSpPr>
            <p:spPr bwMode="auto">
              <a:xfrm>
                <a:off x="5782" y="1622"/>
                <a:ext cx="6" cy="4"/>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5" name="Freeform 1332"/>
              <p:cNvSpPr>
                <a:spLocks/>
              </p:cNvSpPr>
              <p:nvPr/>
            </p:nvSpPr>
            <p:spPr bwMode="auto">
              <a:xfrm>
                <a:off x="5776" y="1616"/>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6" name="Freeform 1333"/>
              <p:cNvSpPr>
                <a:spLocks/>
              </p:cNvSpPr>
              <p:nvPr/>
            </p:nvSpPr>
            <p:spPr bwMode="auto">
              <a:xfrm>
                <a:off x="5730"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7" name="Freeform 1334"/>
              <p:cNvSpPr>
                <a:spLocks/>
              </p:cNvSpPr>
              <p:nvPr/>
            </p:nvSpPr>
            <p:spPr bwMode="auto">
              <a:xfrm>
                <a:off x="5730"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8" name="Freeform 1335"/>
              <p:cNvSpPr>
                <a:spLocks/>
              </p:cNvSpPr>
              <p:nvPr/>
            </p:nvSpPr>
            <p:spPr bwMode="auto">
              <a:xfrm>
                <a:off x="5826"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9" name="Freeform 1336"/>
              <p:cNvSpPr>
                <a:spLocks/>
              </p:cNvSpPr>
              <p:nvPr/>
            </p:nvSpPr>
            <p:spPr bwMode="auto">
              <a:xfrm>
                <a:off x="5826"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0" name="Freeform 1337"/>
              <p:cNvSpPr>
                <a:spLocks/>
              </p:cNvSpPr>
              <p:nvPr/>
            </p:nvSpPr>
            <p:spPr bwMode="auto">
              <a:xfrm>
                <a:off x="5772"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1" name="Freeform 1338"/>
              <p:cNvSpPr>
                <a:spLocks/>
              </p:cNvSpPr>
              <p:nvPr/>
            </p:nvSpPr>
            <p:spPr bwMode="auto">
              <a:xfrm>
                <a:off x="5772"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2" name="Freeform 1339"/>
              <p:cNvSpPr>
                <a:spLocks/>
              </p:cNvSpPr>
              <p:nvPr/>
            </p:nvSpPr>
            <p:spPr bwMode="auto">
              <a:xfrm>
                <a:off x="5786"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3" name="Freeform 1340"/>
              <p:cNvSpPr>
                <a:spLocks/>
              </p:cNvSpPr>
              <p:nvPr/>
            </p:nvSpPr>
            <p:spPr bwMode="auto">
              <a:xfrm>
                <a:off x="5786"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4" name="Freeform 1341"/>
              <p:cNvSpPr>
                <a:spLocks/>
              </p:cNvSpPr>
              <p:nvPr/>
            </p:nvSpPr>
            <p:spPr bwMode="auto">
              <a:xfrm>
                <a:off x="5782"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5" name="Freeform 1342"/>
              <p:cNvSpPr>
                <a:spLocks/>
              </p:cNvSpPr>
              <p:nvPr/>
            </p:nvSpPr>
            <p:spPr bwMode="auto">
              <a:xfrm>
                <a:off x="5782"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6" name="Freeform 1343"/>
              <p:cNvSpPr>
                <a:spLocks noEditPoints="1"/>
              </p:cNvSpPr>
              <p:nvPr/>
            </p:nvSpPr>
            <p:spPr bwMode="auto">
              <a:xfrm>
                <a:off x="5784" y="162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7" name="Freeform 1344"/>
              <p:cNvSpPr>
                <a:spLocks/>
              </p:cNvSpPr>
              <p:nvPr/>
            </p:nvSpPr>
            <p:spPr bwMode="auto">
              <a:xfrm>
                <a:off x="5784" y="162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8" name="Freeform 1345"/>
              <p:cNvSpPr>
                <a:spLocks/>
              </p:cNvSpPr>
              <p:nvPr/>
            </p:nvSpPr>
            <p:spPr bwMode="auto">
              <a:xfrm>
                <a:off x="5784"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9" name="Freeform 1346"/>
              <p:cNvSpPr>
                <a:spLocks noEditPoints="1"/>
              </p:cNvSpPr>
              <p:nvPr/>
            </p:nvSpPr>
            <p:spPr bwMode="auto">
              <a:xfrm>
                <a:off x="6700" y="1766"/>
                <a:ext cx="188" cy="144"/>
              </a:xfrm>
              <a:custGeom>
                <a:avLst/>
                <a:gdLst>
                  <a:gd name="T0" fmla="*/ 116 w 188"/>
                  <a:gd name="T1" fmla="*/ 102 h 144"/>
                  <a:gd name="T2" fmla="*/ 112 w 188"/>
                  <a:gd name="T3" fmla="*/ 130 h 144"/>
                  <a:gd name="T4" fmla="*/ 22 w 188"/>
                  <a:gd name="T5" fmla="*/ 116 h 144"/>
                  <a:gd name="T6" fmla="*/ 18 w 188"/>
                  <a:gd name="T7" fmla="*/ 122 h 144"/>
                  <a:gd name="T8" fmla="*/ 8 w 188"/>
                  <a:gd name="T9" fmla="*/ 104 h 144"/>
                  <a:gd name="T10" fmla="*/ 6 w 188"/>
                  <a:gd name="T11" fmla="*/ 64 h 144"/>
                  <a:gd name="T12" fmla="*/ 12 w 188"/>
                  <a:gd name="T13" fmla="*/ 64 h 144"/>
                  <a:gd name="T14" fmla="*/ 6 w 188"/>
                  <a:gd name="T15" fmla="*/ 68 h 144"/>
                  <a:gd name="T16" fmla="*/ 6 w 188"/>
                  <a:gd name="T17" fmla="*/ 48 h 144"/>
                  <a:gd name="T18" fmla="*/ 84 w 188"/>
                  <a:gd name="T19" fmla="*/ 14 h 144"/>
                  <a:gd name="T20" fmla="*/ 128 w 188"/>
                  <a:gd name="T21" fmla="*/ 6 h 144"/>
                  <a:gd name="T22" fmla="*/ 158 w 188"/>
                  <a:gd name="T23" fmla="*/ 32 h 144"/>
                  <a:gd name="T24" fmla="*/ 158 w 188"/>
                  <a:gd name="T25" fmla="*/ 42 h 144"/>
                  <a:gd name="T26" fmla="*/ 152 w 188"/>
                  <a:gd name="T27" fmla="*/ 44 h 144"/>
                  <a:gd name="T28" fmla="*/ 158 w 188"/>
                  <a:gd name="T29" fmla="*/ 46 h 144"/>
                  <a:gd name="T30" fmla="*/ 160 w 188"/>
                  <a:gd name="T31" fmla="*/ 40 h 144"/>
                  <a:gd name="T32" fmla="*/ 176 w 188"/>
                  <a:gd name="T33" fmla="*/ 26 h 144"/>
                  <a:gd name="T34" fmla="*/ 182 w 188"/>
                  <a:gd name="T35" fmla="*/ 68 h 144"/>
                  <a:gd name="T36" fmla="*/ 140 w 188"/>
                  <a:gd name="T37" fmla="*/ 84 h 144"/>
                  <a:gd name="T38" fmla="*/ 134 w 188"/>
                  <a:gd name="T39" fmla="*/ 98 h 144"/>
                  <a:gd name="T40" fmla="*/ 144 w 188"/>
                  <a:gd name="T41" fmla="*/ 88 h 144"/>
                  <a:gd name="T42" fmla="*/ 128 w 188"/>
                  <a:gd name="T43" fmla="*/ 100 h 144"/>
                  <a:gd name="T44" fmla="*/ 114 w 188"/>
                  <a:gd name="T45" fmla="*/ 94 h 144"/>
                  <a:gd name="T46" fmla="*/ 86 w 188"/>
                  <a:gd name="T47" fmla="*/ 138 h 144"/>
                  <a:gd name="T48" fmla="*/ 68 w 188"/>
                  <a:gd name="T49" fmla="*/ 128 h 144"/>
                  <a:gd name="T50" fmla="*/ 76 w 188"/>
                  <a:gd name="T51" fmla="*/ 112 h 144"/>
                  <a:gd name="T52" fmla="*/ 56 w 188"/>
                  <a:gd name="T53" fmla="*/ 114 h 144"/>
                  <a:gd name="T54" fmla="*/ 52 w 188"/>
                  <a:gd name="T55" fmla="*/ 122 h 144"/>
                  <a:gd name="T56" fmla="*/ 44 w 188"/>
                  <a:gd name="T57" fmla="*/ 138 h 144"/>
                  <a:gd name="T58" fmla="*/ 26 w 188"/>
                  <a:gd name="T59" fmla="*/ 120 h 144"/>
                  <a:gd name="T60" fmla="*/ 14 w 188"/>
                  <a:gd name="T61" fmla="*/ 76 h 144"/>
                  <a:gd name="T62" fmla="*/ 56 w 188"/>
                  <a:gd name="T63" fmla="*/ 34 h 144"/>
                  <a:gd name="T64" fmla="*/ 40 w 188"/>
                  <a:gd name="T65" fmla="*/ 60 h 144"/>
                  <a:gd name="T66" fmla="*/ 48 w 188"/>
                  <a:gd name="T67" fmla="*/ 86 h 144"/>
                  <a:gd name="T68" fmla="*/ 72 w 188"/>
                  <a:gd name="T69" fmla="*/ 94 h 144"/>
                  <a:gd name="T70" fmla="*/ 96 w 188"/>
                  <a:gd name="T71" fmla="*/ 70 h 144"/>
                  <a:gd name="T72" fmla="*/ 92 w 188"/>
                  <a:gd name="T73" fmla="*/ 80 h 144"/>
                  <a:gd name="T74" fmla="*/ 62 w 188"/>
                  <a:gd name="T75" fmla="*/ 94 h 144"/>
                  <a:gd name="T76" fmla="*/ 56 w 188"/>
                  <a:gd name="T77" fmla="*/ 76 h 144"/>
                  <a:gd name="T78" fmla="*/ 44 w 188"/>
                  <a:gd name="T79" fmla="*/ 62 h 144"/>
                  <a:gd name="T80" fmla="*/ 86 w 188"/>
                  <a:gd name="T81" fmla="*/ 20 h 144"/>
                  <a:gd name="T82" fmla="*/ 98 w 188"/>
                  <a:gd name="T83" fmla="*/ 2 h 144"/>
                  <a:gd name="T84" fmla="*/ 70 w 188"/>
                  <a:gd name="T85" fmla="*/ 22 h 144"/>
                  <a:gd name="T86" fmla="*/ 16 w 188"/>
                  <a:gd name="T87" fmla="*/ 54 h 144"/>
                  <a:gd name="T88" fmla="*/ 12 w 188"/>
                  <a:gd name="T89" fmla="*/ 54 h 144"/>
                  <a:gd name="T90" fmla="*/ 0 w 188"/>
                  <a:gd name="T91" fmla="*/ 56 h 144"/>
                  <a:gd name="T92" fmla="*/ 10 w 188"/>
                  <a:gd name="T93" fmla="*/ 84 h 144"/>
                  <a:gd name="T94" fmla="*/ 2 w 188"/>
                  <a:gd name="T95" fmla="*/ 112 h 144"/>
                  <a:gd name="T96" fmla="*/ 20 w 188"/>
                  <a:gd name="T97" fmla="*/ 130 h 144"/>
                  <a:gd name="T98" fmla="*/ 42 w 188"/>
                  <a:gd name="T99" fmla="*/ 142 h 144"/>
                  <a:gd name="T100" fmla="*/ 50 w 188"/>
                  <a:gd name="T101" fmla="*/ 130 h 144"/>
                  <a:gd name="T102" fmla="*/ 74 w 188"/>
                  <a:gd name="T103" fmla="*/ 142 h 144"/>
                  <a:gd name="T104" fmla="*/ 96 w 188"/>
                  <a:gd name="T105" fmla="*/ 132 h 144"/>
                  <a:gd name="T106" fmla="*/ 124 w 188"/>
                  <a:gd name="T107" fmla="*/ 126 h 144"/>
                  <a:gd name="T108" fmla="*/ 116 w 188"/>
                  <a:gd name="T109" fmla="*/ 94 h 144"/>
                  <a:gd name="T110" fmla="*/ 140 w 188"/>
                  <a:gd name="T111" fmla="*/ 102 h 144"/>
                  <a:gd name="T112" fmla="*/ 154 w 188"/>
                  <a:gd name="T113" fmla="*/ 90 h 144"/>
                  <a:gd name="T114" fmla="*/ 188 w 188"/>
                  <a:gd name="T115" fmla="*/ 58 h 144"/>
                  <a:gd name="T116" fmla="*/ 176 w 188"/>
                  <a:gd name="T117" fmla="*/ 22 h 144"/>
                  <a:gd name="T118" fmla="*/ 160 w 188"/>
                  <a:gd name="T119" fmla="*/ 30 h 144"/>
                  <a:gd name="T120" fmla="*/ 126 w 188"/>
                  <a:gd name="T121"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4">
                    <a:moveTo>
                      <a:pt x="108" y="120"/>
                    </a:moveTo>
                    <a:lnTo>
                      <a:pt x="108" y="120"/>
                    </a:lnTo>
                    <a:lnTo>
                      <a:pt x="116" y="102"/>
                    </a:lnTo>
                    <a:lnTo>
                      <a:pt x="116" y="102"/>
                    </a:lnTo>
                    <a:lnTo>
                      <a:pt x="116" y="102"/>
                    </a:lnTo>
                    <a:lnTo>
                      <a:pt x="116" y="102"/>
                    </a:lnTo>
                    <a:lnTo>
                      <a:pt x="116" y="102"/>
                    </a:lnTo>
                    <a:lnTo>
                      <a:pt x="116" y="102"/>
                    </a:lnTo>
                    <a:lnTo>
                      <a:pt x="118" y="112"/>
                    </a:lnTo>
                    <a:lnTo>
                      <a:pt x="118" y="112"/>
                    </a:lnTo>
                    <a:lnTo>
                      <a:pt x="120" y="126"/>
                    </a:lnTo>
                    <a:lnTo>
                      <a:pt x="120" y="126"/>
                    </a:lnTo>
                    <a:lnTo>
                      <a:pt x="118" y="128"/>
                    </a:lnTo>
                    <a:lnTo>
                      <a:pt x="118" y="128"/>
                    </a:lnTo>
                    <a:lnTo>
                      <a:pt x="112" y="130"/>
                    </a:lnTo>
                    <a:lnTo>
                      <a:pt x="112" y="130"/>
                    </a:lnTo>
                    <a:lnTo>
                      <a:pt x="102" y="128"/>
                    </a:lnTo>
                    <a:lnTo>
                      <a:pt x="102" y="128"/>
                    </a:lnTo>
                    <a:lnTo>
                      <a:pt x="108" y="120"/>
                    </a:lnTo>
                    <a:close/>
                    <a:moveTo>
                      <a:pt x="8" y="104"/>
                    </a:moveTo>
                    <a:lnTo>
                      <a:pt x="8" y="104"/>
                    </a:lnTo>
                    <a:lnTo>
                      <a:pt x="14" y="98"/>
                    </a:lnTo>
                    <a:lnTo>
                      <a:pt x="14" y="98"/>
                    </a:lnTo>
                    <a:lnTo>
                      <a:pt x="22" y="116"/>
                    </a:lnTo>
                    <a:lnTo>
                      <a:pt x="22" y="116"/>
                    </a:lnTo>
                    <a:lnTo>
                      <a:pt x="22" y="120"/>
                    </a:lnTo>
                    <a:lnTo>
                      <a:pt x="20" y="122"/>
                    </a:lnTo>
                    <a:lnTo>
                      <a:pt x="20" y="122"/>
                    </a:lnTo>
                    <a:lnTo>
                      <a:pt x="18" y="122"/>
                    </a:lnTo>
                    <a:lnTo>
                      <a:pt x="18" y="122"/>
                    </a:lnTo>
                    <a:lnTo>
                      <a:pt x="18" y="122"/>
                    </a:lnTo>
                    <a:lnTo>
                      <a:pt x="18" y="122"/>
                    </a:lnTo>
                    <a:lnTo>
                      <a:pt x="14" y="120"/>
                    </a:lnTo>
                    <a:lnTo>
                      <a:pt x="8" y="116"/>
                    </a:lnTo>
                    <a:lnTo>
                      <a:pt x="6" y="112"/>
                    </a:lnTo>
                    <a:lnTo>
                      <a:pt x="4" y="108"/>
                    </a:lnTo>
                    <a:lnTo>
                      <a:pt x="4" y="108"/>
                    </a:lnTo>
                    <a:lnTo>
                      <a:pt x="6" y="104"/>
                    </a:lnTo>
                    <a:lnTo>
                      <a:pt x="6" y="104"/>
                    </a:lnTo>
                    <a:lnTo>
                      <a:pt x="8" y="104"/>
                    </a:lnTo>
                    <a:close/>
                    <a:moveTo>
                      <a:pt x="8" y="48"/>
                    </a:moveTo>
                    <a:lnTo>
                      <a:pt x="8" y="48"/>
                    </a:lnTo>
                    <a:lnTo>
                      <a:pt x="8" y="48"/>
                    </a:lnTo>
                    <a:lnTo>
                      <a:pt x="8" y="48"/>
                    </a:lnTo>
                    <a:lnTo>
                      <a:pt x="4" y="60"/>
                    </a:lnTo>
                    <a:lnTo>
                      <a:pt x="4" y="60"/>
                    </a:lnTo>
                    <a:lnTo>
                      <a:pt x="6" y="64"/>
                    </a:lnTo>
                    <a:lnTo>
                      <a:pt x="6" y="64"/>
                    </a:lnTo>
                    <a:lnTo>
                      <a:pt x="8" y="64"/>
                    </a:lnTo>
                    <a:lnTo>
                      <a:pt x="8" y="64"/>
                    </a:lnTo>
                    <a:lnTo>
                      <a:pt x="10" y="64"/>
                    </a:lnTo>
                    <a:lnTo>
                      <a:pt x="10" y="64"/>
                    </a:lnTo>
                    <a:lnTo>
                      <a:pt x="12" y="62"/>
                    </a:lnTo>
                    <a:lnTo>
                      <a:pt x="12" y="62"/>
                    </a:lnTo>
                    <a:lnTo>
                      <a:pt x="12" y="64"/>
                    </a:lnTo>
                    <a:lnTo>
                      <a:pt x="12" y="64"/>
                    </a:lnTo>
                    <a:lnTo>
                      <a:pt x="14" y="62"/>
                    </a:lnTo>
                    <a:lnTo>
                      <a:pt x="14" y="62"/>
                    </a:lnTo>
                    <a:lnTo>
                      <a:pt x="12" y="66"/>
                    </a:lnTo>
                    <a:lnTo>
                      <a:pt x="8" y="68"/>
                    </a:lnTo>
                    <a:lnTo>
                      <a:pt x="8" y="68"/>
                    </a:lnTo>
                    <a:lnTo>
                      <a:pt x="8" y="68"/>
                    </a:lnTo>
                    <a:lnTo>
                      <a:pt x="8" y="68"/>
                    </a:lnTo>
                    <a:lnTo>
                      <a:pt x="6" y="68"/>
                    </a:lnTo>
                    <a:lnTo>
                      <a:pt x="6" y="68"/>
                    </a:lnTo>
                    <a:lnTo>
                      <a:pt x="4" y="66"/>
                    </a:lnTo>
                    <a:lnTo>
                      <a:pt x="2" y="60"/>
                    </a:lnTo>
                    <a:lnTo>
                      <a:pt x="2" y="56"/>
                    </a:lnTo>
                    <a:lnTo>
                      <a:pt x="2" y="54"/>
                    </a:lnTo>
                    <a:lnTo>
                      <a:pt x="2" y="54"/>
                    </a:lnTo>
                    <a:lnTo>
                      <a:pt x="6" y="48"/>
                    </a:lnTo>
                    <a:lnTo>
                      <a:pt x="6" y="48"/>
                    </a:lnTo>
                    <a:lnTo>
                      <a:pt x="8" y="48"/>
                    </a:lnTo>
                    <a:lnTo>
                      <a:pt x="8" y="48"/>
                    </a:lnTo>
                    <a:lnTo>
                      <a:pt x="8" y="48"/>
                    </a:lnTo>
                    <a:lnTo>
                      <a:pt x="8" y="48"/>
                    </a:lnTo>
                    <a:lnTo>
                      <a:pt x="8" y="48"/>
                    </a:lnTo>
                    <a:close/>
                    <a:moveTo>
                      <a:pt x="82" y="18"/>
                    </a:moveTo>
                    <a:lnTo>
                      <a:pt x="82" y="18"/>
                    </a:lnTo>
                    <a:lnTo>
                      <a:pt x="84" y="14"/>
                    </a:lnTo>
                    <a:lnTo>
                      <a:pt x="88" y="12"/>
                    </a:lnTo>
                    <a:lnTo>
                      <a:pt x="96" y="6"/>
                    </a:lnTo>
                    <a:lnTo>
                      <a:pt x="96" y="6"/>
                    </a:lnTo>
                    <a:lnTo>
                      <a:pt x="114" y="2"/>
                    </a:lnTo>
                    <a:lnTo>
                      <a:pt x="114" y="2"/>
                    </a:lnTo>
                    <a:lnTo>
                      <a:pt x="122" y="4"/>
                    </a:lnTo>
                    <a:lnTo>
                      <a:pt x="128" y="6"/>
                    </a:lnTo>
                    <a:lnTo>
                      <a:pt x="128" y="6"/>
                    </a:lnTo>
                    <a:lnTo>
                      <a:pt x="144" y="18"/>
                    </a:lnTo>
                    <a:lnTo>
                      <a:pt x="144" y="18"/>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4"/>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6" y="46"/>
                    </a:lnTo>
                    <a:lnTo>
                      <a:pt x="156" y="46"/>
                    </a:lnTo>
                    <a:lnTo>
                      <a:pt x="158" y="46"/>
                    </a:lnTo>
                    <a:lnTo>
                      <a:pt x="158" y="46"/>
                    </a:lnTo>
                    <a:lnTo>
                      <a:pt x="160" y="48"/>
                    </a:lnTo>
                    <a:lnTo>
                      <a:pt x="160" y="48"/>
                    </a:lnTo>
                    <a:lnTo>
                      <a:pt x="158" y="60"/>
                    </a:lnTo>
                    <a:lnTo>
                      <a:pt x="158" y="60"/>
                    </a:lnTo>
                    <a:lnTo>
                      <a:pt x="160" y="50"/>
                    </a:lnTo>
                    <a:lnTo>
                      <a:pt x="160" y="40"/>
                    </a:lnTo>
                    <a:lnTo>
                      <a:pt x="160" y="40"/>
                    </a:lnTo>
                    <a:lnTo>
                      <a:pt x="160" y="38"/>
                    </a:lnTo>
                    <a:lnTo>
                      <a:pt x="162" y="36"/>
                    </a:lnTo>
                    <a:lnTo>
                      <a:pt x="162" y="36"/>
                    </a:lnTo>
                    <a:lnTo>
                      <a:pt x="168" y="32"/>
                    </a:lnTo>
                    <a:lnTo>
                      <a:pt x="172" y="28"/>
                    </a:lnTo>
                    <a:lnTo>
                      <a:pt x="172" y="28"/>
                    </a:lnTo>
                    <a:lnTo>
                      <a:pt x="176" y="26"/>
                    </a:lnTo>
                    <a:lnTo>
                      <a:pt x="176" y="26"/>
                    </a:lnTo>
                    <a:lnTo>
                      <a:pt x="180" y="28"/>
                    </a:lnTo>
                    <a:lnTo>
                      <a:pt x="180" y="28"/>
                    </a:lnTo>
                    <a:lnTo>
                      <a:pt x="182" y="40"/>
                    </a:lnTo>
                    <a:lnTo>
                      <a:pt x="182" y="40"/>
                    </a:lnTo>
                    <a:lnTo>
                      <a:pt x="184" y="54"/>
                    </a:lnTo>
                    <a:lnTo>
                      <a:pt x="184" y="62"/>
                    </a:lnTo>
                    <a:lnTo>
                      <a:pt x="182" y="68"/>
                    </a:lnTo>
                    <a:lnTo>
                      <a:pt x="182" y="68"/>
                    </a:lnTo>
                    <a:lnTo>
                      <a:pt x="178" y="78"/>
                    </a:lnTo>
                    <a:lnTo>
                      <a:pt x="172" y="82"/>
                    </a:lnTo>
                    <a:lnTo>
                      <a:pt x="166" y="86"/>
                    </a:lnTo>
                    <a:lnTo>
                      <a:pt x="158" y="86"/>
                    </a:lnTo>
                    <a:lnTo>
                      <a:pt x="158" y="86"/>
                    </a:lnTo>
                    <a:lnTo>
                      <a:pt x="150" y="86"/>
                    </a:lnTo>
                    <a:lnTo>
                      <a:pt x="150" y="86"/>
                    </a:lnTo>
                    <a:lnTo>
                      <a:pt x="140" y="84"/>
                    </a:lnTo>
                    <a:lnTo>
                      <a:pt x="130" y="82"/>
                    </a:lnTo>
                    <a:lnTo>
                      <a:pt x="130" y="82"/>
                    </a:lnTo>
                    <a:lnTo>
                      <a:pt x="128" y="94"/>
                    </a:lnTo>
                    <a:lnTo>
                      <a:pt x="128" y="94"/>
                    </a:lnTo>
                    <a:lnTo>
                      <a:pt x="130" y="96"/>
                    </a:lnTo>
                    <a:lnTo>
                      <a:pt x="132" y="98"/>
                    </a:lnTo>
                    <a:lnTo>
                      <a:pt x="132" y="98"/>
                    </a:lnTo>
                    <a:lnTo>
                      <a:pt x="134" y="98"/>
                    </a:lnTo>
                    <a:lnTo>
                      <a:pt x="134" y="98"/>
                    </a:lnTo>
                    <a:lnTo>
                      <a:pt x="138" y="98"/>
                    </a:lnTo>
                    <a:lnTo>
                      <a:pt x="138" y="98"/>
                    </a:lnTo>
                    <a:lnTo>
                      <a:pt x="140" y="94"/>
                    </a:lnTo>
                    <a:lnTo>
                      <a:pt x="142" y="90"/>
                    </a:lnTo>
                    <a:lnTo>
                      <a:pt x="142" y="90"/>
                    </a:lnTo>
                    <a:lnTo>
                      <a:pt x="144" y="88"/>
                    </a:lnTo>
                    <a:lnTo>
                      <a:pt x="144" y="88"/>
                    </a:lnTo>
                    <a:lnTo>
                      <a:pt x="144" y="92"/>
                    </a:lnTo>
                    <a:lnTo>
                      <a:pt x="142" y="96"/>
                    </a:lnTo>
                    <a:lnTo>
                      <a:pt x="140" y="98"/>
                    </a:lnTo>
                    <a:lnTo>
                      <a:pt x="136" y="100"/>
                    </a:lnTo>
                    <a:lnTo>
                      <a:pt x="136" y="100"/>
                    </a:lnTo>
                    <a:lnTo>
                      <a:pt x="132" y="100"/>
                    </a:lnTo>
                    <a:lnTo>
                      <a:pt x="132" y="100"/>
                    </a:lnTo>
                    <a:lnTo>
                      <a:pt x="128" y="100"/>
                    </a:lnTo>
                    <a:lnTo>
                      <a:pt x="126" y="98"/>
                    </a:lnTo>
                    <a:lnTo>
                      <a:pt x="126" y="98"/>
                    </a:lnTo>
                    <a:lnTo>
                      <a:pt x="116" y="90"/>
                    </a:lnTo>
                    <a:lnTo>
                      <a:pt x="106" y="86"/>
                    </a:lnTo>
                    <a:lnTo>
                      <a:pt x="106" y="86"/>
                    </a:lnTo>
                    <a:lnTo>
                      <a:pt x="112" y="92"/>
                    </a:lnTo>
                    <a:lnTo>
                      <a:pt x="112" y="92"/>
                    </a:lnTo>
                    <a:lnTo>
                      <a:pt x="114" y="94"/>
                    </a:lnTo>
                    <a:lnTo>
                      <a:pt x="114" y="94"/>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4"/>
                    </a:lnTo>
                    <a:lnTo>
                      <a:pt x="66" y="114"/>
                    </a:lnTo>
                    <a:lnTo>
                      <a:pt x="60" y="114"/>
                    </a:lnTo>
                    <a:lnTo>
                      <a:pt x="60" y="114"/>
                    </a:lnTo>
                    <a:lnTo>
                      <a:pt x="56" y="114"/>
                    </a:lnTo>
                    <a:lnTo>
                      <a:pt x="54" y="112"/>
                    </a:lnTo>
                    <a:lnTo>
                      <a:pt x="52" y="110"/>
                    </a:lnTo>
                    <a:lnTo>
                      <a:pt x="52" y="110"/>
                    </a:lnTo>
                    <a:lnTo>
                      <a:pt x="52" y="112"/>
                    </a:lnTo>
                    <a:lnTo>
                      <a:pt x="52" y="112"/>
                    </a:lnTo>
                    <a:lnTo>
                      <a:pt x="52" y="114"/>
                    </a:lnTo>
                    <a:lnTo>
                      <a:pt x="52" y="114"/>
                    </a:lnTo>
                    <a:lnTo>
                      <a:pt x="52" y="122"/>
                    </a:lnTo>
                    <a:lnTo>
                      <a:pt x="50" y="126"/>
                    </a:lnTo>
                    <a:lnTo>
                      <a:pt x="48" y="128"/>
                    </a:lnTo>
                    <a:lnTo>
                      <a:pt x="48" y="128"/>
                    </a:lnTo>
                    <a:lnTo>
                      <a:pt x="48" y="132"/>
                    </a:lnTo>
                    <a:lnTo>
                      <a:pt x="46" y="136"/>
                    </a:lnTo>
                    <a:lnTo>
                      <a:pt x="46" y="136"/>
                    </a:lnTo>
                    <a:lnTo>
                      <a:pt x="46" y="138"/>
                    </a:lnTo>
                    <a:lnTo>
                      <a:pt x="44" y="138"/>
                    </a:lnTo>
                    <a:lnTo>
                      <a:pt x="44" y="138"/>
                    </a:lnTo>
                    <a:lnTo>
                      <a:pt x="26" y="136"/>
                    </a:lnTo>
                    <a:lnTo>
                      <a:pt x="26" y="136"/>
                    </a:lnTo>
                    <a:lnTo>
                      <a:pt x="24" y="134"/>
                    </a:lnTo>
                    <a:lnTo>
                      <a:pt x="24" y="128"/>
                    </a:lnTo>
                    <a:lnTo>
                      <a:pt x="24" y="128"/>
                    </a:lnTo>
                    <a:lnTo>
                      <a:pt x="26" y="124"/>
                    </a:lnTo>
                    <a:lnTo>
                      <a:pt x="26" y="120"/>
                    </a:lnTo>
                    <a:lnTo>
                      <a:pt x="26" y="120"/>
                    </a:lnTo>
                    <a:lnTo>
                      <a:pt x="26" y="116"/>
                    </a:lnTo>
                    <a:lnTo>
                      <a:pt x="24" y="114"/>
                    </a:lnTo>
                    <a:lnTo>
                      <a:pt x="24" y="114"/>
                    </a:lnTo>
                    <a:lnTo>
                      <a:pt x="20" y="104"/>
                    </a:lnTo>
                    <a:lnTo>
                      <a:pt x="16" y="96"/>
                    </a:lnTo>
                    <a:lnTo>
                      <a:pt x="14" y="86"/>
                    </a:lnTo>
                    <a:lnTo>
                      <a:pt x="14" y="76"/>
                    </a:lnTo>
                    <a:lnTo>
                      <a:pt x="14" y="76"/>
                    </a:lnTo>
                    <a:lnTo>
                      <a:pt x="16" y="68"/>
                    </a:lnTo>
                    <a:lnTo>
                      <a:pt x="18" y="60"/>
                    </a:lnTo>
                    <a:lnTo>
                      <a:pt x="22" y="52"/>
                    </a:lnTo>
                    <a:lnTo>
                      <a:pt x="30" y="46"/>
                    </a:lnTo>
                    <a:lnTo>
                      <a:pt x="30" y="46"/>
                    </a:lnTo>
                    <a:lnTo>
                      <a:pt x="42" y="38"/>
                    </a:lnTo>
                    <a:lnTo>
                      <a:pt x="56" y="34"/>
                    </a:lnTo>
                    <a:lnTo>
                      <a:pt x="56" y="34"/>
                    </a:lnTo>
                    <a:lnTo>
                      <a:pt x="58" y="34"/>
                    </a:lnTo>
                    <a:lnTo>
                      <a:pt x="58" y="34"/>
                    </a:lnTo>
                    <a:lnTo>
                      <a:pt x="46" y="48"/>
                    </a:lnTo>
                    <a:lnTo>
                      <a:pt x="46" y="48"/>
                    </a:lnTo>
                    <a:lnTo>
                      <a:pt x="42" y="54"/>
                    </a:lnTo>
                    <a:lnTo>
                      <a:pt x="40" y="60"/>
                    </a:lnTo>
                    <a:lnTo>
                      <a:pt x="40" y="60"/>
                    </a:lnTo>
                    <a:lnTo>
                      <a:pt x="40" y="62"/>
                    </a:lnTo>
                    <a:lnTo>
                      <a:pt x="40" y="66"/>
                    </a:lnTo>
                    <a:lnTo>
                      <a:pt x="44" y="72"/>
                    </a:lnTo>
                    <a:lnTo>
                      <a:pt x="44" y="72"/>
                    </a:lnTo>
                    <a:lnTo>
                      <a:pt x="48" y="78"/>
                    </a:lnTo>
                    <a:lnTo>
                      <a:pt x="48" y="82"/>
                    </a:lnTo>
                    <a:lnTo>
                      <a:pt x="48" y="86"/>
                    </a:lnTo>
                    <a:lnTo>
                      <a:pt x="48" y="86"/>
                    </a:lnTo>
                    <a:lnTo>
                      <a:pt x="48" y="90"/>
                    </a:lnTo>
                    <a:lnTo>
                      <a:pt x="48" y="90"/>
                    </a:lnTo>
                    <a:lnTo>
                      <a:pt x="54" y="96"/>
                    </a:lnTo>
                    <a:lnTo>
                      <a:pt x="58" y="98"/>
                    </a:lnTo>
                    <a:lnTo>
                      <a:pt x="62" y="98"/>
                    </a:lnTo>
                    <a:lnTo>
                      <a:pt x="62" y="98"/>
                    </a:lnTo>
                    <a:lnTo>
                      <a:pt x="66" y="98"/>
                    </a:lnTo>
                    <a:lnTo>
                      <a:pt x="72" y="94"/>
                    </a:lnTo>
                    <a:lnTo>
                      <a:pt x="72" y="94"/>
                    </a:lnTo>
                    <a:lnTo>
                      <a:pt x="82" y="90"/>
                    </a:lnTo>
                    <a:lnTo>
                      <a:pt x="92" y="86"/>
                    </a:lnTo>
                    <a:lnTo>
                      <a:pt x="92" y="86"/>
                    </a:lnTo>
                    <a:lnTo>
                      <a:pt x="94" y="84"/>
                    </a:lnTo>
                    <a:lnTo>
                      <a:pt x="94" y="84"/>
                    </a:lnTo>
                    <a:lnTo>
                      <a:pt x="96" y="78"/>
                    </a:lnTo>
                    <a:lnTo>
                      <a:pt x="96" y="70"/>
                    </a:lnTo>
                    <a:lnTo>
                      <a:pt x="94" y="58"/>
                    </a:lnTo>
                    <a:lnTo>
                      <a:pt x="94" y="58"/>
                    </a:lnTo>
                    <a:lnTo>
                      <a:pt x="92" y="42"/>
                    </a:lnTo>
                    <a:lnTo>
                      <a:pt x="92" y="42"/>
                    </a:lnTo>
                    <a:lnTo>
                      <a:pt x="92" y="60"/>
                    </a:lnTo>
                    <a:lnTo>
                      <a:pt x="92" y="60"/>
                    </a:lnTo>
                    <a:lnTo>
                      <a:pt x="92" y="80"/>
                    </a:lnTo>
                    <a:lnTo>
                      <a:pt x="92" y="80"/>
                    </a:lnTo>
                    <a:lnTo>
                      <a:pt x="90" y="82"/>
                    </a:lnTo>
                    <a:lnTo>
                      <a:pt x="86" y="84"/>
                    </a:lnTo>
                    <a:lnTo>
                      <a:pt x="86" y="84"/>
                    </a:lnTo>
                    <a:lnTo>
                      <a:pt x="78" y="88"/>
                    </a:lnTo>
                    <a:lnTo>
                      <a:pt x="70" y="92"/>
                    </a:lnTo>
                    <a:lnTo>
                      <a:pt x="70" y="92"/>
                    </a:lnTo>
                    <a:lnTo>
                      <a:pt x="62" y="94"/>
                    </a:lnTo>
                    <a:lnTo>
                      <a:pt x="62" y="94"/>
                    </a:lnTo>
                    <a:lnTo>
                      <a:pt x="56" y="92"/>
                    </a:lnTo>
                    <a:lnTo>
                      <a:pt x="52" y="88"/>
                    </a:lnTo>
                    <a:lnTo>
                      <a:pt x="52" y="88"/>
                    </a:lnTo>
                    <a:lnTo>
                      <a:pt x="52" y="86"/>
                    </a:lnTo>
                    <a:lnTo>
                      <a:pt x="52" y="84"/>
                    </a:lnTo>
                    <a:lnTo>
                      <a:pt x="52" y="84"/>
                    </a:lnTo>
                    <a:lnTo>
                      <a:pt x="56" y="76"/>
                    </a:lnTo>
                    <a:lnTo>
                      <a:pt x="56" y="76"/>
                    </a:lnTo>
                    <a:lnTo>
                      <a:pt x="58" y="68"/>
                    </a:lnTo>
                    <a:lnTo>
                      <a:pt x="58" y="68"/>
                    </a:lnTo>
                    <a:lnTo>
                      <a:pt x="52" y="76"/>
                    </a:lnTo>
                    <a:lnTo>
                      <a:pt x="52" y="76"/>
                    </a:lnTo>
                    <a:lnTo>
                      <a:pt x="44" y="64"/>
                    </a:lnTo>
                    <a:lnTo>
                      <a:pt x="44" y="64"/>
                    </a:lnTo>
                    <a:lnTo>
                      <a:pt x="44" y="62"/>
                    </a:lnTo>
                    <a:lnTo>
                      <a:pt x="44" y="62"/>
                    </a:lnTo>
                    <a:lnTo>
                      <a:pt x="46" y="54"/>
                    </a:lnTo>
                    <a:lnTo>
                      <a:pt x="50" y="48"/>
                    </a:lnTo>
                    <a:lnTo>
                      <a:pt x="50" y="48"/>
                    </a:lnTo>
                    <a:lnTo>
                      <a:pt x="72" y="24"/>
                    </a:lnTo>
                    <a:lnTo>
                      <a:pt x="72" y="24"/>
                    </a:lnTo>
                    <a:lnTo>
                      <a:pt x="74" y="22"/>
                    </a:lnTo>
                    <a:lnTo>
                      <a:pt x="78" y="22"/>
                    </a:lnTo>
                    <a:lnTo>
                      <a:pt x="86" y="20"/>
                    </a:lnTo>
                    <a:lnTo>
                      <a:pt x="86" y="20"/>
                    </a:lnTo>
                    <a:lnTo>
                      <a:pt x="90" y="18"/>
                    </a:lnTo>
                    <a:lnTo>
                      <a:pt x="90" y="18"/>
                    </a:lnTo>
                    <a:lnTo>
                      <a:pt x="82" y="18"/>
                    </a:lnTo>
                    <a:close/>
                    <a:moveTo>
                      <a:pt x="112" y="0"/>
                    </a:moveTo>
                    <a:lnTo>
                      <a:pt x="112" y="0"/>
                    </a:lnTo>
                    <a:lnTo>
                      <a:pt x="104" y="0"/>
                    </a:lnTo>
                    <a:lnTo>
                      <a:pt x="98" y="2"/>
                    </a:lnTo>
                    <a:lnTo>
                      <a:pt x="90" y="6"/>
                    </a:lnTo>
                    <a:lnTo>
                      <a:pt x="84" y="10"/>
                    </a:lnTo>
                    <a:lnTo>
                      <a:pt x="84" y="10"/>
                    </a:lnTo>
                    <a:lnTo>
                      <a:pt x="78" y="16"/>
                    </a:lnTo>
                    <a:lnTo>
                      <a:pt x="76" y="18"/>
                    </a:lnTo>
                    <a:lnTo>
                      <a:pt x="72" y="20"/>
                    </a:lnTo>
                    <a:lnTo>
                      <a:pt x="72" y="20"/>
                    </a:lnTo>
                    <a:lnTo>
                      <a:pt x="70" y="22"/>
                    </a:lnTo>
                    <a:lnTo>
                      <a:pt x="70" y="22"/>
                    </a:lnTo>
                    <a:lnTo>
                      <a:pt x="62" y="28"/>
                    </a:lnTo>
                    <a:lnTo>
                      <a:pt x="52" y="30"/>
                    </a:lnTo>
                    <a:lnTo>
                      <a:pt x="52" y="30"/>
                    </a:lnTo>
                    <a:lnTo>
                      <a:pt x="42" y="34"/>
                    </a:lnTo>
                    <a:lnTo>
                      <a:pt x="32" y="38"/>
                    </a:lnTo>
                    <a:lnTo>
                      <a:pt x="24" y="46"/>
                    </a:lnTo>
                    <a:lnTo>
                      <a:pt x="16" y="54"/>
                    </a:lnTo>
                    <a:lnTo>
                      <a:pt x="16" y="54"/>
                    </a:lnTo>
                    <a:lnTo>
                      <a:pt x="12" y="60"/>
                    </a:lnTo>
                    <a:lnTo>
                      <a:pt x="12" y="60"/>
                    </a:lnTo>
                    <a:lnTo>
                      <a:pt x="6" y="62"/>
                    </a:lnTo>
                    <a:lnTo>
                      <a:pt x="6" y="62"/>
                    </a:lnTo>
                    <a:lnTo>
                      <a:pt x="10" y="54"/>
                    </a:lnTo>
                    <a:lnTo>
                      <a:pt x="10" y="54"/>
                    </a:lnTo>
                    <a:lnTo>
                      <a:pt x="12" y="54"/>
                    </a:lnTo>
                    <a:lnTo>
                      <a:pt x="12" y="54"/>
                    </a:lnTo>
                    <a:lnTo>
                      <a:pt x="12" y="48"/>
                    </a:lnTo>
                    <a:lnTo>
                      <a:pt x="12" y="48"/>
                    </a:lnTo>
                    <a:lnTo>
                      <a:pt x="10" y="44"/>
                    </a:lnTo>
                    <a:lnTo>
                      <a:pt x="10" y="44"/>
                    </a:lnTo>
                    <a:lnTo>
                      <a:pt x="2" y="48"/>
                    </a:lnTo>
                    <a:lnTo>
                      <a:pt x="0" y="52"/>
                    </a:lnTo>
                    <a:lnTo>
                      <a:pt x="0" y="56"/>
                    </a:lnTo>
                    <a:lnTo>
                      <a:pt x="0" y="56"/>
                    </a:lnTo>
                    <a:lnTo>
                      <a:pt x="0" y="62"/>
                    </a:lnTo>
                    <a:lnTo>
                      <a:pt x="2" y="66"/>
                    </a:lnTo>
                    <a:lnTo>
                      <a:pt x="2" y="66"/>
                    </a:lnTo>
                    <a:lnTo>
                      <a:pt x="6" y="70"/>
                    </a:lnTo>
                    <a:lnTo>
                      <a:pt x="10" y="72"/>
                    </a:lnTo>
                    <a:lnTo>
                      <a:pt x="10" y="72"/>
                    </a:lnTo>
                    <a:lnTo>
                      <a:pt x="10" y="84"/>
                    </a:lnTo>
                    <a:lnTo>
                      <a:pt x="10" y="84"/>
                    </a:lnTo>
                    <a:lnTo>
                      <a:pt x="12" y="88"/>
                    </a:lnTo>
                    <a:lnTo>
                      <a:pt x="10" y="94"/>
                    </a:lnTo>
                    <a:lnTo>
                      <a:pt x="8" y="98"/>
                    </a:lnTo>
                    <a:lnTo>
                      <a:pt x="4" y="100"/>
                    </a:lnTo>
                    <a:lnTo>
                      <a:pt x="4" y="100"/>
                    </a:lnTo>
                    <a:lnTo>
                      <a:pt x="2" y="106"/>
                    </a:lnTo>
                    <a:lnTo>
                      <a:pt x="2" y="112"/>
                    </a:lnTo>
                    <a:lnTo>
                      <a:pt x="2" y="112"/>
                    </a:lnTo>
                    <a:lnTo>
                      <a:pt x="4" y="116"/>
                    </a:lnTo>
                    <a:lnTo>
                      <a:pt x="8" y="120"/>
                    </a:lnTo>
                    <a:lnTo>
                      <a:pt x="8" y="120"/>
                    </a:lnTo>
                    <a:lnTo>
                      <a:pt x="14" y="124"/>
                    </a:lnTo>
                    <a:lnTo>
                      <a:pt x="22" y="126"/>
                    </a:lnTo>
                    <a:lnTo>
                      <a:pt x="22" y="126"/>
                    </a:lnTo>
                    <a:lnTo>
                      <a:pt x="20" y="130"/>
                    </a:lnTo>
                    <a:lnTo>
                      <a:pt x="20" y="130"/>
                    </a:lnTo>
                    <a:lnTo>
                      <a:pt x="20" y="134"/>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0" y="130"/>
                    </a:lnTo>
                    <a:lnTo>
                      <a:pt x="50" y="130"/>
                    </a:lnTo>
                    <a:lnTo>
                      <a:pt x="56" y="118"/>
                    </a:lnTo>
                    <a:lnTo>
                      <a:pt x="56" y="118"/>
                    </a:lnTo>
                    <a:lnTo>
                      <a:pt x="68" y="118"/>
                    </a:lnTo>
                    <a:lnTo>
                      <a:pt x="68" y="118"/>
                    </a:lnTo>
                    <a:lnTo>
                      <a:pt x="64" y="122"/>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6"/>
                    </a:lnTo>
                    <a:lnTo>
                      <a:pt x="122" y="122"/>
                    </a:lnTo>
                    <a:lnTo>
                      <a:pt x="122" y="122"/>
                    </a:lnTo>
                    <a:lnTo>
                      <a:pt x="122" y="114"/>
                    </a:lnTo>
                    <a:lnTo>
                      <a:pt x="122" y="114"/>
                    </a:lnTo>
                    <a:lnTo>
                      <a:pt x="120" y="104"/>
                    </a:lnTo>
                    <a:lnTo>
                      <a:pt x="120" y="104"/>
                    </a:lnTo>
                    <a:lnTo>
                      <a:pt x="116" y="94"/>
                    </a:lnTo>
                    <a:lnTo>
                      <a:pt x="116" y="94"/>
                    </a:lnTo>
                    <a:lnTo>
                      <a:pt x="118" y="94"/>
                    </a:lnTo>
                    <a:lnTo>
                      <a:pt x="118" y="94"/>
                    </a:lnTo>
                    <a:lnTo>
                      <a:pt x="124" y="100"/>
                    </a:lnTo>
                    <a:lnTo>
                      <a:pt x="124" y="100"/>
                    </a:lnTo>
                    <a:lnTo>
                      <a:pt x="128" y="102"/>
                    </a:lnTo>
                    <a:lnTo>
                      <a:pt x="132" y="104"/>
                    </a:lnTo>
                    <a:lnTo>
                      <a:pt x="132" y="104"/>
                    </a:lnTo>
                    <a:lnTo>
                      <a:pt x="140" y="102"/>
                    </a:lnTo>
                    <a:lnTo>
                      <a:pt x="144" y="98"/>
                    </a:lnTo>
                    <a:lnTo>
                      <a:pt x="146" y="94"/>
                    </a:lnTo>
                    <a:lnTo>
                      <a:pt x="146" y="94"/>
                    </a:lnTo>
                    <a:lnTo>
                      <a:pt x="148" y="90"/>
                    </a:lnTo>
                    <a:lnTo>
                      <a:pt x="150" y="90"/>
                    </a:lnTo>
                    <a:lnTo>
                      <a:pt x="150" y="90"/>
                    </a:lnTo>
                    <a:lnTo>
                      <a:pt x="154" y="90"/>
                    </a:lnTo>
                    <a:lnTo>
                      <a:pt x="154" y="90"/>
                    </a:lnTo>
                    <a:lnTo>
                      <a:pt x="158" y="90"/>
                    </a:lnTo>
                    <a:lnTo>
                      <a:pt x="158" y="90"/>
                    </a:lnTo>
                    <a:lnTo>
                      <a:pt x="166" y="88"/>
                    </a:lnTo>
                    <a:lnTo>
                      <a:pt x="174" y="86"/>
                    </a:lnTo>
                    <a:lnTo>
                      <a:pt x="180" y="78"/>
                    </a:lnTo>
                    <a:lnTo>
                      <a:pt x="184" y="70"/>
                    </a:lnTo>
                    <a:lnTo>
                      <a:pt x="184" y="70"/>
                    </a:lnTo>
                    <a:lnTo>
                      <a:pt x="188" y="58"/>
                    </a:lnTo>
                    <a:lnTo>
                      <a:pt x="186" y="46"/>
                    </a:lnTo>
                    <a:lnTo>
                      <a:pt x="186" y="46"/>
                    </a:lnTo>
                    <a:lnTo>
                      <a:pt x="186" y="36"/>
                    </a:lnTo>
                    <a:lnTo>
                      <a:pt x="182" y="28"/>
                    </a:lnTo>
                    <a:lnTo>
                      <a:pt x="182" y="28"/>
                    </a:lnTo>
                    <a:lnTo>
                      <a:pt x="180" y="24"/>
                    </a:lnTo>
                    <a:lnTo>
                      <a:pt x="176" y="22"/>
                    </a:lnTo>
                    <a:lnTo>
                      <a:pt x="176" y="22"/>
                    </a:lnTo>
                    <a:lnTo>
                      <a:pt x="172"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0" name="Freeform 1347"/>
              <p:cNvSpPr>
                <a:spLocks/>
              </p:cNvSpPr>
              <p:nvPr/>
            </p:nvSpPr>
            <p:spPr bwMode="auto">
              <a:xfrm>
                <a:off x="6802" y="1868"/>
                <a:ext cx="18" cy="28"/>
              </a:xfrm>
              <a:custGeom>
                <a:avLst/>
                <a:gdLst>
                  <a:gd name="T0" fmla="*/ 6 w 18"/>
                  <a:gd name="T1" fmla="*/ 18 h 28"/>
                  <a:gd name="T2" fmla="*/ 6 w 18"/>
                  <a:gd name="T3" fmla="*/ 18 h 28"/>
                  <a:gd name="T4" fmla="*/ 14 w 18"/>
                  <a:gd name="T5" fmla="*/ 0 h 28"/>
                  <a:gd name="T6" fmla="*/ 14 w 18"/>
                  <a:gd name="T7" fmla="*/ 0 h 28"/>
                  <a:gd name="T8" fmla="*/ 14 w 18"/>
                  <a:gd name="T9" fmla="*/ 0 h 28"/>
                  <a:gd name="T10" fmla="*/ 14 w 18"/>
                  <a:gd name="T11" fmla="*/ 0 h 28"/>
                  <a:gd name="T12" fmla="*/ 14 w 18"/>
                  <a:gd name="T13" fmla="*/ 0 h 28"/>
                  <a:gd name="T14" fmla="*/ 14 w 18"/>
                  <a:gd name="T15" fmla="*/ 0 h 28"/>
                  <a:gd name="T16" fmla="*/ 16 w 18"/>
                  <a:gd name="T17" fmla="*/ 10 h 28"/>
                  <a:gd name="T18" fmla="*/ 16 w 18"/>
                  <a:gd name="T19" fmla="*/ 10 h 28"/>
                  <a:gd name="T20" fmla="*/ 18 w 18"/>
                  <a:gd name="T21" fmla="*/ 24 h 28"/>
                  <a:gd name="T22" fmla="*/ 18 w 18"/>
                  <a:gd name="T23" fmla="*/ 24 h 28"/>
                  <a:gd name="T24" fmla="*/ 16 w 18"/>
                  <a:gd name="T25" fmla="*/ 26 h 28"/>
                  <a:gd name="T26" fmla="*/ 16 w 18"/>
                  <a:gd name="T27" fmla="*/ 26 h 28"/>
                  <a:gd name="T28" fmla="*/ 10 w 18"/>
                  <a:gd name="T29" fmla="*/ 28 h 28"/>
                  <a:gd name="T30" fmla="*/ 10 w 18"/>
                  <a:gd name="T31" fmla="*/ 28 h 28"/>
                  <a:gd name="T32" fmla="*/ 0 w 18"/>
                  <a:gd name="T33" fmla="*/ 26 h 28"/>
                  <a:gd name="T34" fmla="*/ 0 w 18"/>
                  <a:gd name="T35" fmla="*/ 26 h 28"/>
                  <a:gd name="T36" fmla="*/ 6 w 18"/>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6" y="18"/>
                    </a:moveTo>
                    <a:lnTo>
                      <a:pt x="6" y="18"/>
                    </a:lnTo>
                    <a:lnTo>
                      <a:pt x="14" y="0"/>
                    </a:lnTo>
                    <a:lnTo>
                      <a:pt x="14" y="0"/>
                    </a:lnTo>
                    <a:lnTo>
                      <a:pt x="14" y="0"/>
                    </a:lnTo>
                    <a:lnTo>
                      <a:pt x="14" y="0"/>
                    </a:lnTo>
                    <a:lnTo>
                      <a:pt x="14" y="0"/>
                    </a:lnTo>
                    <a:lnTo>
                      <a:pt x="14" y="0"/>
                    </a:lnTo>
                    <a:lnTo>
                      <a:pt x="16" y="10"/>
                    </a:lnTo>
                    <a:lnTo>
                      <a:pt x="16" y="10"/>
                    </a:lnTo>
                    <a:lnTo>
                      <a:pt x="18" y="24"/>
                    </a:lnTo>
                    <a:lnTo>
                      <a:pt x="18" y="24"/>
                    </a:lnTo>
                    <a:lnTo>
                      <a:pt x="16" y="26"/>
                    </a:lnTo>
                    <a:lnTo>
                      <a:pt x="16" y="26"/>
                    </a:lnTo>
                    <a:lnTo>
                      <a:pt x="10" y="28"/>
                    </a:lnTo>
                    <a:lnTo>
                      <a:pt x="10" y="28"/>
                    </a:lnTo>
                    <a:lnTo>
                      <a:pt x="0" y="26"/>
                    </a:lnTo>
                    <a:lnTo>
                      <a:pt x="0" y="26"/>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1" name="Freeform 1348"/>
              <p:cNvSpPr>
                <a:spLocks/>
              </p:cNvSpPr>
              <p:nvPr/>
            </p:nvSpPr>
            <p:spPr bwMode="auto">
              <a:xfrm>
                <a:off x="6704" y="1864"/>
                <a:ext cx="18" cy="24"/>
              </a:xfrm>
              <a:custGeom>
                <a:avLst/>
                <a:gdLst>
                  <a:gd name="T0" fmla="*/ 4 w 18"/>
                  <a:gd name="T1" fmla="*/ 6 h 24"/>
                  <a:gd name="T2" fmla="*/ 4 w 18"/>
                  <a:gd name="T3" fmla="*/ 6 h 24"/>
                  <a:gd name="T4" fmla="*/ 10 w 18"/>
                  <a:gd name="T5" fmla="*/ 0 h 24"/>
                  <a:gd name="T6" fmla="*/ 10 w 18"/>
                  <a:gd name="T7" fmla="*/ 0 h 24"/>
                  <a:gd name="T8" fmla="*/ 18 w 18"/>
                  <a:gd name="T9" fmla="*/ 18 h 24"/>
                  <a:gd name="T10" fmla="*/ 18 w 18"/>
                  <a:gd name="T11" fmla="*/ 18 h 24"/>
                  <a:gd name="T12" fmla="*/ 18 w 18"/>
                  <a:gd name="T13" fmla="*/ 22 h 24"/>
                  <a:gd name="T14" fmla="*/ 16 w 18"/>
                  <a:gd name="T15" fmla="*/ 24 h 24"/>
                  <a:gd name="T16" fmla="*/ 16 w 18"/>
                  <a:gd name="T17" fmla="*/ 24 h 24"/>
                  <a:gd name="T18" fmla="*/ 14 w 18"/>
                  <a:gd name="T19" fmla="*/ 24 h 24"/>
                  <a:gd name="T20" fmla="*/ 14 w 18"/>
                  <a:gd name="T21" fmla="*/ 24 h 24"/>
                  <a:gd name="T22" fmla="*/ 14 w 18"/>
                  <a:gd name="T23" fmla="*/ 24 h 24"/>
                  <a:gd name="T24" fmla="*/ 14 w 18"/>
                  <a:gd name="T25" fmla="*/ 24 h 24"/>
                  <a:gd name="T26" fmla="*/ 10 w 18"/>
                  <a:gd name="T27" fmla="*/ 22 h 24"/>
                  <a:gd name="T28" fmla="*/ 4 w 18"/>
                  <a:gd name="T29" fmla="*/ 18 h 24"/>
                  <a:gd name="T30" fmla="*/ 2 w 18"/>
                  <a:gd name="T31" fmla="*/ 14 h 24"/>
                  <a:gd name="T32" fmla="*/ 0 w 18"/>
                  <a:gd name="T33" fmla="*/ 10 h 24"/>
                  <a:gd name="T34" fmla="*/ 0 w 18"/>
                  <a:gd name="T35" fmla="*/ 10 h 24"/>
                  <a:gd name="T36" fmla="*/ 2 w 18"/>
                  <a:gd name="T37" fmla="*/ 6 h 24"/>
                  <a:gd name="T38" fmla="*/ 2 w 18"/>
                  <a:gd name="T39" fmla="*/ 6 h 24"/>
                  <a:gd name="T40" fmla="*/ 4 w 18"/>
                  <a:gd name="T41"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4" y="6"/>
                    </a:moveTo>
                    <a:lnTo>
                      <a:pt x="4" y="6"/>
                    </a:lnTo>
                    <a:lnTo>
                      <a:pt x="10" y="0"/>
                    </a:lnTo>
                    <a:lnTo>
                      <a:pt x="10" y="0"/>
                    </a:lnTo>
                    <a:lnTo>
                      <a:pt x="18" y="18"/>
                    </a:lnTo>
                    <a:lnTo>
                      <a:pt x="18" y="18"/>
                    </a:lnTo>
                    <a:lnTo>
                      <a:pt x="18" y="22"/>
                    </a:lnTo>
                    <a:lnTo>
                      <a:pt x="16" y="24"/>
                    </a:lnTo>
                    <a:lnTo>
                      <a:pt x="16" y="24"/>
                    </a:lnTo>
                    <a:lnTo>
                      <a:pt x="14" y="24"/>
                    </a:lnTo>
                    <a:lnTo>
                      <a:pt x="14" y="24"/>
                    </a:lnTo>
                    <a:lnTo>
                      <a:pt x="14" y="24"/>
                    </a:lnTo>
                    <a:lnTo>
                      <a:pt x="14" y="24"/>
                    </a:lnTo>
                    <a:lnTo>
                      <a:pt x="10" y="22"/>
                    </a:lnTo>
                    <a:lnTo>
                      <a:pt x="4" y="18"/>
                    </a:lnTo>
                    <a:lnTo>
                      <a:pt x="2" y="14"/>
                    </a:lnTo>
                    <a:lnTo>
                      <a:pt x="0" y="10"/>
                    </a:lnTo>
                    <a:lnTo>
                      <a:pt x="0" y="10"/>
                    </a:lnTo>
                    <a:lnTo>
                      <a:pt x="2" y="6"/>
                    </a:lnTo>
                    <a:lnTo>
                      <a:pt x="2" y="6"/>
                    </a:lnTo>
                    <a:lnTo>
                      <a:pt x="4"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2" name="Freeform 1349"/>
              <p:cNvSpPr>
                <a:spLocks/>
              </p:cNvSpPr>
              <p:nvPr/>
            </p:nvSpPr>
            <p:spPr bwMode="auto">
              <a:xfrm>
                <a:off x="6702" y="1814"/>
                <a:ext cx="12" cy="20"/>
              </a:xfrm>
              <a:custGeom>
                <a:avLst/>
                <a:gdLst>
                  <a:gd name="T0" fmla="*/ 6 w 12"/>
                  <a:gd name="T1" fmla="*/ 0 h 20"/>
                  <a:gd name="T2" fmla="*/ 6 w 12"/>
                  <a:gd name="T3" fmla="*/ 0 h 20"/>
                  <a:gd name="T4" fmla="*/ 6 w 12"/>
                  <a:gd name="T5" fmla="*/ 0 h 20"/>
                  <a:gd name="T6" fmla="*/ 6 w 12"/>
                  <a:gd name="T7" fmla="*/ 0 h 20"/>
                  <a:gd name="T8" fmla="*/ 2 w 12"/>
                  <a:gd name="T9" fmla="*/ 12 h 20"/>
                  <a:gd name="T10" fmla="*/ 2 w 12"/>
                  <a:gd name="T11" fmla="*/ 12 h 20"/>
                  <a:gd name="T12" fmla="*/ 4 w 12"/>
                  <a:gd name="T13" fmla="*/ 16 h 20"/>
                  <a:gd name="T14" fmla="*/ 4 w 12"/>
                  <a:gd name="T15" fmla="*/ 16 h 20"/>
                  <a:gd name="T16" fmla="*/ 6 w 12"/>
                  <a:gd name="T17" fmla="*/ 16 h 20"/>
                  <a:gd name="T18" fmla="*/ 6 w 12"/>
                  <a:gd name="T19" fmla="*/ 16 h 20"/>
                  <a:gd name="T20" fmla="*/ 8 w 12"/>
                  <a:gd name="T21" fmla="*/ 16 h 20"/>
                  <a:gd name="T22" fmla="*/ 8 w 12"/>
                  <a:gd name="T23" fmla="*/ 16 h 20"/>
                  <a:gd name="T24" fmla="*/ 10 w 12"/>
                  <a:gd name="T25" fmla="*/ 14 h 20"/>
                  <a:gd name="T26" fmla="*/ 10 w 12"/>
                  <a:gd name="T27" fmla="*/ 14 h 20"/>
                  <a:gd name="T28" fmla="*/ 10 w 12"/>
                  <a:gd name="T29" fmla="*/ 16 h 20"/>
                  <a:gd name="T30" fmla="*/ 10 w 12"/>
                  <a:gd name="T31" fmla="*/ 16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20 h 20"/>
                  <a:gd name="T48" fmla="*/ 4 w 12"/>
                  <a:gd name="T49" fmla="*/ 20 h 20"/>
                  <a:gd name="T50" fmla="*/ 2 w 12"/>
                  <a:gd name="T51" fmla="*/ 18 h 20"/>
                  <a:gd name="T52" fmla="*/ 0 w 12"/>
                  <a:gd name="T53" fmla="*/ 12 h 20"/>
                  <a:gd name="T54" fmla="*/ 0 w 12"/>
                  <a:gd name="T55" fmla="*/ 8 h 20"/>
                  <a:gd name="T56" fmla="*/ 0 w 12"/>
                  <a:gd name="T57" fmla="*/ 6 h 20"/>
                  <a:gd name="T58" fmla="*/ 0 w 12"/>
                  <a:gd name="T59" fmla="*/ 6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6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6" y="0"/>
                    </a:moveTo>
                    <a:lnTo>
                      <a:pt x="6" y="0"/>
                    </a:lnTo>
                    <a:lnTo>
                      <a:pt x="6" y="0"/>
                    </a:lnTo>
                    <a:lnTo>
                      <a:pt x="6" y="0"/>
                    </a:lnTo>
                    <a:lnTo>
                      <a:pt x="2" y="12"/>
                    </a:lnTo>
                    <a:lnTo>
                      <a:pt x="2" y="12"/>
                    </a:lnTo>
                    <a:lnTo>
                      <a:pt x="4" y="16"/>
                    </a:lnTo>
                    <a:lnTo>
                      <a:pt x="4" y="16"/>
                    </a:lnTo>
                    <a:lnTo>
                      <a:pt x="6" y="16"/>
                    </a:lnTo>
                    <a:lnTo>
                      <a:pt x="6" y="16"/>
                    </a:lnTo>
                    <a:lnTo>
                      <a:pt x="8" y="16"/>
                    </a:lnTo>
                    <a:lnTo>
                      <a:pt x="8" y="16"/>
                    </a:lnTo>
                    <a:lnTo>
                      <a:pt x="10" y="14"/>
                    </a:lnTo>
                    <a:lnTo>
                      <a:pt x="10" y="14"/>
                    </a:lnTo>
                    <a:lnTo>
                      <a:pt x="10" y="16"/>
                    </a:lnTo>
                    <a:lnTo>
                      <a:pt x="10" y="16"/>
                    </a:lnTo>
                    <a:lnTo>
                      <a:pt x="12" y="14"/>
                    </a:lnTo>
                    <a:lnTo>
                      <a:pt x="12" y="14"/>
                    </a:lnTo>
                    <a:lnTo>
                      <a:pt x="10" y="18"/>
                    </a:lnTo>
                    <a:lnTo>
                      <a:pt x="6" y="20"/>
                    </a:lnTo>
                    <a:lnTo>
                      <a:pt x="6" y="20"/>
                    </a:lnTo>
                    <a:lnTo>
                      <a:pt x="6" y="20"/>
                    </a:lnTo>
                    <a:lnTo>
                      <a:pt x="6" y="20"/>
                    </a:lnTo>
                    <a:lnTo>
                      <a:pt x="4" y="20"/>
                    </a:lnTo>
                    <a:lnTo>
                      <a:pt x="4" y="20"/>
                    </a:lnTo>
                    <a:lnTo>
                      <a:pt x="2" y="18"/>
                    </a:lnTo>
                    <a:lnTo>
                      <a:pt x="0" y="12"/>
                    </a:lnTo>
                    <a:lnTo>
                      <a:pt x="0" y="8"/>
                    </a:lnTo>
                    <a:lnTo>
                      <a:pt x="0" y="6"/>
                    </a:lnTo>
                    <a:lnTo>
                      <a:pt x="0" y="6"/>
                    </a:lnTo>
                    <a:lnTo>
                      <a:pt x="4" y="0"/>
                    </a:lnTo>
                    <a:lnTo>
                      <a:pt x="4"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3" name="Freeform 1350"/>
              <p:cNvSpPr>
                <a:spLocks/>
              </p:cNvSpPr>
              <p:nvPr/>
            </p:nvSpPr>
            <p:spPr bwMode="auto">
              <a:xfrm>
                <a:off x="6714" y="1768"/>
                <a:ext cx="170" cy="140"/>
              </a:xfrm>
              <a:custGeom>
                <a:avLst/>
                <a:gdLst>
                  <a:gd name="T0" fmla="*/ 74 w 170"/>
                  <a:gd name="T1" fmla="*/ 10 h 140"/>
                  <a:gd name="T2" fmla="*/ 100 w 170"/>
                  <a:gd name="T3" fmla="*/ 0 h 140"/>
                  <a:gd name="T4" fmla="*/ 130 w 170"/>
                  <a:gd name="T5" fmla="*/ 16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6 w 170"/>
                  <a:gd name="T25" fmla="*/ 36 h 140"/>
                  <a:gd name="T26" fmla="*/ 158 w 170"/>
                  <a:gd name="T27" fmla="*/ 26 h 140"/>
                  <a:gd name="T28" fmla="*/ 166 w 170"/>
                  <a:gd name="T29" fmla="*/ 26 h 140"/>
                  <a:gd name="T30" fmla="*/ 170 w 170"/>
                  <a:gd name="T31" fmla="*/ 52 h 140"/>
                  <a:gd name="T32" fmla="*/ 164 w 170"/>
                  <a:gd name="T33" fmla="*/ 76 h 140"/>
                  <a:gd name="T34" fmla="*/ 144 w 170"/>
                  <a:gd name="T35" fmla="*/ 84 h 140"/>
                  <a:gd name="T36" fmla="*/ 116 w 170"/>
                  <a:gd name="T37" fmla="*/ 80 h 140"/>
                  <a:gd name="T38" fmla="*/ 116 w 170"/>
                  <a:gd name="T39" fmla="*/ 94 h 140"/>
                  <a:gd name="T40" fmla="*/ 120 w 170"/>
                  <a:gd name="T41" fmla="*/ 96 h 140"/>
                  <a:gd name="T42" fmla="*/ 128 w 170"/>
                  <a:gd name="T43" fmla="*/ 88 h 140"/>
                  <a:gd name="T44" fmla="*/ 130 w 170"/>
                  <a:gd name="T45" fmla="*/ 90 h 140"/>
                  <a:gd name="T46" fmla="*/ 122 w 170"/>
                  <a:gd name="T47" fmla="*/ 98 h 140"/>
                  <a:gd name="T48" fmla="*/ 112 w 170"/>
                  <a:gd name="T49" fmla="*/ 96 h 140"/>
                  <a:gd name="T50" fmla="*/ 92 w 170"/>
                  <a:gd name="T51" fmla="*/ 84 h 140"/>
                  <a:gd name="T52" fmla="*/ 100 w 170"/>
                  <a:gd name="T53" fmla="*/ 92 h 140"/>
                  <a:gd name="T54" fmla="*/ 84 w 170"/>
                  <a:gd name="T55" fmla="*/ 124 h 140"/>
                  <a:gd name="T56" fmla="*/ 72 w 170"/>
                  <a:gd name="T57" fmla="*/ 136 h 140"/>
                  <a:gd name="T58" fmla="*/ 62 w 170"/>
                  <a:gd name="T59" fmla="*/ 138 h 140"/>
                  <a:gd name="T60" fmla="*/ 54 w 170"/>
                  <a:gd name="T61" fmla="*/ 122 h 140"/>
                  <a:gd name="T62" fmla="*/ 64 w 170"/>
                  <a:gd name="T63" fmla="*/ 116 h 140"/>
                  <a:gd name="T64" fmla="*/ 60 w 170"/>
                  <a:gd name="T65" fmla="*/ 112 h 140"/>
                  <a:gd name="T66" fmla="*/ 52 w 170"/>
                  <a:gd name="T67" fmla="*/ 112 h 140"/>
                  <a:gd name="T68" fmla="*/ 40 w 170"/>
                  <a:gd name="T69" fmla="*/ 110 h 140"/>
                  <a:gd name="T70" fmla="*/ 38 w 170"/>
                  <a:gd name="T71" fmla="*/ 110 h 140"/>
                  <a:gd name="T72" fmla="*/ 36 w 170"/>
                  <a:gd name="T73" fmla="*/ 124 h 140"/>
                  <a:gd name="T74" fmla="*/ 32 w 170"/>
                  <a:gd name="T75" fmla="*/ 134 h 140"/>
                  <a:gd name="T76" fmla="*/ 30 w 170"/>
                  <a:gd name="T77" fmla="*/ 136 h 140"/>
                  <a:gd name="T78" fmla="*/ 10 w 170"/>
                  <a:gd name="T79" fmla="*/ 126 h 140"/>
                  <a:gd name="T80" fmla="*/ 12 w 170"/>
                  <a:gd name="T81" fmla="*/ 118 h 140"/>
                  <a:gd name="T82" fmla="*/ 6 w 170"/>
                  <a:gd name="T83" fmla="*/ 102 h 140"/>
                  <a:gd name="T84" fmla="*/ 0 w 170"/>
                  <a:gd name="T85" fmla="*/ 74 h 140"/>
                  <a:gd name="T86" fmla="*/ 16 w 170"/>
                  <a:gd name="T87" fmla="*/ 44 h 140"/>
                  <a:gd name="T88" fmla="*/ 42 w 170"/>
                  <a:gd name="T89" fmla="*/ 32 h 140"/>
                  <a:gd name="T90" fmla="*/ 32 w 170"/>
                  <a:gd name="T91" fmla="*/ 46 h 140"/>
                  <a:gd name="T92" fmla="*/ 26 w 170"/>
                  <a:gd name="T93" fmla="*/ 60 h 140"/>
                  <a:gd name="T94" fmla="*/ 34 w 170"/>
                  <a:gd name="T95" fmla="*/ 76 h 140"/>
                  <a:gd name="T96" fmla="*/ 34 w 170"/>
                  <a:gd name="T97" fmla="*/ 88 h 140"/>
                  <a:gd name="T98" fmla="*/ 48 w 170"/>
                  <a:gd name="T99" fmla="*/ 96 h 140"/>
                  <a:gd name="T100" fmla="*/ 58 w 170"/>
                  <a:gd name="T101" fmla="*/ 92 h 140"/>
                  <a:gd name="T102" fmla="*/ 80 w 170"/>
                  <a:gd name="T103" fmla="*/ 82 h 140"/>
                  <a:gd name="T104" fmla="*/ 80 w 170"/>
                  <a:gd name="T105" fmla="*/ 56 h 140"/>
                  <a:gd name="T106" fmla="*/ 78 w 170"/>
                  <a:gd name="T107" fmla="*/ 58 h 140"/>
                  <a:gd name="T108" fmla="*/ 76 w 170"/>
                  <a:gd name="T109" fmla="*/ 80 h 140"/>
                  <a:gd name="T110" fmla="*/ 56 w 170"/>
                  <a:gd name="T111" fmla="*/ 90 h 140"/>
                  <a:gd name="T112" fmla="*/ 42 w 170"/>
                  <a:gd name="T113" fmla="*/ 90 h 140"/>
                  <a:gd name="T114" fmla="*/ 38 w 170"/>
                  <a:gd name="T115" fmla="*/ 82 h 140"/>
                  <a:gd name="T116" fmla="*/ 44 w 170"/>
                  <a:gd name="T117" fmla="*/ 66 h 140"/>
                  <a:gd name="T118" fmla="*/ 30 w 170"/>
                  <a:gd name="T119" fmla="*/ 62 h 140"/>
                  <a:gd name="T120" fmla="*/ 32 w 170"/>
                  <a:gd name="T121" fmla="*/ 52 h 140"/>
                  <a:gd name="T122" fmla="*/ 58 w 170"/>
                  <a:gd name="T123" fmla="*/ 22 h 140"/>
                  <a:gd name="T124" fmla="*/ 72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2"/>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2" y="44"/>
                    </a:lnTo>
                    <a:lnTo>
                      <a:pt x="142" y="44"/>
                    </a:lnTo>
                    <a:lnTo>
                      <a:pt x="144" y="44"/>
                    </a:lnTo>
                    <a:lnTo>
                      <a:pt x="144" y="44"/>
                    </a:lnTo>
                    <a:lnTo>
                      <a:pt x="146" y="46"/>
                    </a:lnTo>
                    <a:lnTo>
                      <a:pt x="146" y="46"/>
                    </a:lnTo>
                    <a:lnTo>
                      <a:pt x="144" y="58"/>
                    </a:lnTo>
                    <a:lnTo>
                      <a:pt x="144" y="58"/>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6" y="26"/>
                    </a:lnTo>
                    <a:lnTo>
                      <a:pt x="166" y="26"/>
                    </a:lnTo>
                    <a:lnTo>
                      <a:pt x="168" y="38"/>
                    </a:lnTo>
                    <a:lnTo>
                      <a:pt x="168" y="38"/>
                    </a:lnTo>
                    <a:lnTo>
                      <a:pt x="170" y="52"/>
                    </a:lnTo>
                    <a:lnTo>
                      <a:pt x="170" y="60"/>
                    </a:lnTo>
                    <a:lnTo>
                      <a:pt x="168" y="66"/>
                    </a:lnTo>
                    <a:lnTo>
                      <a:pt x="168" y="66"/>
                    </a:lnTo>
                    <a:lnTo>
                      <a:pt x="164" y="76"/>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6"/>
                    </a:lnTo>
                    <a:lnTo>
                      <a:pt x="124" y="96"/>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6"/>
                    </a:lnTo>
                    <a:lnTo>
                      <a:pt x="112" y="96"/>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2" y="110"/>
                    </a:lnTo>
                    <a:lnTo>
                      <a:pt x="60" y="112"/>
                    </a:lnTo>
                    <a:lnTo>
                      <a:pt x="56" y="114"/>
                    </a:lnTo>
                    <a:lnTo>
                      <a:pt x="56" y="114"/>
                    </a:lnTo>
                    <a:lnTo>
                      <a:pt x="52" y="112"/>
                    </a:lnTo>
                    <a:lnTo>
                      <a:pt x="52" y="112"/>
                    </a:lnTo>
                    <a:lnTo>
                      <a:pt x="46" y="112"/>
                    </a:lnTo>
                    <a:lnTo>
                      <a:pt x="46" y="112"/>
                    </a:lnTo>
                    <a:lnTo>
                      <a:pt x="42" y="112"/>
                    </a:lnTo>
                    <a:lnTo>
                      <a:pt x="40" y="110"/>
                    </a:lnTo>
                    <a:lnTo>
                      <a:pt x="38" y="108"/>
                    </a:lnTo>
                    <a:lnTo>
                      <a:pt x="38" y="108"/>
                    </a:lnTo>
                    <a:lnTo>
                      <a:pt x="38" y="110"/>
                    </a:lnTo>
                    <a:lnTo>
                      <a:pt x="38" y="110"/>
                    </a:lnTo>
                    <a:lnTo>
                      <a:pt x="38" y="112"/>
                    </a:lnTo>
                    <a:lnTo>
                      <a:pt x="38" y="112"/>
                    </a:lnTo>
                    <a:lnTo>
                      <a:pt x="38" y="120"/>
                    </a:lnTo>
                    <a:lnTo>
                      <a:pt x="36" y="124"/>
                    </a:lnTo>
                    <a:lnTo>
                      <a:pt x="34" y="126"/>
                    </a:lnTo>
                    <a:lnTo>
                      <a:pt x="34" y="126"/>
                    </a:lnTo>
                    <a:lnTo>
                      <a:pt x="34" y="130"/>
                    </a:lnTo>
                    <a:lnTo>
                      <a:pt x="32" y="134"/>
                    </a:lnTo>
                    <a:lnTo>
                      <a:pt x="32" y="134"/>
                    </a:lnTo>
                    <a:lnTo>
                      <a:pt x="32" y="136"/>
                    </a:lnTo>
                    <a:lnTo>
                      <a:pt x="30" y="136"/>
                    </a:lnTo>
                    <a:lnTo>
                      <a:pt x="30" y="136"/>
                    </a:lnTo>
                    <a:lnTo>
                      <a:pt x="12" y="134"/>
                    </a:lnTo>
                    <a:lnTo>
                      <a:pt x="12" y="134"/>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8" y="50"/>
                    </a:lnTo>
                    <a:lnTo>
                      <a:pt x="16" y="44"/>
                    </a:lnTo>
                    <a:lnTo>
                      <a:pt x="16" y="44"/>
                    </a:lnTo>
                    <a:lnTo>
                      <a:pt x="28" y="36"/>
                    </a:lnTo>
                    <a:lnTo>
                      <a:pt x="42" y="32"/>
                    </a:lnTo>
                    <a:lnTo>
                      <a:pt x="42" y="32"/>
                    </a:lnTo>
                    <a:lnTo>
                      <a:pt x="44" y="32"/>
                    </a:lnTo>
                    <a:lnTo>
                      <a:pt x="44" y="32"/>
                    </a:lnTo>
                    <a:lnTo>
                      <a:pt x="32" y="46"/>
                    </a:lnTo>
                    <a:lnTo>
                      <a:pt x="32" y="46"/>
                    </a:lnTo>
                    <a:lnTo>
                      <a:pt x="28" y="52"/>
                    </a:lnTo>
                    <a:lnTo>
                      <a:pt x="26" y="58"/>
                    </a:lnTo>
                    <a:lnTo>
                      <a:pt x="26" y="58"/>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6"/>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8" y="84"/>
                    </a:lnTo>
                    <a:lnTo>
                      <a:pt x="38" y="82"/>
                    </a:lnTo>
                    <a:lnTo>
                      <a:pt x="38" y="82"/>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4" name="Freeform 1351"/>
              <p:cNvSpPr>
                <a:spLocks/>
              </p:cNvSpPr>
              <p:nvPr/>
            </p:nvSpPr>
            <p:spPr bwMode="auto">
              <a:xfrm>
                <a:off x="6700" y="1766"/>
                <a:ext cx="188" cy="144"/>
              </a:xfrm>
              <a:custGeom>
                <a:avLst/>
                <a:gdLst>
                  <a:gd name="T0" fmla="*/ 104 w 188"/>
                  <a:gd name="T1" fmla="*/ 0 h 144"/>
                  <a:gd name="T2" fmla="*/ 84 w 188"/>
                  <a:gd name="T3" fmla="*/ 10 h 144"/>
                  <a:gd name="T4" fmla="*/ 76 w 188"/>
                  <a:gd name="T5" fmla="*/ 18 h 144"/>
                  <a:gd name="T6" fmla="*/ 70 w 188"/>
                  <a:gd name="T7" fmla="*/ 22 h 144"/>
                  <a:gd name="T8" fmla="*/ 52 w 188"/>
                  <a:gd name="T9" fmla="*/ 30 h 144"/>
                  <a:gd name="T10" fmla="*/ 32 w 188"/>
                  <a:gd name="T11" fmla="*/ 38 h 144"/>
                  <a:gd name="T12" fmla="*/ 16 w 188"/>
                  <a:gd name="T13" fmla="*/ 54 h 144"/>
                  <a:gd name="T14" fmla="*/ 6 w 188"/>
                  <a:gd name="T15" fmla="*/ 62 h 144"/>
                  <a:gd name="T16" fmla="*/ 10 w 188"/>
                  <a:gd name="T17" fmla="*/ 54 h 144"/>
                  <a:gd name="T18" fmla="*/ 12 w 188"/>
                  <a:gd name="T19" fmla="*/ 48 h 144"/>
                  <a:gd name="T20" fmla="*/ 10 w 188"/>
                  <a:gd name="T21" fmla="*/ 44 h 144"/>
                  <a:gd name="T22" fmla="*/ 0 w 188"/>
                  <a:gd name="T23" fmla="*/ 56 h 144"/>
                  <a:gd name="T24" fmla="*/ 2 w 188"/>
                  <a:gd name="T25" fmla="*/ 66 h 144"/>
                  <a:gd name="T26" fmla="*/ 10 w 188"/>
                  <a:gd name="T27" fmla="*/ 72 h 144"/>
                  <a:gd name="T28" fmla="*/ 10 w 188"/>
                  <a:gd name="T29" fmla="*/ 84 h 144"/>
                  <a:gd name="T30" fmla="*/ 8 w 188"/>
                  <a:gd name="T31" fmla="*/ 98 h 144"/>
                  <a:gd name="T32" fmla="*/ 2 w 188"/>
                  <a:gd name="T33" fmla="*/ 106 h 144"/>
                  <a:gd name="T34" fmla="*/ 4 w 188"/>
                  <a:gd name="T35" fmla="*/ 116 h 144"/>
                  <a:gd name="T36" fmla="*/ 14 w 188"/>
                  <a:gd name="T37" fmla="*/ 124 h 144"/>
                  <a:gd name="T38" fmla="*/ 20 w 188"/>
                  <a:gd name="T39" fmla="*/ 130 h 144"/>
                  <a:gd name="T40" fmla="*/ 22 w 188"/>
                  <a:gd name="T41" fmla="*/ 136 h 144"/>
                  <a:gd name="T42" fmla="*/ 32 w 188"/>
                  <a:gd name="T43" fmla="*/ 140 h 144"/>
                  <a:gd name="T44" fmla="*/ 44 w 188"/>
                  <a:gd name="T45" fmla="*/ 142 h 144"/>
                  <a:gd name="T46" fmla="*/ 48 w 188"/>
                  <a:gd name="T47" fmla="*/ 140 h 144"/>
                  <a:gd name="T48" fmla="*/ 50 w 188"/>
                  <a:gd name="T49" fmla="*/ 130 h 144"/>
                  <a:gd name="T50" fmla="*/ 56 w 188"/>
                  <a:gd name="T51" fmla="*/ 118 h 144"/>
                  <a:gd name="T52" fmla="*/ 64 w 188"/>
                  <a:gd name="T53" fmla="*/ 122 h 144"/>
                  <a:gd name="T54" fmla="*/ 74 w 188"/>
                  <a:gd name="T55" fmla="*/ 142 h 144"/>
                  <a:gd name="T56" fmla="*/ 80 w 188"/>
                  <a:gd name="T57" fmla="*/ 144 h 144"/>
                  <a:gd name="T58" fmla="*/ 88 w 188"/>
                  <a:gd name="T59" fmla="*/ 140 h 144"/>
                  <a:gd name="T60" fmla="*/ 96 w 188"/>
                  <a:gd name="T61" fmla="*/ 132 h 144"/>
                  <a:gd name="T62" fmla="*/ 116 w 188"/>
                  <a:gd name="T63" fmla="*/ 132 h 144"/>
                  <a:gd name="T64" fmla="*/ 122 w 188"/>
                  <a:gd name="T65" fmla="*/ 130 h 144"/>
                  <a:gd name="T66" fmla="*/ 122 w 188"/>
                  <a:gd name="T67" fmla="*/ 122 h 144"/>
                  <a:gd name="T68" fmla="*/ 120 w 188"/>
                  <a:gd name="T69" fmla="*/ 104 h 144"/>
                  <a:gd name="T70" fmla="*/ 116 w 188"/>
                  <a:gd name="T71" fmla="*/ 94 h 144"/>
                  <a:gd name="T72" fmla="*/ 124 w 188"/>
                  <a:gd name="T73" fmla="*/ 100 h 144"/>
                  <a:gd name="T74" fmla="*/ 132 w 188"/>
                  <a:gd name="T75" fmla="*/ 104 h 144"/>
                  <a:gd name="T76" fmla="*/ 144 w 188"/>
                  <a:gd name="T77" fmla="*/ 98 h 144"/>
                  <a:gd name="T78" fmla="*/ 148 w 188"/>
                  <a:gd name="T79" fmla="*/ 90 h 144"/>
                  <a:gd name="T80" fmla="*/ 154 w 188"/>
                  <a:gd name="T81" fmla="*/ 90 h 144"/>
                  <a:gd name="T82" fmla="*/ 158 w 188"/>
                  <a:gd name="T83" fmla="*/ 90 h 144"/>
                  <a:gd name="T84" fmla="*/ 180 w 188"/>
                  <a:gd name="T85" fmla="*/ 78 h 144"/>
                  <a:gd name="T86" fmla="*/ 188 w 188"/>
                  <a:gd name="T87" fmla="*/ 58 h 144"/>
                  <a:gd name="T88" fmla="*/ 186 w 188"/>
                  <a:gd name="T89" fmla="*/ 36 h 144"/>
                  <a:gd name="T90" fmla="*/ 180 w 188"/>
                  <a:gd name="T91" fmla="*/ 24 h 144"/>
                  <a:gd name="T92" fmla="*/ 172 w 188"/>
                  <a:gd name="T93" fmla="*/ 24 h 144"/>
                  <a:gd name="T94" fmla="*/ 166 w 188"/>
                  <a:gd name="T95" fmla="*/ 30 h 144"/>
                  <a:gd name="T96" fmla="*/ 162 w 188"/>
                  <a:gd name="T97" fmla="*/ 32 h 144"/>
                  <a:gd name="T98" fmla="*/ 156 w 188"/>
                  <a:gd name="T99" fmla="*/ 24 h 144"/>
                  <a:gd name="T100" fmla="*/ 138 w 188"/>
                  <a:gd name="T101" fmla="*/ 8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4" y="0"/>
                    </a:lnTo>
                    <a:lnTo>
                      <a:pt x="98" y="2"/>
                    </a:lnTo>
                    <a:lnTo>
                      <a:pt x="90" y="6"/>
                    </a:lnTo>
                    <a:lnTo>
                      <a:pt x="84" y="10"/>
                    </a:lnTo>
                    <a:lnTo>
                      <a:pt x="84" y="10"/>
                    </a:lnTo>
                    <a:lnTo>
                      <a:pt x="78" y="16"/>
                    </a:lnTo>
                    <a:lnTo>
                      <a:pt x="76" y="18"/>
                    </a:lnTo>
                    <a:lnTo>
                      <a:pt x="72" y="20"/>
                    </a:lnTo>
                    <a:lnTo>
                      <a:pt x="72" y="20"/>
                    </a:lnTo>
                    <a:lnTo>
                      <a:pt x="70" y="22"/>
                    </a:lnTo>
                    <a:lnTo>
                      <a:pt x="70" y="22"/>
                    </a:lnTo>
                    <a:lnTo>
                      <a:pt x="62" y="28"/>
                    </a:lnTo>
                    <a:lnTo>
                      <a:pt x="52" y="30"/>
                    </a:lnTo>
                    <a:lnTo>
                      <a:pt x="52" y="30"/>
                    </a:lnTo>
                    <a:lnTo>
                      <a:pt x="42" y="34"/>
                    </a:lnTo>
                    <a:lnTo>
                      <a:pt x="32" y="38"/>
                    </a:lnTo>
                    <a:lnTo>
                      <a:pt x="24" y="46"/>
                    </a:lnTo>
                    <a:lnTo>
                      <a:pt x="16" y="54"/>
                    </a:lnTo>
                    <a:lnTo>
                      <a:pt x="16" y="54"/>
                    </a:lnTo>
                    <a:lnTo>
                      <a:pt x="12" y="60"/>
                    </a:lnTo>
                    <a:lnTo>
                      <a:pt x="12" y="60"/>
                    </a:lnTo>
                    <a:lnTo>
                      <a:pt x="6" y="62"/>
                    </a:lnTo>
                    <a:lnTo>
                      <a:pt x="6" y="62"/>
                    </a:lnTo>
                    <a:lnTo>
                      <a:pt x="10" y="54"/>
                    </a:lnTo>
                    <a:lnTo>
                      <a:pt x="10" y="54"/>
                    </a:lnTo>
                    <a:lnTo>
                      <a:pt x="12" y="54"/>
                    </a:lnTo>
                    <a:lnTo>
                      <a:pt x="12" y="54"/>
                    </a:lnTo>
                    <a:lnTo>
                      <a:pt x="12" y="48"/>
                    </a:lnTo>
                    <a:lnTo>
                      <a:pt x="12" y="48"/>
                    </a:lnTo>
                    <a:lnTo>
                      <a:pt x="10" y="44"/>
                    </a:lnTo>
                    <a:lnTo>
                      <a:pt x="10" y="44"/>
                    </a:lnTo>
                    <a:lnTo>
                      <a:pt x="2" y="48"/>
                    </a:lnTo>
                    <a:lnTo>
                      <a:pt x="0" y="52"/>
                    </a:lnTo>
                    <a:lnTo>
                      <a:pt x="0" y="56"/>
                    </a:lnTo>
                    <a:lnTo>
                      <a:pt x="0" y="56"/>
                    </a:lnTo>
                    <a:lnTo>
                      <a:pt x="0" y="62"/>
                    </a:lnTo>
                    <a:lnTo>
                      <a:pt x="2" y="66"/>
                    </a:lnTo>
                    <a:lnTo>
                      <a:pt x="2" y="66"/>
                    </a:lnTo>
                    <a:lnTo>
                      <a:pt x="6" y="70"/>
                    </a:lnTo>
                    <a:lnTo>
                      <a:pt x="10" y="72"/>
                    </a:lnTo>
                    <a:lnTo>
                      <a:pt x="10" y="72"/>
                    </a:lnTo>
                    <a:lnTo>
                      <a:pt x="10" y="84"/>
                    </a:lnTo>
                    <a:lnTo>
                      <a:pt x="10" y="84"/>
                    </a:lnTo>
                    <a:lnTo>
                      <a:pt x="12" y="88"/>
                    </a:lnTo>
                    <a:lnTo>
                      <a:pt x="10" y="94"/>
                    </a:lnTo>
                    <a:lnTo>
                      <a:pt x="8" y="98"/>
                    </a:lnTo>
                    <a:lnTo>
                      <a:pt x="4" y="100"/>
                    </a:lnTo>
                    <a:lnTo>
                      <a:pt x="4" y="100"/>
                    </a:lnTo>
                    <a:lnTo>
                      <a:pt x="2" y="106"/>
                    </a:lnTo>
                    <a:lnTo>
                      <a:pt x="2" y="112"/>
                    </a:lnTo>
                    <a:lnTo>
                      <a:pt x="2" y="112"/>
                    </a:lnTo>
                    <a:lnTo>
                      <a:pt x="4" y="116"/>
                    </a:lnTo>
                    <a:lnTo>
                      <a:pt x="8" y="120"/>
                    </a:lnTo>
                    <a:lnTo>
                      <a:pt x="8" y="120"/>
                    </a:lnTo>
                    <a:lnTo>
                      <a:pt x="14" y="124"/>
                    </a:lnTo>
                    <a:lnTo>
                      <a:pt x="22" y="126"/>
                    </a:lnTo>
                    <a:lnTo>
                      <a:pt x="22" y="126"/>
                    </a:lnTo>
                    <a:lnTo>
                      <a:pt x="20" y="130"/>
                    </a:lnTo>
                    <a:lnTo>
                      <a:pt x="20" y="130"/>
                    </a:lnTo>
                    <a:lnTo>
                      <a:pt x="20" y="134"/>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0" y="130"/>
                    </a:lnTo>
                    <a:lnTo>
                      <a:pt x="50" y="130"/>
                    </a:lnTo>
                    <a:lnTo>
                      <a:pt x="56" y="118"/>
                    </a:lnTo>
                    <a:lnTo>
                      <a:pt x="56" y="118"/>
                    </a:lnTo>
                    <a:lnTo>
                      <a:pt x="68" y="118"/>
                    </a:lnTo>
                    <a:lnTo>
                      <a:pt x="68" y="118"/>
                    </a:lnTo>
                    <a:lnTo>
                      <a:pt x="64" y="122"/>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6"/>
                    </a:lnTo>
                    <a:lnTo>
                      <a:pt x="122" y="122"/>
                    </a:lnTo>
                    <a:lnTo>
                      <a:pt x="122" y="122"/>
                    </a:lnTo>
                    <a:lnTo>
                      <a:pt x="122" y="114"/>
                    </a:lnTo>
                    <a:lnTo>
                      <a:pt x="122" y="114"/>
                    </a:lnTo>
                    <a:lnTo>
                      <a:pt x="120" y="104"/>
                    </a:lnTo>
                    <a:lnTo>
                      <a:pt x="120" y="104"/>
                    </a:lnTo>
                    <a:lnTo>
                      <a:pt x="116" y="94"/>
                    </a:lnTo>
                    <a:lnTo>
                      <a:pt x="116" y="94"/>
                    </a:lnTo>
                    <a:lnTo>
                      <a:pt x="118" y="94"/>
                    </a:lnTo>
                    <a:lnTo>
                      <a:pt x="118" y="94"/>
                    </a:lnTo>
                    <a:lnTo>
                      <a:pt x="124" y="100"/>
                    </a:lnTo>
                    <a:lnTo>
                      <a:pt x="124" y="100"/>
                    </a:lnTo>
                    <a:lnTo>
                      <a:pt x="128" y="102"/>
                    </a:lnTo>
                    <a:lnTo>
                      <a:pt x="132" y="104"/>
                    </a:lnTo>
                    <a:lnTo>
                      <a:pt x="132" y="104"/>
                    </a:lnTo>
                    <a:lnTo>
                      <a:pt x="140" y="102"/>
                    </a:lnTo>
                    <a:lnTo>
                      <a:pt x="144" y="98"/>
                    </a:lnTo>
                    <a:lnTo>
                      <a:pt x="146" y="94"/>
                    </a:lnTo>
                    <a:lnTo>
                      <a:pt x="146" y="94"/>
                    </a:lnTo>
                    <a:lnTo>
                      <a:pt x="148" y="90"/>
                    </a:lnTo>
                    <a:lnTo>
                      <a:pt x="150" y="90"/>
                    </a:lnTo>
                    <a:lnTo>
                      <a:pt x="150" y="90"/>
                    </a:lnTo>
                    <a:lnTo>
                      <a:pt x="154" y="90"/>
                    </a:lnTo>
                    <a:lnTo>
                      <a:pt x="154" y="90"/>
                    </a:lnTo>
                    <a:lnTo>
                      <a:pt x="158" y="90"/>
                    </a:lnTo>
                    <a:lnTo>
                      <a:pt x="158" y="90"/>
                    </a:lnTo>
                    <a:lnTo>
                      <a:pt x="166" y="88"/>
                    </a:lnTo>
                    <a:lnTo>
                      <a:pt x="174" y="86"/>
                    </a:lnTo>
                    <a:lnTo>
                      <a:pt x="180" y="78"/>
                    </a:lnTo>
                    <a:lnTo>
                      <a:pt x="184" y="70"/>
                    </a:lnTo>
                    <a:lnTo>
                      <a:pt x="184" y="70"/>
                    </a:lnTo>
                    <a:lnTo>
                      <a:pt x="188" y="58"/>
                    </a:lnTo>
                    <a:lnTo>
                      <a:pt x="186" y="46"/>
                    </a:lnTo>
                    <a:lnTo>
                      <a:pt x="186" y="46"/>
                    </a:lnTo>
                    <a:lnTo>
                      <a:pt x="186" y="36"/>
                    </a:lnTo>
                    <a:lnTo>
                      <a:pt x="182" y="28"/>
                    </a:lnTo>
                    <a:lnTo>
                      <a:pt x="182" y="28"/>
                    </a:lnTo>
                    <a:lnTo>
                      <a:pt x="180" y="24"/>
                    </a:lnTo>
                    <a:lnTo>
                      <a:pt x="176" y="22"/>
                    </a:lnTo>
                    <a:lnTo>
                      <a:pt x="176" y="22"/>
                    </a:lnTo>
                    <a:lnTo>
                      <a:pt x="172"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5" name="Freeform 1352"/>
              <p:cNvSpPr>
                <a:spLocks/>
              </p:cNvSpPr>
              <p:nvPr/>
            </p:nvSpPr>
            <p:spPr bwMode="auto">
              <a:xfrm>
                <a:off x="6706" y="1864"/>
                <a:ext cx="16" cy="24"/>
              </a:xfrm>
              <a:custGeom>
                <a:avLst/>
                <a:gdLst>
                  <a:gd name="T0" fmla="*/ 6 w 16"/>
                  <a:gd name="T1" fmla="*/ 0 h 24"/>
                  <a:gd name="T2" fmla="*/ 6 w 16"/>
                  <a:gd name="T3" fmla="*/ 0 h 24"/>
                  <a:gd name="T4" fmla="*/ 2 w 16"/>
                  <a:gd name="T5" fmla="*/ 6 h 24"/>
                  <a:gd name="T6" fmla="*/ 2 w 16"/>
                  <a:gd name="T7" fmla="*/ 6 h 24"/>
                  <a:gd name="T8" fmla="*/ 0 w 16"/>
                  <a:gd name="T9" fmla="*/ 6 h 24"/>
                  <a:gd name="T10" fmla="*/ 0 w 16"/>
                  <a:gd name="T11" fmla="*/ 6 h 24"/>
                  <a:gd name="T12" fmla="*/ 0 w 16"/>
                  <a:gd name="T13" fmla="*/ 10 h 24"/>
                  <a:gd name="T14" fmla="*/ 0 w 16"/>
                  <a:gd name="T15" fmla="*/ 10 h 24"/>
                  <a:gd name="T16" fmla="*/ 0 w 16"/>
                  <a:gd name="T17" fmla="*/ 14 h 24"/>
                  <a:gd name="T18" fmla="*/ 4 w 16"/>
                  <a:gd name="T19" fmla="*/ 18 h 24"/>
                  <a:gd name="T20" fmla="*/ 8 w 16"/>
                  <a:gd name="T21" fmla="*/ 22 h 24"/>
                  <a:gd name="T22" fmla="*/ 12 w 16"/>
                  <a:gd name="T23" fmla="*/ 24 h 24"/>
                  <a:gd name="T24" fmla="*/ 12 w 16"/>
                  <a:gd name="T25" fmla="*/ 24 h 24"/>
                  <a:gd name="T26" fmla="*/ 12 w 16"/>
                  <a:gd name="T27" fmla="*/ 24 h 24"/>
                  <a:gd name="T28" fmla="*/ 12 w 16"/>
                  <a:gd name="T29" fmla="*/ 24 h 24"/>
                  <a:gd name="T30" fmla="*/ 14 w 16"/>
                  <a:gd name="T31" fmla="*/ 24 h 24"/>
                  <a:gd name="T32" fmla="*/ 14 w 16"/>
                  <a:gd name="T33" fmla="*/ 24 h 24"/>
                  <a:gd name="T34" fmla="*/ 16 w 16"/>
                  <a:gd name="T35" fmla="*/ 22 h 24"/>
                  <a:gd name="T36" fmla="*/ 16 w 16"/>
                  <a:gd name="T37" fmla="*/ 18 h 24"/>
                  <a:gd name="T38" fmla="*/ 16 w 16"/>
                  <a:gd name="T39" fmla="*/ 18 h 24"/>
                  <a:gd name="T40" fmla="*/ 6 w 16"/>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4">
                    <a:moveTo>
                      <a:pt x="6" y="0"/>
                    </a:moveTo>
                    <a:lnTo>
                      <a:pt x="6" y="0"/>
                    </a:lnTo>
                    <a:lnTo>
                      <a:pt x="2" y="6"/>
                    </a:lnTo>
                    <a:lnTo>
                      <a:pt x="2" y="6"/>
                    </a:lnTo>
                    <a:lnTo>
                      <a:pt x="0" y="6"/>
                    </a:lnTo>
                    <a:lnTo>
                      <a:pt x="0" y="6"/>
                    </a:lnTo>
                    <a:lnTo>
                      <a:pt x="0" y="10"/>
                    </a:lnTo>
                    <a:lnTo>
                      <a:pt x="0" y="10"/>
                    </a:lnTo>
                    <a:lnTo>
                      <a:pt x="0" y="14"/>
                    </a:lnTo>
                    <a:lnTo>
                      <a:pt x="4" y="18"/>
                    </a:lnTo>
                    <a:lnTo>
                      <a:pt x="8" y="22"/>
                    </a:lnTo>
                    <a:lnTo>
                      <a:pt x="12" y="24"/>
                    </a:lnTo>
                    <a:lnTo>
                      <a:pt x="12" y="24"/>
                    </a:lnTo>
                    <a:lnTo>
                      <a:pt x="12" y="24"/>
                    </a:lnTo>
                    <a:lnTo>
                      <a:pt x="12" y="24"/>
                    </a:lnTo>
                    <a:lnTo>
                      <a:pt x="14" y="24"/>
                    </a:lnTo>
                    <a:lnTo>
                      <a:pt x="14" y="24"/>
                    </a:lnTo>
                    <a:lnTo>
                      <a:pt x="16" y="22"/>
                    </a:lnTo>
                    <a:lnTo>
                      <a:pt x="16" y="18"/>
                    </a:lnTo>
                    <a:lnTo>
                      <a:pt x="16" y="1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6" name="Freeform 1353"/>
              <p:cNvSpPr>
                <a:spLocks/>
              </p:cNvSpPr>
              <p:nvPr/>
            </p:nvSpPr>
            <p:spPr bwMode="auto">
              <a:xfrm>
                <a:off x="6706" y="1864"/>
                <a:ext cx="16" cy="24"/>
              </a:xfrm>
              <a:custGeom>
                <a:avLst/>
                <a:gdLst>
                  <a:gd name="T0" fmla="*/ 6 w 16"/>
                  <a:gd name="T1" fmla="*/ 0 h 24"/>
                  <a:gd name="T2" fmla="*/ 6 w 16"/>
                  <a:gd name="T3" fmla="*/ 0 h 24"/>
                  <a:gd name="T4" fmla="*/ 2 w 16"/>
                  <a:gd name="T5" fmla="*/ 6 h 24"/>
                  <a:gd name="T6" fmla="*/ 2 w 16"/>
                  <a:gd name="T7" fmla="*/ 6 h 24"/>
                  <a:gd name="T8" fmla="*/ 0 w 16"/>
                  <a:gd name="T9" fmla="*/ 6 h 24"/>
                  <a:gd name="T10" fmla="*/ 0 w 16"/>
                  <a:gd name="T11" fmla="*/ 6 h 24"/>
                  <a:gd name="T12" fmla="*/ 0 w 16"/>
                  <a:gd name="T13" fmla="*/ 10 h 24"/>
                  <a:gd name="T14" fmla="*/ 0 w 16"/>
                  <a:gd name="T15" fmla="*/ 10 h 24"/>
                  <a:gd name="T16" fmla="*/ 0 w 16"/>
                  <a:gd name="T17" fmla="*/ 14 h 24"/>
                  <a:gd name="T18" fmla="*/ 4 w 16"/>
                  <a:gd name="T19" fmla="*/ 18 h 24"/>
                  <a:gd name="T20" fmla="*/ 8 w 16"/>
                  <a:gd name="T21" fmla="*/ 22 h 24"/>
                  <a:gd name="T22" fmla="*/ 12 w 16"/>
                  <a:gd name="T23" fmla="*/ 24 h 24"/>
                  <a:gd name="T24" fmla="*/ 12 w 16"/>
                  <a:gd name="T25" fmla="*/ 24 h 24"/>
                  <a:gd name="T26" fmla="*/ 12 w 16"/>
                  <a:gd name="T27" fmla="*/ 24 h 24"/>
                  <a:gd name="T28" fmla="*/ 12 w 16"/>
                  <a:gd name="T29" fmla="*/ 24 h 24"/>
                  <a:gd name="T30" fmla="*/ 14 w 16"/>
                  <a:gd name="T31" fmla="*/ 24 h 24"/>
                  <a:gd name="T32" fmla="*/ 14 w 16"/>
                  <a:gd name="T33" fmla="*/ 24 h 24"/>
                  <a:gd name="T34" fmla="*/ 16 w 16"/>
                  <a:gd name="T35" fmla="*/ 22 h 24"/>
                  <a:gd name="T36" fmla="*/ 16 w 16"/>
                  <a:gd name="T37" fmla="*/ 18 h 24"/>
                  <a:gd name="T38" fmla="*/ 16 w 16"/>
                  <a:gd name="T39" fmla="*/ 18 h 24"/>
                  <a:gd name="T40" fmla="*/ 6 w 16"/>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4">
                    <a:moveTo>
                      <a:pt x="6" y="0"/>
                    </a:moveTo>
                    <a:lnTo>
                      <a:pt x="6" y="0"/>
                    </a:lnTo>
                    <a:lnTo>
                      <a:pt x="2" y="6"/>
                    </a:lnTo>
                    <a:lnTo>
                      <a:pt x="2" y="6"/>
                    </a:lnTo>
                    <a:lnTo>
                      <a:pt x="0" y="6"/>
                    </a:lnTo>
                    <a:lnTo>
                      <a:pt x="0" y="6"/>
                    </a:lnTo>
                    <a:lnTo>
                      <a:pt x="0" y="10"/>
                    </a:lnTo>
                    <a:lnTo>
                      <a:pt x="0" y="10"/>
                    </a:lnTo>
                    <a:lnTo>
                      <a:pt x="0" y="14"/>
                    </a:lnTo>
                    <a:lnTo>
                      <a:pt x="4" y="18"/>
                    </a:lnTo>
                    <a:lnTo>
                      <a:pt x="8" y="22"/>
                    </a:lnTo>
                    <a:lnTo>
                      <a:pt x="12" y="24"/>
                    </a:lnTo>
                    <a:lnTo>
                      <a:pt x="12" y="24"/>
                    </a:lnTo>
                    <a:lnTo>
                      <a:pt x="12" y="24"/>
                    </a:lnTo>
                    <a:lnTo>
                      <a:pt x="12" y="24"/>
                    </a:lnTo>
                    <a:lnTo>
                      <a:pt x="14" y="24"/>
                    </a:lnTo>
                    <a:lnTo>
                      <a:pt x="14"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7" name="Freeform 1354"/>
              <p:cNvSpPr>
                <a:spLocks/>
              </p:cNvSpPr>
              <p:nvPr/>
            </p:nvSpPr>
            <p:spPr bwMode="auto">
              <a:xfrm>
                <a:off x="6708" y="1864"/>
                <a:ext cx="14" cy="24"/>
              </a:xfrm>
              <a:custGeom>
                <a:avLst/>
                <a:gdLst>
                  <a:gd name="T0" fmla="*/ 6 w 14"/>
                  <a:gd name="T1" fmla="*/ 0 h 24"/>
                  <a:gd name="T2" fmla="*/ 6 w 14"/>
                  <a:gd name="T3" fmla="*/ 0 h 24"/>
                  <a:gd name="T4" fmla="*/ 0 w 14"/>
                  <a:gd name="T5" fmla="*/ 6 h 24"/>
                  <a:gd name="T6" fmla="*/ 0 w 14"/>
                  <a:gd name="T7" fmla="*/ 6 h 24"/>
                  <a:gd name="T8" fmla="*/ 4 w 14"/>
                  <a:gd name="T9" fmla="*/ 0 h 24"/>
                  <a:gd name="T10" fmla="*/ 4 w 14"/>
                  <a:gd name="T11" fmla="*/ 0 h 24"/>
                  <a:gd name="T12" fmla="*/ 14 w 14"/>
                  <a:gd name="T13" fmla="*/ 18 h 24"/>
                  <a:gd name="T14" fmla="*/ 14 w 14"/>
                  <a:gd name="T15" fmla="*/ 18 h 24"/>
                  <a:gd name="T16" fmla="*/ 14 w 14"/>
                  <a:gd name="T17" fmla="*/ 22 h 24"/>
                  <a:gd name="T18" fmla="*/ 12 w 14"/>
                  <a:gd name="T19" fmla="*/ 24 h 24"/>
                  <a:gd name="T20" fmla="*/ 12 w 14"/>
                  <a:gd name="T21" fmla="*/ 24 h 24"/>
                  <a:gd name="T22" fmla="*/ 10 w 14"/>
                  <a:gd name="T23" fmla="*/ 24 h 24"/>
                  <a:gd name="T24" fmla="*/ 10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2 w 14"/>
                  <a:gd name="T37" fmla="*/ 24 h 24"/>
                  <a:gd name="T38" fmla="*/ 14 w 14"/>
                  <a:gd name="T39" fmla="*/ 22 h 24"/>
                  <a:gd name="T40" fmla="*/ 14 w 14"/>
                  <a:gd name="T41" fmla="*/ 18 h 24"/>
                  <a:gd name="T42" fmla="*/ 14 w 14"/>
                  <a:gd name="T43" fmla="*/ 18 h 24"/>
                  <a:gd name="T44" fmla="*/ 6 w 1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4">
                    <a:moveTo>
                      <a:pt x="6" y="0"/>
                    </a:moveTo>
                    <a:lnTo>
                      <a:pt x="6" y="0"/>
                    </a:lnTo>
                    <a:lnTo>
                      <a:pt x="0" y="6"/>
                    </a:lnTo>
                    <a:lnTo>
                      <a:pt x="0" y="6"/>
                    </a:lnTo>
                    <a:lnTo>
                      <a:pt x="4" y="0"/>
                    </a:lnTo>
                    <a:lnTo>
                      <a:pt x="4" y="0"/>
                    </a:lnTo>
                    <a:lnTo>
                      <a:pt x="14" y="18"/>
                    </a:lnTo>
                    <a:lnTo>
                      <a:pt x="14" y="18"/>
                    </a:lnTo>
                    <a:lnTo>
                      <a:pt x="14" y="22"/>
                    </a:lnTo>
                    <a:lnTo>
                      <a:pt x="12" y="24"/>
                    </a:lnTo>
                    <a:lnTo>
                      <a:pt x="12" y="24"/>
                    </a:lnTo>
                    <a:lnTo>
                      <a:pt x="10" y="24"/>
                    </a:lnTo>
                    <a:lnTo>
                      <a:pt x="10" y="24"/>
                    </a:lnTo>
                    <a:lnTo>
                      <a:pt x="10" y="24"/>
                    </a:lnTo>
                    <a:lnTo>
                      <a:pt x="10" y="24"/>
                    </a:lnTo>
                    <a:lnTo>
                      <a:pt x="10" y="24"/>
                    </a:lnTo>
                    <a:lnTo>
                      <a:pt x="10" y="24"/>
                    </a:lnTo>
                    <a:lnTo>
                      <a:pt x="12" y="24"/>
                    </a:lnTo>
                    <a:lnTo>
                      <a:pt x="12" y="24"/>
                    </a:lnTo>
                    <a:lnTo>
                      <a:pt x="14" y="22"/>
                    </a:lnTo>
                    <a:lnTo>
                      <a:pt x="14" y="18"/>
                    </a:lnTo>
                    <a:lnTo>
                      <a:pt x="14"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8" name="Freeform 1355"/>
              <p:cNvSpPr>
                <a:spLocks/>
              </p:cNvSpPr>
              <p:nvPr/>
            </p:nvSpPr>
            <p:spPr bwMode="auto">
              <a:xfrm>
                <a:off x="6708" y="1864"/>
                <a:ext cx="14" cy="24"/>
              </a:xfrm>
              <a:custGeom>
                <a:avLst/>
                <a:gdLst>
                  <a:gd name="T0" fmla="*/ 6 w 14"/>
                  <a:gd name="T1" fmla="*/ 0 h 24"/>
                  <a:gd name="T2" fmla="*/ 6 w 14"/>
                  <a:gd name="T3" fmla="*/ 0 h 24"/>
                  <a:gd name="T4" fmla="*/ 0 w 14"/>
                  <a:gd name="T5" fmla="*/ 6 h 24"/>
                  <a:gd name="T6" fmla="*/ 0 w 14"/>
                  <a:gd name="T7" fmla="*/ 6 h 24"/>
                  <a:gd name="T8" fmla="*/ 4 w 14"/>
                  <a:gd name="T9" fmla="*/ 0 h 24"/>
                  <a:gd name="T10" fmla="*/ 4 w 14"/>
                  <a:gd name="T11" fmla="*/ 0 h 24"/>
                  <a:gd name="T12" fmla="*/ 14 w 14"/>
                  <a:gd name="T13" fmla="*/ 18 h 24"/>
                  <a:gd name="T14" fmla="*/ 14 w 14"/>
                  <a:gd name="T15" fmla="*/ 18 h 24"/>
                  <a:gd name="T16" fmla="*/ 14 w 14"/>
                  <a:gd name="T17" fmla="*/ 22 h 24"/>
                  <a:gd name="T18" fmla="*/ 12 w 14"/>
                  <a:gd name="T19" fmla="*/ 24 h 24"/>
                  <a:gd name="T20" fmla="*/ 12 w 14"/>
                  <a:gd name="T21" fmla="*/ 24 h 24"/>
                  <a:gd name="T22" fmla="*/ 10 w 14"/>
                  <a:gd name="T23" fmla="*/ 24 h 24"/>
                  <a:gd name="T24" fmla="*/ 10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2 w 14"/>
                  <a:gd name="T37" fmla="*/ 24 h 24"/>
                  <a:gd name="T38" fmla="*/ 14 w 14"/>
                  <a:gd name="T39" fmla="*/ 22 h 24"/>
                  <a:gd name="T40" fmla="*/ 14 w 14"/>
                  <a:gd name="T41" fmla="*/ 18 h 24"/>
                  <a:gd name="T42" fmla="*/ 14 w 14"/>
                  <a:gd name="T43" fmla="*/ 18 h 24"/>
                  <a:gd name="T44" fmla="*/ 6 w 1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4">
                    <a:moveTo>
                      <a:pt x="6" y="0"/>
                    </a:moveTo>
                    <a:lnTo>
                      <a:pt x="6" y="0"/>
                    </a:lnTo>
                    <a:lnTo>
                      <a:pt x="0" y="6"/>
                    </a:lnTo>
                    <a:lnTo>
                      <a:pt x="0" y="6"/>
                    </a:lnTo>
                    <a:lnTo>
                      <a:pt x="4" y="0"/>
                    </a:lnTo>
                    <a:lnTo>
                      <a:pt x="4" y="0"/>
                    </a:lnTo>
                    <a:lnTo>
                      <a:pt x="14" y="18"/>
                    </a:lnTo>
                    <a:lnTo>
                      <a:pt x="14" y="18"/>
                    </a:lnTo>
                    <a:lnTo>
                      <a:pt x="14" y="22"/>
                    </a:lnTo>
                    <a:lnTo>
                      <a:pt x="12" y="24"/>
                    </a:lnTo>
                    <a:lnTo>
                      <a:pt x="12" y="24"/>
                    </a:lnTo>
                    <a:lnTo>
                      <a:pt x="10" y="24"/>
                    </a:lnTo>
                    <a:lnTo>
                      <a:pt x="10" y="24"/>
                    </a:lnTo>
                    <a:lnTo>
                      <a:pt x="10" y="24"/>
                    </a:lnTo>
                    <a:lnTo>
                      <a:pt x="10" y="24"/>
                    </a:lnTo>
                    <a:lnTo>
                      <a:pt x="10" y="24"/>
                    </a:lnTo>
                    <a:lnTo>
                      <a:pt x="10" y="24"/>
                    </a:lnTo>
                    <a:lnTo>
                      <a:pt x="12" y="24"/>
                    </a:lnTo>
                    <a:lnTo>
                      <a:pt x="12" y="24"/>
                    </a:lnTo>
                    <a:lnTo>
                      <a:pt x="14" y="22"/>
                    </a:lnTo>
                    <a:lnTo>
                      <a:pt x="14" y="18"/>
                    </a:lnTo>
                    <a:lnTo>
                      <a:pt x="14"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9" name="Freeform 1356"/>
              <p:cNvSpPr>
                <a:spLocks/>
              </p:cNvSpPr>
              <p:nvPr/>
            </p:nvSpPr>
            <p:spPr bwMode="auto">
              <a:xfrm>
                <a:off x="6802" y="1868"/>
                <a:ext cx="18" cy="28"/>
              </a:xfrm>
              <a:custGeom>
                <a:avLst/>
                <a:gdLst>
                  <a:gd name="T0" fmla="*/ 14 w 18"/>
                  <a:gd name="T1" fmla="*/ 0 h 28"/>
                  <a:gd name="T2" fmla="*/ 14 w 18"/>
                  <a:gd name="T3" fmla="*/ 0 h 28"/>
                  <a:gd name="T4" fmla="*/ 6 w 18"/>
                  <a:gd name="T5" fmla="*/ 18 h 28"/>
                  <a:gd name="T6" fmla="*/ 6 w 18"/>
                  <a:gd name="T7" fmla="*/ 18 h 28"/>
                  <a:gd name="T8" fmla="*/ 0 w 18"/>
                  <a:gd name="T9" fmla="*/ 26 h 28"/>
                  <a:gd name="T10" fmla="*/ 0 w 18"/>
                  <a:gd name="T11" fmla="*/ 26 h 28"/>
                  <a:gd name="T12" fmla="*/ 10 w 18"/>
                  <a:gd name="T13" fmla="*/ 28 h 28"/>
                  <a:gd name="T14" fmla="*/ 10 w 18"/>
                  <a:gd name="T15" fmla="*/ 28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6" y="18"/>
                    </a:lnTo>
                    <a:lnTo>
                      <a:pt x="6" y="18"/>
                    </a:lnTo>
                    <a:lnTo>
                      <a:pt x="0" y="26"/>
                    </a:lnTo>
                    <a:lnTo>
                      <a:pt x="0" y="26"/>
                    </a:lnTo>
                    <a:lnTo>
                      <a:pt x="10" y="28"/>
                    </a:lnTo>
                    <a:lnTo>
                      <a:pt x="10" y="28"/>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0" name="Freeform 1357"/>
              <p:cNvSpPr>
                <a:spLocks/>
              </p:cNvSpPr>
              <p:nvPr/>
            </p:nvSpPr>
            <p:spPr bwMode="auto">
              <a:xfrm>
                <a:off x="6802" y="1868"/>
                <a:ext cx="18" cy="28"/>
              </a:xfrm>
              <a:custGeom>
                <a:avLst/>
                <a:gdLst>
                  <a:gd name="T0" fmla="*/ 14 w 18"/>
                  <a:gd name="T1" fmla="*/ 0 h 28"/>
                  <a:gd name="T2" fmla="*/ 14 w 18"/>
                  <a:gd name="T3" fmla="*/ 0 h 28"/>
                  <a:gd name="T4" fmla="*/ 6 w 18"/>
                  <a:gd name="T5" fmla="*/ 18 h 28"/>
                  <a:gd name="T6" fmla="*/ 6 w 18"/>
                  <a:gd name="T7" fmla="*/ 18 h 28"/>
                  <a:gd name="T8" fmla="*/ 0 w 18"/>
                  <a:gd name="T9" fmla="*/ 26 h 28"/>
                  <a:gd name="T10" fmla="*/ 0 w 18"/>
                  <a:gd name="T11" fmla="*/ 26 h 28"/>
                  <a:gd name="T12" fmla="*/ 10 w 18"/>
                  <a:gd name="T13" fmla="*/ 28 h 28"/>
                  <a:gd name="T14" fmla="*/ 10 w 18"/>
                  <a:gd name="T15" fmla="*/ 28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6" y="18"/>
                    </a:lnTo>
                    <a:lnTo>
                      <a:pt x="6" y="18"/>
                    </a:lnTo>
                    <a:lnTo>
                      <a:pt x="0" y="26"/>
                    </a:lnTo>
                    <a:lnTo>
                      <a:pt x="0" y="26"/>
                    </a:lnTo>
                    <a:lnTo>
                      <a:pt x="10" y="28"/>
                    </a:lnTo>
                    <a:lnTo>
                      <a:pt x="10" y="28"/>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1" name="Freeform 1358"/>
              <p:cNvSpPr>
                <a:spLocks/>
              </p:cNvSpPr>
              <p:nvPr/>
            </p:nvSpPr>
            <p:spPr bwMode="auto">
              <a:xfrm>
                <a:off x="6808" y="1868"/>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2" name="Freeform 1359"/>
              <p:cNvSpPr>
                <a:spLocks/>
              </p:cNvSpPr>
              <p:nvPr/>
            </p:nvSpPr>
            <p:spPr bwMode="auto">
              <a:xfrm>
                <a:off x="6808" y="1868"/>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3" name="Freeform 1360"/>
              <p:cNvSpPr>
                <a:spLocks/>
              </p:cNvSpPr>
              <p:nvPr/>
            </p:nvSpPr>
            <p:spPr bwMode="auto">
              <a:xfrm>
                <a:off x="6702" y="1814"/>
                <a:ext cx="10" cy="20"/>
              </a:xfrm>
              <a:custGeom>
                <a:avLst/>
                <a:gdLst>
                  <a:gd name="T0" fmla="*/ 6 w 10"/>
                  <a:gd name="T1" fmla="*/ 0 h 20"/>
                  <a:gd name="T2" fmla="*/ 6 w 10"/>
                  <a:gd name="T3" fmla="*/ 0 h 20"/>
                  <a:gd name="T4" fmla="*/ 6 w 10"/>
                  <a:gd name="T5" fmla="*/ 0 h 20"/>
                  <a:gd name="T6" fmla="*/ 6 w 10"/>
                  <a:gd name="T7" fmla="*/ 0 h 20"/>
                  <a:gd name="T8" fmla="*/ 0 w 10"/>
                  <a:gd name="T9" fmla="*/ 6 h 20"/>
                  <a:gd name="T10" fmla="*/ 0 w 10"/>
                  <a:gd name="T11" fmla="*/ 6 h 20"/>
                  <a:gd name="T12" fmla="*/ 0 w 10"/>
                  <a:gd name="T13" fmla="*/ 8 h 20"/>
                  <a:gd name="T14" fmla="*/ 0 w 10"/>
                  <a:gd name="T15" fmla="*/ 12 h 20"/>
                  <a:gd name="T16" fmla="*/ 2 w 10"/>
                  <a:gd name="T17" fmla="*/ 18 h 20"/>
                  <a:gd name="T18" fmla="*/ 4 w 10"/>
                  <a:gd name="T19" fmla="*/ 20 h 20"/>
                  <a:gd name="T20" fmla="*/ 4 w 10"/>
                  <a:gd name="T21" fmla="*/ 20 h 20"/>
                  <a:gd name="T22" fmla="*/ 6 w 10"/>
                  <a:gd name="T23" fmla="*/ 20 h 20"/>
                  <a:gd name="T24" fmla="*/ 6 w 10"/>
                  <a:gd name="T25" fmla="*/ 20 h 20"/>
                  <a:gd name="T26" fmla="*/ 6 w 10"/>
                  <a:gd name="T27" fmla="*/ 20 h 20"/>
                  <a:gd name="T28" fmla="*/ 6 w 10"/>
                  <a:gd name="T29" fmla="*/ 20 h 20"/>
                  <a:gd name="T30" fmla="*/ 10 w 10"/>
                  <a:gd name="T31" fmla="*/ 18 h 20"/>
                  <a:gd name="T32" fmla="*/ 10 w 10"/>
                  <a:gd name="T33" fmla="*/ 16 h 20"/>
                  <a:gd name="T34" fmla="*/ 10 w 10"/>
                  <a:gd name="T35" fmla="*/ 16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2 w 10"/>
                  <a:gd name="T49" fmla="*/ 12 h 20"/>
                  <a:gd name="T50" fmla="*/ 2 w 10"/>
                  <a:gd name="T51" fmla="*/ 12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6" y="0"/>
                    </a:lnTo>
                    <a:lnTo>
                      <a:pt x="6" y="0"/>
                    </a:lnTo>
                    <a:lnTo>
                      <a:pt x="0" y="6"/>
                    </a:lnTo>
                    <a:lnTo>
                      <a:pt x="0" y="6"/>
                    </a:lnTo>
                    <a:lnTo>
                      <a:pt x="0" y="8"/>
                    </a:lnTo>
                    <a:lnTo>
                      <a:pt x="0" y="12"/>
                    </a:lnTo>
                    <a:lnTo>
                      <a:pt x="2" y="18"/>
                    </a:lnTo>
                    <a:lnTo>
                      <a:pt x="4" y="20"/>
                    </a:lnTo>
                    <a:lnTo>
                      <a:pt x="4" y="20"/>
                    </a:lnTo>
                    <a:lnTo>
                      <a:pt x="6" y="20"/>
                    </a:lnTo>
                    <a:lnTo>
                      <a:pt x="6" y="20"/>
                    </a:lnTo>
                    <a:lnTo>
                      <a:pt x="6" y="20"/>
                    </a:lnTo>
                    <a:lnTo>
                      <a:pt x="6" y="20"/>
                    </a:lnTo>
                    <a:lnTo>
                      <a:pt x="10" y="18"/>
                    </a:lnTo>
                    <a:lnTo>
                      <a:pt x="10" y="16"/>
                    </a:lnTo>
                    <a:lnTo>
                      <a:pt x="10" y="16"/>
                    </a:lnTo>
                    <a:lnTo>
                      <a:pt x="8" y="16"/>
                    </a:lnTo>
                    <a:lnTo>
                      <a:pt x="8" y="16"/>
                    </a:lnTo>
                    <a:lnTo>
                      <a:pt x="6" y="16"/>
                    </a:lnTo>
                    <a:lnTo>
                      <a:pt x="6"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4" name="Freeform 1361"/>
              <p:cNvSpPr>
                <a:spLocks/>
              </p:cNvSpPr>
              <p:nvPr/>
            </p:nvSpPr>
            <p:spPr bwMode="auto">
              <a:xfrm>
                <a:off x="6702" y="1814"/>
                <a:ext cx="10" cy="20"/>
              </a:xfrm>
              <a:custGeom>
                <a:avLst/>
                <a:gdLst>
                  <a:gd name="T0" fmla="*/ 6 w 10"/>
                  <a:gd name="T1" fmla="*/ 0 h 20"/>
                  <a:gd name="T2" fmla="*/ 6 w 10"/>
                  <a:gd name="T3" fmla="*/ 0 h 20"/>
                  <a:gd name="T4" fmla="*/ 6 w 10"/>
                  <a:gd name="T5" fmla="*/ 0 h 20"/>
                  <a:gd name="T6" fmla="*/ 6 w 10"/>
                  <a:gd name="T7" fmla="*/ 0 h 20"/>
                  <a:gd name="T8" fmla="*/ 0 w 10"/>
                  <a:gd name="T9" fmla="*/ 6 h 20"/>
                  <a:gd name="T10" fmla="*/ 0 w 10"/>
                  <a:gd name="T11" fmla="*/ 6 h 20"/>
                  <a:gd name="T12" fmla="*/ 0 w 10"/>
                  <a:gd name="T13" fmla="*/ 8 h 20"/>
                  <a:gd name="T14" fmla="*/ 0 w 10"/>
                  <a:gd name="T15" fmla="*/ 12 h 20"/>
                  <a:gd name="T16" fmla="*/ 2 w 10"/>
                  <a:gd name="T17" fmla="*/ 18 h 20"/>
                  <a:gd name="T18" fmla="*/ 4 w 10"/>
                  <a:gd name="T19" fmla="*/ 20 h 20"/>
                  <a:gd name="T20" fmla="*/ 4 w 10"/>
                  <a:gd name="T21" fmla="*/ 20 h 20"/>
                  <a:gd name="T22" fmla="*/ 6 w 10"/>
                  <a:gd name="T23" fmla="*/ 20 h 20"/>
                  <a:gd name="T24" fmla="*/ 6 w 10"/>
                  <a:gd name="T25" fmla="*/ 20 h 20"/>
                  <a:gd name="T26" fmla="*/ 6 w 10"/>
                  <a:gd name="T27" fmla="*/ 20 h 20"/>
                  <a:gd name="T28" fmla="*/ 6 w 10"/>
                  <a:gd name="T29" fmla="*/ 20 h 20"/>
                  <a:gd name="T30" fmla="*/ 10 w 10"/>
                  <a:gd name="T31" fmla="*/ 18 h 20"/>
                  <a:gd name="T32" fmla="*/ 10 w 10"/>
                  <a:gd name="T33" fmla="*/ 16 h 20"/>
                  <a:gd name="T34" fmla="*/ 10 w 10"/>
                  <a:gd name="T35" fmla="*/ 16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2 w 10"/>
                  <a:gd name="T49" fmla="*/ 12 h 20"/>
                  <a:gd name="T50" fmla="*/ 2 w 10"/>
                  <a:gd name="T51" fmla="*/ 12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6" y="0"/>
                    </a:lnTo>
                    <a:lnTo>
                      <a:pt x="6" y="0"/>
                    </a:lnTo>
                    <a:lnTo>
                      <a:pt x="0" y="6"/>
                    </a:lnTo>
                    <a:lnTo>
                      <a:pt x="0" y="6"/>
                    </a:lnTo>
                    <a:lnTo>
                      <a:pt x="0" y="8"/>
                    </a:lnTo>
                    <a:lnTo>
                      <a:pt x="0" y="12"/>
                    </a:lnTo>
                    <a:lnTo>
                      <a:pt x="2" y="18"/>
                    </a:lnTo>
                    <a:lnTo>
                      <a:pt x="4" y="20"/>
                    </a:lnTo>
                    <a:lnTo>
                      <a:pt x="4" y="20"/>
                    </a:lnTo>
                    <a:lnTo>
                      <a:pt x="6" y="20"/>
                    </a:lnTo>
                    <a:lnTo>
                      <a:pt x="6" y="20"/>
                    </a:lnTo>
                    <a:lnTo>
                      <a:pt x="6" y="20"/>
                    </a:lnTo>
                    <a:lnTo>
                      <a:pt x="6" y="20"/>
                    </a:lnTo>
                    <a:lnTo>
                      <a:pt x="10" y="18"/>
                    </a:lnTo>
                    <a:lnTo>
                      <a:pt x="10" y="16"/>
                    </a:lnTo>
                    <a:lnTo>
                      <a:pt x="10" y="16"/>
                    </a:lnTo>
                    <a:lnTo>
                      <a:pt x="8" y="16"/>
                    </a:lnTo>
                    <a:lnTo>
                      <a:pt x="8" y="16"/>
                    </a:lnTo>
                    <a:lnTo>
                      <a:pt x="6" y="16"/>
                    </a:lnTo>
                    <a:lnTo>
                      <a:pt x="6"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5" name="Freeform 1362"/>
              <p:cNvSpPr>
                <a:spLocks noEditPoints="1"/>
              </p:cNvSpPr>
              <p:nvPr/>
            </p:nvSpPr>
            <p:spPr bwMode="auto">
              <a:xfrm>
                <a:off x="6704" y="1814"/>
                <a:ext cx="10" cy="20"/>
              </a:xfrm>
              <a:custGeom>
                <a:avLst/>
                <a:gdLst>
                  <a:gd name="T0" fmla="*/ 10 w 10"/>
                  <a:gd name="T1" fmla="*/ 14 h 20"/>
                  <a:gd name="T2" fmla="*/ 10 w 10"/>
                  <a:gd name="T3" fmla="*/ 14 h 20"/>
                  <a:gd name="T4" fmla="*/ 8 w 10"/>
                  <a:gd name="T5" fmla="*/ 16 h 20"/>
                  <a:gd name="T6" fmla="*/ 8 w 10"/>
                  <a:gd name="T7" fmla="*/ 16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4 w 10"/>
                  <a:gd name="T55" fmla="*/ 16 h 20"/>
                  <a:gd name="T56" fmla="*/ 4 w 10"/>
                  <a:gd name="T57" fmla="*/ 16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8" y="16"/>
                    </a:lnTo>
                    <a:lnTo>
                      <a:pt x="8" y="16"/>
                    </a:lnTo>
                    <a:lnTo>
                      <a:pt x="8" y="18"/>
                    </a:lnTo>
                    <a:lnTo>
                      <a:pt x="4" y="20"/>
                    </a:lnTo>
                    <a:lnTo>
                      <a:pt x="4" y="20"/>
                    </a:lnTo>
                    <a:lnTo>
                      <a:pt x="4" y="20"/>
                    </a:lnTo>
                    <a:lnTo>
                      <a:pt x="4" y="20"/>
                    </a:lnTo>
                    <a:lnTo>
                      <a:pt x="4" y="20"/>
                    </a:lnTo>
                    <a:lnTo>
                      <a:pt x="4" y="20"/>
                    </a:lnTo>
                    <a:lnTo>
                      <a:pt x="8" y="18"/>
                    </a:lnTo>
                    <a:lnTo>
                      <a:pt x="10" y="14"/>
                    </a:lnTo>
                    <a:close/>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6" name="Freeform 1363"/>
              <p:cNvSpPr>
                <a:spLocks/>
              </p:cNvSpPr>
              <p:nvPr/>
            </p:nvSpPr>
            <p:spPr bwMode="auto">
              <a:xfrm>
                <a:off x="6708" y="1828"/>
                <a:ext cx="6" cy="6"/>
              </a:xfrm>
              <a:custGeom>
                <a:avLst/>
                <a:gdLst>
                  <a:gd name="T0" fmla="*/ 6 w 6"/>
                  <a:gd name="T1" fmla="*/ 0 h 6"/>
                  <a:gd name="T2" fmla="*/ 6 w 6"/>
                  <a:gd name="T3" fmla="*/ 0 h 6"/>
                  <a:gd name="T4" fmla="*/ 4 w 6"/>
                  <a:gd name="T5" fmla="*/ 2 h 6"/>
                  <a:gd name="T6" fmla="*/ 4 w 6"/>
                  <a:gd name="T7" fmla="*/ 2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4" y="2"/>
                    </a:lnTo>
                    <a:lnTo>
                      <a:pt x="4" y="2"/>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7" name="Freeform 1364"/>
              <p:cNvSpPr>
                <a:spLocks/>
              </p:cNvSpPr>
              <p:nvPr/>
            </p:nvSpPr>
            <p:spPr bwMode="auto">
              <a:xfrm>
                <a:off x="6704" y="1814"/>
                <a:ext cx="4" cy="16"/>
              </a:xfrm>
              <a:custGeom>
                <a:avLst/>
                <a:gdLst>
                  <a:gd name="T0" fmla="*/ 4 w 4"/>
                  <a:gd name="T1" fmla="*/ 0 h 16"/>
                  <a:gd name="T2" fmla="*/ 4 w 4"/>
                  <a:gd name="T3" fmla="*/ 0 h 16"/>
                  <a:gd name="T4" fmla="*/ 4 w 4"/>
                  <a:gd name="T5" fmla="*/ 0 h 16"/>
                  <a:gd name="T6" fmla="*/ 4 w 4"/>
                  <a:gd name="T7" fmla="*/ 0 h 16"/>
                  <a:gd name="T8" fmla="*/ 4 w 4"/>
                  <a:gd name="T9" fmla="*/ 0 h 16"/>
                  <a:gd name="T10" fmla="*/ 4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4 w 4"/>
                  <a:gd name="T29" fmla="*/ 16 h 16"/>
                  <a:gd name="T30" fmla="*/ 4 w 4"/>
                  <a:gd name="T31" fmla="*/ 16 h 16"/>
                  <a:gd name="T32" fmla="*/ 2 w 4"/>
                  <a:gd name="T33" fmla="*/ 16 h 16"/>
                  <a:gd name="T34" fmla="*/ 2 w 4"/>
                  <a:gd name="T35" fmla="*/ 16 h 16"/>
                  <a:gd name="T36" fmla="*/ 0 w 4"/>
                  <a:gd name="T37" fmla="*/ 12 h 16"/>
                  <a:gd name="T38" fmla="*/ 0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8" name="Freeform 1365"/>
              <p:cNvSpPr>
                <a:spLocks noEditPoints="1"/>
              </p:cNvSpPr>
              <p:nvPr/>
            </p:nvSpPr>
            <p:spPr bwMode="auto">
              <a:xfrm>
                <a:off x="6816" y="1802"/>
                <a:ext cx="18" cy="14"/>
              </a:xfrm>
              <a:custGeom>
                <a:avLst/>
                <a:gdLst>
                  <a:gd name="T0" fmla="*/ 6 w 18"/>
                  <a:gd name="T1" fmla="*/ 12 h 14"/>
                  <a:gd name="T2" fmla="*/ 6 w 18"/>
                  <a:gd name="T3" fmla="*/ 12 h 14"/>
                  <a:gd name="T4" fmla="*/ 4 w 18"/>
                  <a:gd name="T5" fmla="*/ 10 h 14"/>
                  <a:gd name="T6" fmla="*/ 4 w 18"/>
                  <a:gd name="T7" fmla="*/ 10 h 14"/>
                  <a:gd name="T8" fmla="*/ 8 w 18"/>
                  <a:gd name="T9" fmla="*/ 8 h 14"/>
                  <a:gd name="T10" fmla="*/ 8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4 h 14"/>
                  <a:gd name="T26" fmla="*/ 6 w 18"/>
                  <a:gd name="T27" fmla="*/ 14 h 14"/>
                  <a:gd name="T28" fmla="*/ 6 w 18"/>
                  <a:gd name="T29" fmla="*/ 12 h 14"/>
                  <a:gd name="T30" fmla="*/ 14 w 18"/>
                  <a:gd name="T31" fmla="*/ 0 h 14"/>
                  <a:gd name="T32" fmla="*/ 14 w 18"/>
                  <a:gd name="T33" fmla="*/ 0 h 14"/>
                  <a:gd name="T34" fmla="*/ 6 w 18"/>
                  <a:gd name="T35" fmla="*/ 4 h 14"/>
                  <a:gd name="T36" fmla="*/ 0 w 18"/>
                  <a:gd name="T37" fmla="*/ 10 h 14"/>
                  <a:gd name="T38" fmla="*/ 0 w 18"/>
                  <a:gd name="T39" fmla="*/ 10 h 14"/>
                  <a:gd name="T40" fmla="*/ 2 w 18"/>
                  <a:gd name="T41" fmla="*/ 10 h 14"/>
                  <a:gd name="T42" fmla="*/ 2 w 18"/>
                  <a:gd name="T43" fmla="*/ 10 h 14"/>
                  <a:gd name="T44" fmla="*/ 6 w 18"/>
                  <a:gd name="T45" fmla="*/ 14 h 14"/>
                  <a:gd name="T46" fmla="*/ 6 w 18"/>
                  <a:gd name="T47" fmla="*/ 14 h 14"/>
                  <a:gd name="T48" fmla="*/ 18 w 18"/>
                  <a:gd name="T49" fmla="*/ 6 h 14"/>
                  <a:gd name="T50" fmla="*/ 18 w 18"/>
                  <a:gd name="T51" fmla="*/ 6 h 14"/>
                  <a:gd name="T52" fmla="*/ 14 w 18"/>
                  <a:gd name="T53" fmla="*/ 6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12"/>
                    </a:moveTo>
                    <a:lnTo>
                      <a:pt x="6" y="12"/>
                    </a:lnTo>
                    <a:lnTo>
                      <a:pt x="4" y="10"/>
                    </a:lnTo>
                    <a:lnTo>
                      <a:pt x="4" y="10"/>
                    </a:lnTo>
                    <a:lnTo>
                      <a:pt x="8" y="8"/>
                    </a:lnTo>
                    <a:lnTo>
                      <a:pt x="8" y="8"/>
                    </a:lnTo>
                    <a:lnTo>
                      <a:pt x="10" y="10"/>
                    </a:lnTo>
                    <a:lnTo>
                      <a:pt x="10" y="10"/>
                    </a:lnTo>
                    <a:lnTo>
                      <a:pt x="10" y="10"/>
                    </a:lnTo>
                    <a:lnTo>
                      <a:pt x="10" y="10"/>
                    </a:lnTo>
                    <a:lnTo>
                      <a:pt x="10" y="10"/>
                    </a:lnTo>
                    <a:lnTo>
                      <a:pt x="10" y="10"/>
                    </a:lnTo>
                    <a:lnTo>
                      <a:pt x="6" y="14"/>
                    </a:lnTo>
                    <a:lnTo>
                      <a:pt x="6" y="14"/>
                    </a:lnTo>
                    <a:lnTo>
                      <a:pt x="6" y="12"/>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9" name="Freeform 1366"/>
              <p:cNvSpPr>
                <a:spLocks/>
              </p:cNvSpPr>
              <p:nvPr/>
            </p:nvSpPr>
            <p:spPr bwMode="auto">
              <a:xfrm>
                <a:off x="6820" y="1810"/>
                <a:ext cx="6" cy="6"/>
              </a:xfrm>
              <a:custGeom>
                <a:avLst/>
                <a:gdLst>
                  <a:gd name="T0" fmla="*/ 2 w 6"/>
                  <a:gd name="T1" fmla="*/ 4 h 6"/>
                  <a:gd name="T2" fmla="*/ 2 w 6"/>
                  <a:gd name="T3" fmla="*/ 4 h 6"/>
                  <a:gd name="T4" fmla="*/ 0 w 6"/>
                  <a:gd name="T5" fmla="*/ 2 h 6"/>
                  <a:gd name="T6" fmla="*/ 0 w 6"/>
                  <a:gd name="T7" fmla="*/ 2 h 6"/>
                  <a:gd name="T8" fmla="*/ 4 w 6"/>
                  <a:gd name="T9" fmla="*/ 0 h 6"/>
                  <a:gd name="T10" fmla="*/ 4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2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4"/>
                    </a:moveTo>
                    <a:lnTo>
                      <a:pt x="2" y="4"/>
                    </a:lnTo>
                    <a:lnTo>
                      <a:pt x="0" y="2"/>
                    </a:lnTo>
                    <a:lnTo>
                      <a:pt x="0" y="2"/>
                    </a:lnTo>
                    <a:lnTo>
                      <a:pt x="4" y="0"/>
                    </a:lnTo>
                    <a:lnTo>
                      <a:pt x="4" y="0"/>
                    </a:lnTo>
                    <a:lnTo>
                      <a:pt x="6" y="2"/>
                    </a:lnTo>
                    <a:lnTo>
                      <a:pt x="6" y="2"/>
                    </a:lnTo>
                    <a:lnTo>
                      <a:pt x="6" y="2"/>
                    </a:lnTo>
                    <a:lnTo>
                      <a:pt x="6" y="2"/>
                    </a:lnTo>
                    <a:lnTo>
                      <a:pt x="6" y="2"/>
                    </a:lnTo>
                    <a:lnTo>
                      <a:pt x="6" y="2"/>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0" name="Freeform 1367"/>
              <p:cNvSpPr>
                <a:spLocks/>
              </p:cNvSpPr>
              <p:nvPr/>
            </p:nvSpPr>
            <p:spPr bwMode="auto">
              <a:xfrm>
                <a:off x="6816" y="1802"/>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1" name="Freeform 1368"/>
              <p:cNvSpPr>
                <a:spLocks/>
              </p:cNvSpPr>
              <p:nvPr/>
            </p:nvSpPr>
            <p:spPr bwMode="auto">
              <a:xfrm>
                <a:off x="6770" y="17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2" name="Freeform 1369"/>
              <p:cNvSpPr>
                <a:spLocks/>
              </p:cNvSpPr>
              <p:nvPr/>
            </p:nvSpPr>
            <p:spPr bwMode="auto">
              <a:xfrm>
                <a:off x="6770" y="17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3" name="Freeform 1370"/>
              <p:cNvSpPr>
                <a:spLocks/>
              </p:cNvSpPr>
              <p:nvPr/>
            </p:nvSpPr>
            <p:spPr bwMode="auto">
              <a:xfrm>
                <a:off x="6866"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4" name="Freeform 1371"/>
              <p:cNvSpPr>
                <a:spLocks/>
              </p:cNvSpPr>
              <p:nvPr/>
            </p:nvSpPr>
            <p:spPr bwMode="auto">
              <a:xfrm>
                <a:off x="6866"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5" name="Freeform 1372"/>
              <p:cNvSpPr>
                <a:spLocks/>
              </p:cNvSpPr>
              <p:nvPr/>
            </p:nvSpPr>
            <p:spPr bwMode="auto">
              <a:xfrm>
                <a:off x="6810"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6" name="Freeform 1373"/>
              <p:cNvSpPr>
                <a:spLocks/>
              </p:cNvSpPr>
              <p:nvPr/>
            </p:nvSpPr>
            <p:spPr bwMode="auto">
              <a:xfrm>
                <a:off x="6810"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7" name="Freeform 1374"/>
              <p:cNvSpPr>
                <a:spLocks/>
              </p:cNvSpPr>
              <p:nvPr/>
            </p:nvSpPr>
            <p:spPr bwMode="auto">
              <a:xfrm>
                <a:off x="6826"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8" name="Freeform 1375"/>
              <p:cNvSpPr>
                <a:spLocks/>
              </p:cNvSpPr>
              <p:nvPr/>
            </p:nvSpPr>
            <p:spPr bwMode="auto">
              <a:xfrm>
                <a:off x="6826"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9" name="Freeform 1376"/>
              <p:cNvSpPr>
                <a:spLocks/>
              </p:cNvSpPr>
              <p:nvPr/>
            </p:nvSpPr>
            <p:spPr bwMode="auto">
              <a:xfrm>
                <a:off x="6822" y="1810"/>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0" y="4"/>
                    </a:lnTo>
                    <a:lnTo>
                      <a:pt x="0" y="4"/>
                    </a:lnTo>
                    <a:lnTo>
                      <a:pt x="4" y="2"/>
                    </a:lnTo>
                    <a:lnTo>
                      <a:pt x="4"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0" name="Freeform 1377"/>
              <p:cNvSpPr>
                <a:spLocks/>
              </p:cNvSpPr>
              <p:nvPr/>
            </p:nvSpPr>
            <p:spPr bwMode="auto">
              <a:xfrm>
                <a:off x="6822" y="1810"/>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0" y="4"/>
                    </a:lnTo>
                    <a:lnTo>
                      <a:pt x="0" y="4"/>
                    </a:lnTo>
                    <a:lnTo>
                      <a:pt x="4" y="2"/>
                    </a:lnTo>
                    <a:lnTo>
                      <a:pt x="4"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1" name="Freeform 1378"/>
              <p:cNvSpPr>
                <a:spLocks/>
              </p:cNvSpPr>
              <p:nvPr/>
            </p:nvSpPr>
            <p:spPr bwMode="auto">
              <a:xfrm>
                <a:off x="6822" y="1812"/>
                <a:ext cx="4" cy="4"/>
              </a:xfrm>
              <a:custGeom>
                <a:avLst/>
                <a:gdLst>
                  <a:gd name="T0" fmla="*/ 4 w 4"/>
                  <a:gd name="T1" fmla="*/ 0 h 4"/>
                  <a:gd name="T2" fmla="*/ 4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0" y="2"/>
                    </a:lnTo>
                    <a:lnTo>
                      <a:pt x="0" y="2"/>
                    </a:lnTo>
                    <a:lnTo>
                      <a:pt x="0" y="2"/>
                    </a:lnTo>
                    <a:lnTo>
                      <a:pt x="0" y="2"/>
                    </a:lnTo>
                    <a:lnTo>
                      <a:pt x="0" y="4"/>
                    </a:lnTo>
                    <a:lnTo>
                      <a:pt x="0" y="4"/>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2" name="Freeform 1379"/>
              <p:cNvSpPr>
                <a:spLocks/>
              </p:cNvSpPr>
              <p:nvPr/>
            </p:nvSpPr>
            <p:spPr bwMode="auto">
              <a:xfrm>
                <a:off x="6822" y="1812"/>
                <a:ext cx="4" cy="4"/>
              </a:xfrm>
              <a:custGeom>
                <a:avLst/>
                <a:gdLst>
                  <a:gd name="T0" fmla="*/ 4 w 4"/>
                  <a:gd name="T1" fmla="*/ 0 h 4"/>
                  <a:gd name="T2" fmla="*/ 4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0" y="2"/>
                    </a:lnTo>
                    <a:lnTo>
                      <a:pt x="0" y="2"/>
                    </a:lnTo>
                    <a:lnTo>
                      <a:pt x="0" y="2"/>
                    </a:lnTo>
                    <a:lnTo>
                      <a:pt x="0" y="2"/>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3" name="Freeform 1380"/>
              <p:cNvSpPr>
                <a:spLocks/>
              </p:cNvSpPr>
              <p:nvPr/>
            </p:nvSpPr>
            <p:spPr bwMode="auto">
              <a:xfrm>
                <a:off x="588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4" name="Freeform 1381"/>
              <p:cNvSpPr>
                <a:spLocks/>
              </p:cNvSpPr>
              <p:nvPr/>
            </p:nvSpPr>
            <p:spPr bwMode="auto">
              <a:xfrm>
                <a:off x="598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5" name="Freeform 1382"/>
              <p:cNvSpPr>
                <a:spLocks/>
              </p:cNvSpPr>
              <p:nvPr/>
            </p:nvSpPr>
            <p:spPr bwMode="auto">
              <a:xfrm>
                <a:off x="6072"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6" name="Freeform 1383"/>
              <p:cNvSpPr>
                <a:spLocks/>
              </p:cNvSpPr>
              <p:nvPr/>
            </p:nvSpPr>
            <p:spPr bwMode="auto">
              <a:xfrm>
                <a:off x="6390"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7" name="Freeform 1384"/>
              <p:cNvSpPr>
                <a:spLocks/>
              </p:cNvSpPr>
              <p:nvPr/>
            </p:nvSpPr>
            <p:spPr bwMode="auto">
              <a:xfrm>
                <a:off x="6390"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8" name="Freeform 1385"/>
              <p:cNvSpPr>
                <a:spLocks/>
              </p:cNvSpPr>
              <p:nvPr/>
            </p:nvSpPr>
            <p:spPr bwMode="auto">
              <a:xfrm>
                <a:off x="645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9" name="Freeform 1386"/>
              <p:cNvSpPr>
                <a:spLocks/>
              </p:cNvSpPr>
              <p:nvPr/>
            </p:nvSpPr>
            <p:spPr bwMode="auto">
              <a:xfrm>
                <a:off x="645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0" name="Freeform 1387"/>
              <p:cNvSpPr>
                <a:spLocks/>
              </p:cNvSpPr>
              <p:nvPr/>
            </p:nvSpPr>
            <p:spPr bwMode="auto">
              <a:xfrm>
                <a:off x="6538"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1" name="Freeform 1388"/>
              <p:cNvSpPr>
                <a:spLocks/>
              </p:cNvSpPr>
              <p:nvPr/>
            </p:nvSpPr>
            <p:spPr bwMode="auto">
              <a:xfrm>
                <a:off x="663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2" name="Freeform 1389"/>
              <p:cNvSpPr>
                <a:spLocks/>
              </p:cNvSpPr>
              <p:nvPr/>
            </p:nvSpPr>
            <p:spPr bwMode="auto">
              <a:xfrm>
                <a:off x="672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3" name="Freeform 1390"/>
              <p:cNvSpPr>
                <a:spLocks noEditPoints="1"/>
              </p:cNvSpPr>
              <p:nvPr/>
            </p:nvSpPr>
            <p:spPr bwMode="auto">
              <a:xfrm>
                <a:off x="6162" y="1576"/>
                <a:ext cx="188" cy="146"/>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8 w 188"/>
                  <a:gd name="T11" fmla="*/ 66 h 146"/>
                  <a:gd name="T12" fmla="*/ 14 w 188"/>
                  <a:gd name="T13" fmla="*/ 66 h 146"/>
                  <a:gd name="T14" fmla="*/ 8 w 188"/>
                  <a:gd name="T15" fmla="*/ 70 h 146"/>
                  <a:gd name="T16" fmla="*/ 8 w 188"/>
                  <a:gd name="T17" fmla="*/ 50 h 146"/>
                  <a:gd name="T18" fmla="*/ 86 w 188"/>
                  <a:gd name="T19" fmla="*/ 16 h 146"/>
                  <a:gd name="T20" fmla="*/ 130 w 188"/>
                  <a:gd name="T21" fmla="*/ 8 h 146"/>
                  <a:gd name="T22" fmla="*/ 158 w 188"/>
                  <a:gd name="T23" fmla="*/ 32 h 146"/>
                  <a:gd name="T24" fmla="*/ 160 w 188"/>
                  <a:gd name="T25" fmla="*/ 44 h 146"/>
                  <a:gd name="T26" fmla="*/ 154 w 188"/>
                  <a:gd name="T27" fmla="*/ 46 h 146"/>
                  <a:gd name="T28" fmla="*/ 158 w 188"/>
                  <a:gd name="T29" fmla="*/ 46 h 146"/>
                  <a:gd name="T30" fmla="*/ 162 w 188"/>
                  <a:gd name="T31" fmla="*/ 42 h 146"/>
                  <a:gd name="T32" fmla="*/ 178 w 188"/>
                  <a:gd name="T33" fmla="*/ 28 h 146"/>
                  <a:gd name="T34" fmla="*/ 184 w 188"/>
                  <a:gd name="T35" fmla="*/ 70 h 146"/>
                  <a:gd name="T36" fmla="*/ 142 w 188"/>
                  <a:gd name="T37" fmla="*/ 86 h 146"/>
                  <a:gd name="T38" fmla="*/ 136 w 188"/>
                  <a:gd name="T39" fmla="*/ 100 h 146"/>
                  <a:gd name="T40" fmla="*/ 146 w 188"/>
                  <a:gd name="T41" fmla="*/ 90 h 146"/>
                  <a:gd name="T42" fmla="*/ 130 w 188"/>
                  <a:gd name="T43" fmla="*/ 102 h 146"/>
                  <a:gd name="T44" fmla="*/ 116 w 188"/>
                  <a:gd name="T45" fmla="*/ 96 h 146"/>
                  <a:gd name="T46" fmla="*/ 86 w 188"/>
                  <a:gd name="T47" fmla="*/ 140 h 146"/>
                  <a:gd name="T48" fmla="*/ 70 w 188"/>
                  <a:gd name="T49" fmla="*/ 130 h 146"/>
                  <a:gd name="T50" fmla="*/ 78 w 188"/>
                  <a:gd name="T51" fmla="*/ 114 h 146"/>
                  <a:gd name="T52" fmla="*/ 56 w 188"/>
                  <a:gd name="T53" fmla="*/ 116 h 146"/>
                  <a:gd name="T54" fmla="*/ 54 w 188"/>
                  <a:gd name="T55" fmla="*/ 124 h 146"/>
                  <a:gd name="T56" fmla="*/ 44 w 188"/>
                  <a:gd name="T57" fmla="*/ 140 h 146"/>
                  <a:gd name="T58" fmla="*/ 28 w 188"/>
                  <a:gd name="T59" fmla="*/ 122 h 146"/>
                  <a:gd name="T60" fmla="*/ 16 w 188"/>
                  <a:gd name="T61" fmla="*/ 78 h 146"/>
                  <a:gd name="T62" fmla="*/ 56 w 188"/>
                  <a:gd name="T63" fmla="*/ 36 h 146"/>
                  <a:gd name="T64" fmla="*/ 42 w 188"/>
                  <a:gd name="T65" fmla="*/ 60 h 146"/>
                  <a:gd name="T66" fmla="*/ 50 w 188"/>
                  <a:gd name="T67" fmla="*/ 88 h 146"/>
                  <a:gd name="T68" fmla="*/ 74 w 188"/>
                  <a:gd name="T69" fmla="*/ 96 h 146"/>
                  <a:gd name="T70" fmla="*/ 98 w 188"/>
                  <a:gd name="T71" fmla="*/ 72 h 146"/>
                  <a:gd name="T72" fmla="*/ 94 w 188"/>
                  <a:gd name="T73" fmla="*/ 82 h 146"/>
                  <a:gd name="T74" fmla="*/ 64 w 188"/>
                  <a:gd name="T75" fmla="*/ 96 h 146"/>
                  <a:gd name="T76" fmla="*/ 56 w 188"/>
                  <a:gd name="T77" fmla="*/ 78 h 146"/>
                  <a:gd name="T78" fmla="*/ 44 w 188"/>
                  <a:gd name="T79" fmla="*/ 64 h 146"/>
                  <a:gd name="T80" fmla="*/ 86 w 188"/>
                  <a:gd name="T81" fmla="*/ 22 h 146"/>
                  <a:gd name="T82" fmla="*/ 98 w 188"/>
                  <a:gd name="T83" fmla="*/ 4 h 146"/>
                  <a:gd name="T84" fmla="*/ 70 w 188"/>
                  <a:gd name="T85" fmla="*/ 24 h 146"/>
                  <a:gd name="T86" fmla="*/ 18 w 188"/>
                  <a:gd name="T87" fmla="*/ 56 h 146"/>
                  <a:gd name="T88" fmla="*/ 14 w 188"/>
                  <a:gd name="T89" fmla="*/ 56 h 146"/>
                  <a:gd name="T90" fmla="*/ 0 w 188"/>
                  <a:gd name="T91" fmla="*/ 58 h 146"/>
                  <a:gd name="T92" fmla="*/ 12 w 188"/>
                  <a:gd name="T93" fmla="*/ 84 h 146"/>
                  <a:gd name="T94" fmla="*/ 4 w 188"/>
                  <a:gd name="T95" fmla="*/ 112 h 146"/>
                  <a:gd name="T96" fmla="*/ 22 w 188"/>
                  <a:gd name="T97" fmla="*/ 132 h 146"/>
                  <a:gd name="T98" fmla="*/ 42 w 188"/>
                  <a:gd name="T99" fmla="*/ 144 h 146"/>
                  <a:gd name="T100" fmla="*/ 52 w 188"/>
                  <a:gd name="T101" fmla="*/ 132 h 146"/>
                  <a:gd name="T102" fmla="*/ 74 w 188"/>
                  <a:gd name="T103" fmla="*/ 144 h 146"/>
                  <a:gd name="T104" fmla="*/ 98 w 188"/>
                  <a:gd name="T105" fmla="*/ 134 h 146"/>
                  <a:gd name="T106" fmla="*/ 124 w 188"/>
                  <a:gd name="T107" fmla="*/ 128 h 146"/>
                  <a:gd name="T108" fmla="*/ 118 w 188"/>
                  <a:gd name="T109" fmla="*/ 96 h 146"/>
                  <a:gd name="T110" fmla="*/ 142 w 188"/>
                  <a:gd name="T111" fmla="*/ 102 h 146"/>
                  <a:gd name="T112" fmla="*/ 154 w 188"/>
                  <a:gd name="T113" fmla="*/ 92 h 146"/>
                  <a:gd name="T114" fmla="*/ 188 w 188"/>
                  <a:gd name="T115" fmla="*/ 60 h 146"/>
                  <a:gd name="T116" fmla="*/ 178 w 188"/>
                  <a:gd name="T117" fmla="*/ 24 h 146"/>
                  <a:gd name="T118" fmla="*/ 162 w 188"/>
                  <a:gd name="T119" fmla="*/ 32 h 146"/>
                  <a:gd name="T120" fmla="*/ 126 w 188"/>
                  <a:gd name="T121"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0" y="122"/>
                    </a:moveTo>
                    <a:lnTo>
                      <a:pt x="110"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10"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8" y="114"/>
                    </a:lnTo>
                    <a:lnTo>
                      <a:pt x="6" y="110"/>
                    </a:lnTo>
                    <a:lnTo>
                      <a:pt x="6" y="110"/>
                    </a:lnTo>
                    <a:lnTo>
                      <a:pt x="8" y="106"/>
                    </a:lnTo>
                    <a:lnTo>
                      <a:pt x="8" y="106"/>
                    </a:lnTo>
                    <a:lnTo>
                      <a:pt x="8" y="104"/>
                    </a:lnTo>
                    <a:close/>
                    <a:moveTo>
                      <a:pt x="10" y="50"/>
                    </a:moveTo>
                    <a:lnTo>
                      <a:pt x="10" y="50"/>
                    </a:lnTo>
                    <a:lnTo>
                      <a:pt x="10" y="50"/>
                    </a:lnTo>
                    <a:lnTo>
                      <a:pt x="10" y="50"/>
                    </a:lnTo>
                    <a:lnTo>
                      <a:pt x="6" y="62"/>
                    </a:lnTo>
                    <a:lnTo>
                      <a:pt x="6" y="62"/>
                    </a:lnTo>
                    <a:lnTo>
                      <a:pt x="8" y="66"/>
                    </a:lnTo>
                    <a:lnTo>
                      <a:pt x="8" y="66"/>
                    </a:lnTo>
                    <a:lnTo>
                      <a:pt x="8" y="66"/>
                    </a:lnTo>
                    <a:lnTo>
                      <a:pt x="8" y="66"/>
                    </a:lnTo>
                    <a:lnTo>
                      <a:pt x="10" y="66"/>
                    </a:lnTo>
                    <a:lnTo>
                      <a:pt x="10" y="66"/>
                    </a:lnTo>
                    <a:lnTo>
                      <a:pt x="14" y="64"/>
                    </a:lnTo>
                    <a:lnTo>
                      <a:pt x="14" y="64"/>
                    </a:lnTo>
                    <a:lnTo>
                      <a:pt x="14" y="66"/>
                    </a:lnTo>
                    <a:lnTo>
                      <a:pt x="14" y="66"/>
                    </a:lnTo>
                    <a:lnTo>
                      <a:pt x="16" y="64"/>
                    </a:lnTo>
                    <a:lnTo>
                      <a:pt x="16" y="64"/>
                    </a:lnTo>
                    <a:lnTo>
                      <a:pt x="14" y="68"/>
                    </a:lnTo>
                    <a:lnTo>
                      <a:pt x="10" y="70"/>
                    </a:lnTo>
                    <a:lnTo>
                      <a:pt x="10" y="70"/>
                    </a:lnTo>
                    <a:lnTo>
                      <a:pt x="8" y="70"/>
                    </a:lnTo>
                    <a:lnTo>
                      <a:pt x="8" y="70"/>
                    </a:lnTo>
                    <a:lnTo>
                      <a:pt x="8" y="70"/>
                    </a:lnTo>
                    <a:lnTo>
                      <a:pt x="8" y="70"/>
                    </a:lnTo>
                    <a:lnTo>
                      <a:pt x="6" y="66"/>
                    </a:lnTo>
                    <a:lnTo>
                      <a:pt x="4" y="62"/>
                    </a:lnTo>
                    <a:lnTo>
                      <a:pt x="2" y="58"/>
                    </a:lnTo>
                    <a:lnTo>
                      <a:pt x="2" y="56"/>
                    </a:lnTo>
                    <a:lnTo>
                      <a:pt x="2" y="56"/>
                    </a:lnTo>
                    <a:lnTo>
                      <a:pt x="8" y="50"/>
                    </a:lnTo>
                    <a:lnTo>
                      <a:pt x="8" y="50"/>
                    </a:lnTo>
                    <a:lnTo>
                      <a:pt x="8" y="50"/>
                    </a:lnTo>
                    <a:lnTo>
                      <a:pt x="8" y="50"/>
                    </a:lnTo>
                    <a:lnTo>
                      <a:pt x="8" y="50"/>
                    </a:lnTo>
                    <a:lnTo>
                      <a:pt x="8" y="50"/>
                    </a:lnTo>
                    <a:lnTo>
                      <a:pt x="10" y="50"/>
                    </a:lnTo>
                    <a:close/>
                    <a:moveTo>
                      <a:pt x="84" y="20"/>
                    </a:moveTo>
                    <a:lnTo>
                      <a:pt x="84" y="20"/>
                    </a:lnTo>
                    <a:lnTo>
                      <a:pt x="86" y="16"/>
                    </a:lnTo>
                    <a:lnTo>
                      <a:pt x="90" y="14"/>
                    </a:lnTo>
                    <a:lnTo>
                      <a:pt x="98" y="8"/>
                    </a:lnTo>
                    <a:lnTo>
                      <a:pt x="98"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8" y="88"/>
                    </a:lnTo>
                    <a:lnTo>
                      <a:pt x="108"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4" y="96"/>
                    </a:lnTo>
                    <a:lnTo>
                      <a:pt x="74"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4" y="26"/>
                    </a:lnTo>
                    <a:lnTo>
                      <a:pt x="74"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2"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4" name="Freeform 1391"/>
              <p:cNvSpPr>
                <a:spLocks/>
              </p:cNvSpPr>
              <p:nvPr/>
            </p:nvSpPr>
            <p:spPr bwMode="auto">
              <a:xfrm>
                <a:off x="6266" y="1680"/>
                <a:ext cx="16" cy="28"/>
              </a:xfrm>
              <a:custGeom>
                <a:avLst/>
                <a:gdLst>
                  <a:gd name="T0" fmla="*/ 6 w 16"/>
                  <a:gd name="T1" fmla="*/ 18 h 28"/>
                  <a:gd name="T2" fmla="*/ 6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6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6" y="18"/>
                    </a:moveTo>
                    <a:lnTo>
                      <a:pt x="6"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5" name="Freeform 1392"/>
              <p:cNvSpPr>
                <a:spLocks/>
              </p:cNvSpPr>
              <p:nvPr/>
            </p:nvSpPr>
            <p:spPr bwMode="auto">
              <a:xfrm>
                <a:off x="6168" y="1676"/>
                <a:ext cx="18" cy="24"/>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2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2"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6" name="Freeform 1393"/>
              <p:cNvSpPr>
                <a:spLocks/>
              </p:cNvSpPr>
              <p:nvPr/>
            </p:nvSpPr>
            <p:spPr bwMode="auto">
              <a:xfrm>
                <a:off x="6164" y="1626"/>
                <a:ext cx="14" cy="20"/>
              </a:xfrm>
              <a:custGeom>
                <a:avLst/>
                <a:gdLst>
                  <a:gd name="T0" fmla="*/ 8 w 14"/>
                  <a:gd name="T1" fmla="*/ 0 h 20"/>
                  <a:gd name="T2" fmla="*/ 8 w 14"/>
                  <a:gd name="T3" fmla="*/ 0 h 20"/>
                  <a:gd name="T4" fmla="*/ 8 w 14"/>
                  <a:gd name="T5" fmla="*/ 0 h 20"/>
                  <a:gd name="T6" fmla="*/ 8 w 14"/>
                  <a:gd name="T7" fmla="*/ 0 h 20"/>
                  <a:gd name="T8" fmla="*/ 4 w 14"/>
                  <a:gd name="T9" fmla="*/ 12 h 20"/>
                  <a:gd name="T10" fmla="*/ 4 w 14"/>
                  <a:gd name="T11" fmla="*/ 12 h 20"/>
                  <a:gd name="T12" fmla="*/ 6 w 14"/>
                  <a:gd name="T13" fmla="*/ 16 h 20"/>
                  <a:gd name="T14" fmla="*/ 6 w 14"/>
                  <a:gd name="T15" fmla="*/ 16 h 20"/>
                  <a:gd name="T16" fmla="*/ 6 w 14"/>
                  <a:gd name="T17" fmla="*/ 16 h 20"/>
                  <a:gd name="T18" fmla="*/ 6 w 14"/>
                  <a:gd name="T19" fmla="*/ 16 h 20"/>
                  <a:gd name="T20" fmla="*/ 8 w 14"/>
                  <a:gd name="T21" fmla="*/ 16 h 20"/>
                  <a:gd name="T22" fmla="*/ 8 w 14"/>
                  <a:gd name="T23" fmla="*/ 16 h 20"/>
                  <a:gd name="T24" fmla="*/ 12 w 14"/>
                  <a:gd name="T25" fmla="*/ 14 h 20"/>
                  <a:gd name="T26" fmla="*/ 12 w 14"/>
                  <a:gd name="T27" fmla="*/ 14 h 20"/>
                  <a:gd name="T28" fmla="*/ 12 w 14"/>
                  <a:gd name="T29" fmla="*/ 16 h 20"/>
                  <a:gd name="T30" fmla="*/ 12 w 14"/>
                  <a:gd name="T31" fmla="*/ 16 h 20"/>
                  <a:gd name="T32" fmla="*/ 14 w 14"/>
                  <a:gd name="T33" fmla="*/ 14 h 20"/>
                  <a:gd name="T34" fmla="*/ 14 w 14"/>
                  <a:gd name="T35" fmla="*/ 14 h 20"/>
                  <a:gd name="T36" fmla="*/ 12 w 14"/>
                  <a:gd name="T37" fmla="*/ 18 h 20"/>
                  <a:gd name="T38" fmla="*/ 8 w 14"/>
                  <a:gd name="T39" fmla="*/ 20 h 20"/>
                  <a:gd name="T40" fmla="*/ 8 w 14"/>
                  <a:gd name="T41" fmla="*/ 20 h 20"/>
                  <a:gd name="T42" fmla="*/ 6 w 14"/>
                  <a:gd name="T43" fmla="*/ 20 h 20"/>
                  <a:gd name="T44" fmla="*/ 6 w 14"/>
                  <a:gd name="T45" fmla="*/ 20 h 20"/>
                  <a:gd name="T46" fmla="*/ 6 w 14"/>
                  <a:gd name="T47" fmla="*/ 20 h 20"/>
                  <a:gd name="T48" fmla="*/ 6 w 14"/>
                  <a:gd name="T49" fmla="*/ 20 h 20"/>
                  <a:gd name="T50" fmla="*/ 4 w 14"/>
                  <a:gd name="T51" fmla="*/ 16 h 20"/>
                  <a:gd name="T52" fmla="*/ 2 w 14"/>
                  <a:gd name="T53" fmla="*/ 12 h 20"/>
                  <a:gd name="T54" fmla="*/ 0 w 14"/>
                  <a:gd name="T55" fmla="*/ 8 h 20"/>
                  <a:gd name="T56" fmla="*/ 0 w 14"/>
                  <a:gd name="T57" fmla="*/ 6 h 20"/>
                  <a:gd name="T58" fmla="*/ 0 w 14"/>
                  <a:gd name="T59" fmla="*/ 6 h 20"/>
                  <a:gd name="T60" fmla="*/ 6 w 14"/>
                  <a:gd name="T61" fmla="*/ 0 h 20"/>
                  <a:gd name="T62" fmla="*/ 6 w 14"/>
                  <a:gd name="T63" fmla="*/ 0 h 20"/>
                  <a:gd name="T64" fmla="*/ 6 w 14"/>
                  <a:gd name="T65" fmla="*/ 0 h 20"/>
                  <a:gd name="T66" fmla="*/ 6 w 14"/>
                  <a:gd name="T67" fmla="*/ 0 h 20"/>
                  <a:gd name="T68" fmla="*/ 6 w 14"/>
                  <a:gd name="T69" fmla="*/ 0 h 20"/>
                  <a:gd name="T70" fmla="*/ 6 w 14"/>
                  <a:gd name="T71" fmla="*/ 0 h 20"/>
                  <a:gd name="T72" fmla="*/ 8 w 14"/>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0">
                    <a:moveTo>
                      <a:pt x="8" y="0"/>
                    </a:moveTo>
                    <a:lnTo>
                      <a:pt x="8" y="0"/>
                    </a:lnTo>
                    <a:lnTo>
                      <a:pt x="8" y="0"/>
                    </a:lnTo>
                    <a:lnTo>
                      <a:pt x="8" y="0"/>
                    </a:lnTo>
                    <a:lnTo>
                      <a:pt x="4" y="12"/>
                    </a:lnTo>
                    <a:lnTo>
                      <a:pt x="4" y="12"/>
                    </a:lnTo>
                    <a:lnTo>
                      <a:pt x="6" y="16"/>
                    </a:lnTo>
                    <a:lnTo>
                      <a:pt x="6" y="16"/>
                    </a:lnTo>
                    <a:lnTo>
                      <a:pt x="6" y="16"/>
                    </a:lnTo>
                    <a:lnTo>
                      <a:pt x="6" y="16"/>
                    </a:lnTo>
                    <a:lnTo>
                      <a:pt x="8" y="16"/>
                    </a:lnTo>
                    <a:lnTo>
                      <a:pt x="8" y="16"/>
                    </a:lnTo>
                    <a:lnTo>
                      <a:pt x="12" y="14"/>
                    </a:lnTo>
                    <a:lnTo>
                      <a:pt x="12" y="14"/>
                    </a:lnTo>
                    <a:lnTo>
                      <a:pt x="12" y="16"/>
                    </a:lnTo>
                    <a:lnTo>
                      <a:pt x="12" y="16"/>
                    </a:lnTo>
                    <a:lnTo>
                      <a:pt x="14" y="14"/>
                    </a:lnTo>
                    <a:lnTo>
                      <a:pt x="14" y="14"/>
                    </a:lnTo>
                    <a:lnTo>
                      <a:pt x="12" y="18"/>
                    </a:lnTo>
                    <a:lnTo>
                      <a:pt x="8" y="20"/>
                    </a:lnTo>
                    <a:lnTo>
                      <a:pt x="8" y="20"/>
                    </a:lnTo>
                    <a:lnTo>
                      <a:pt x="6" y="20"/>
                    </a:lnTo>
                    <a:lnTo>
                      <a:pt x="6" y="20"/>
                    </a:lnTo>
                    <a:lnTo>
                      <a:pt x="6" y="20"/>
                    </a:lnTo>
                    <a:lnTo>
                      <a:pt x="6" y="20"/>
                    </a:lnTo>
                    <a:lnTo>
                      <a:pt x="4" y="16"/>
                    </a:lnTo>
                    <a:lnTo>
                      <a:pt x="2" y="12"/>
                    </a:lnTo>
                    <a:lnTo>
                      <a:pt x="0" y="8"/>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7" name="Freeform 1394"/>
              <p:cNvSpPr>
                <a:spLocks/>
              </p:cNvSpPr>
              <p:nvPr/>
            </p:nvSpPr>
            <p:spPr bwMode="auto">
              <a:xfrm>
                <a:off x="6178" y="1580"/>
                <a:ext cx="170" cy="138"/>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8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8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8" y="22"/>
                    </a:lnTo>
                    <a:lnTo>
                      <a:pt x="58"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8" name="Freeform 1395"/>
              <p:cNvSpPr>
                <a:spLocks/>
              </p:cNvSpPr>
              <p:nvPr/>
            </p:nvSpPr>
            <p:spPr bwMode="auto">
              <a:xfrm>
                <a:off x="6162" y="1576"/>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2"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9" name="Freeform 1396"/>
              <p:cNvSpPr>
                <a:spLocks/>
              </p:cNvSpPr>
              <p:nvPr/>
            </p:nvSpPr>
            <p:spPr bwMode="auto">
              <a:xfrm>
                <a:off x="6168"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0" name="Freeform 1397"/>
              <p:cNvSpPr>
                <a:spLocks/>
              </p:cNvSpPr>
              <p:nvPr/>
            </p:nvSpPr>
            <p:spPr bwMode="auto">
              <a:xfrm>
                <a:off x="6168"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1" name="Freeform 1398"/>
              <p:cNvSpPr>
                <a:spLocks/>
              </p:cNvSpPr>
              <p:nvPr/>
            </p:nvSpPr>
            <p:spPr bwMode="auto">
              <a:xfrm>
                <a:off x="6170"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2" name="Freeform 1399"/>
              <p:cNvSpPr>
                <a:spLocks/>
              </p:cNvSpPr>
              <p:nvPr/>
            </p:nvSpPr>
            <p:spPr bwMode="auto">
              <a:xfrm>
                <a:off x="6170"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3" name="Freeform 1400"/>
              <p:cNvSpPr>
                <a:spLocks/>
              </p:cNvSpPr>
              <p:nvPr/>
            </p:nvSpPr>
            <p:spPr bwMode="auto">
              <a:xfrm>
                <a:off x="6266" y="1680"/>
                <a:ext cx="16" cy="28"/>
              </a:xfrm>
              <a:custGeom>
                <a:avLst/>
                <a:gdLst>
                  <a:gd name="T0" fmla="*/ 14 w 16"/>
                  <a:gd name="T1" fmla="*/ 0 h 28"/>
                  <a:gd name="T2" fmla="*/ 14 w 16"/>
                  <a:gd name="T3" fmla="*/ 0 h 28"/>
                  <a:gd name="T4" fmla="*/ 6 w 16"/>
                  <a:gd name="T5" fmla="*/ 18 h 28"/>
                  <a:gd name="T6" fmla="*/ 6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6" y="18"/>
                    </a:lnTo>
                    <a:lnTo>
                      <a:pt x="6"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4" name="Freeform 1401"/>
              <p:cNvSpPr>
                <a:spLocks/>
              </p:cNvSpPr>
              <p:nvPr/>
            </p:nvSpPr>
            <p:spPr bwMode="auto">
              <a:xfrm>
                <a:off x="6266" y="1680"/>
                <a:ext cx="16" cy="28"/>
              </a:xfrm>
              <a:custGeom>
                <a:avLst/>
                <a:gdLst>
                  <a:gd name="T0" fmla="*/ 14 w 16"/>
                  <a:gd name="T1" fmla="*/ 0 h 28"/>
                  <a:gd name="T2" fmla="*/ 14 w 16"/>
                  <a:gd name="T3" fmla="*/ 0 h 28"/>
                  <a:gd name="T4" fmla="*/ 6 w 16"/>
                  <a:gd name="T5" fmla="*/ 18 h 28"/>
                  <a:gd name="T6" fmla="*/ 6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6" y="18"/>
                    </a:lnTo>
                    <a:lnTo>
                      <a:pt x="6"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5" name="Freeform 1402"/>
              <p:cNvSpPr>
                <a:spLocks/>
              </p:cNvSpPr>
              <p:nvPr/>
            </p:nvSpPr>
            <p:spPr bwMode="auto">
              <a:xfrm>
                <a:off x="6272" y="1680"/>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6" name="Freeform 1403"/>
              <p:cNvSpPr>
                <a:spLocks/>
              </p:cNvSpPr>
              <p:nvPr/>
            </p:nvSpPr>
            <p:spPr bwMode="auto">
              <a:xfrm>
                <a:off x="6272" y="1680"/>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7" name="Freeform 1404"/>
              <p:cNvSpPr>
                <a:spLocks/>
              </p:cNvSpPr>
              <p:nvPr/>
            </p:nvSpPr>
            <p:spPr bwMode="auto">
              <a:xfrm>
                <a:off x="6164" y="1626"/>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8 h 20"/>
                  <a:gd name="T14" fmla="*/ 2 w 12"/>
                  <a:gd name="T15" fmla="*/ 12 h 20"/>
                  <a:gd name="T16" fmla="*/ 4 w 12"/>
                  <a:gd name="T17" fmla="*/ 16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6 h 20"/>
                  <a:gd name="T34" fmla="*/ 12 w 12"/>
                  <a:gd name="T35" fmla="*/ 16 h 20"/>
                  <a:gd name="T36" fmla="*/ 10 w 12"/>
                  <a:gd name="T37" fmla="*/ 16 h 20"/>
                  <a:gd name="T38" fmla="*/ 10 w 12"/>
                  <a:gd name="T39" fmla="*/ 16 h 20"/>
                  <a:gd name="T40" fmla="*/ 6 w 12"/>
                  <a:gd name="T41" fmla="*/ 16 h 20"/>
                  <a:gd name="T42" fmla="*/ 6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8"/>
                    </a:lnTo>
                    <a:lnTo>
                      <a:pt x="2" y="12"/>
                    </a:lnTo>
                    <a:lnTo>
                      <a:pt x="4" y="16"/>
                    </a:lnTo>
                    <a:lnTo>
                      <a:pt x="6" y="20"/>
                    </a:lnTo>
                    <a:lnTo>
                      <a:pt x="6" y="20"/>
                    </a:lnTo>
                    <a:lnTo>
                      <a:pt x="6" y="20"/>
                    </a:lnTo>
                    <a:lnTo>
                      <a:pt x="6" y="20"/>
                    </a:lnTo>
                    <a:lnTo>
                      <a:pt x="8" y="20"/>
                    </a:lnTo>
                    <a:lnTo>
                      <a:pt x="8" y="20"/>
                    </a:lnTo>
                    <a:lnTo>
                      <a:pt x="10" y="18"/>
                    </a:lnTo>
                    <a:lnTo>
                      <a:pt x="12" y="16"/>
                    </a:lnTo>
                    <a:lnTo>
                      <a:pt x="12" y="16"/>
                    </a:lnTo>
                    <a:lnTo>
                      <a:pt x="10" y="16"/>
                    </a:lnTo>
                    <a:lnTo>
                      <a:pt x="10" y="16"/>
                    </a:lnTo>
                    <a:lnTo>
                      <a:pt x="6" y="16"/>
                    </a:lnTo>
                    <a:lnTo>
                      <a:pt x="6" y="16"/>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8" name="Freeform 1405"/>
              <p:cNvSpPr>
                <a:spLocks/>
              </p:cNvSpPr>
              <p:nvPr/>
            </p:nvSpPr>
            <p:spPr bwMode="auto">
              <a:xfrm>
                <a:off x="6164" y="1626"/>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8 h 20"/>
                  <a:gd name="T14" fmla="*/ 2 w 12"/>
                  <a:gd name="T15" fmla="*/ 12 h 20"/>
                  <a:gd name="T16" fmla="*/ 4 w 12"/>
                  <a:gd name="T17" fmla="*/ 16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6 h 20"/>
                  <a:gd name="T34" fmla="*/ 12 w 12"/>
                  <a:gd name="T35" fmla="*/ 16 h 20"/>
                  <a:gd name="T36" fmla="*/ 10 w 12"/>
                  <a:gd name="T37" fmla="*/ 16 h 20"/>
                  <a:gd name="T38" fmla="*/ 10 w 12"/>
                  <a:gd name="T39" fmla="*/ 16 h 20"/>
                  <a:gd name="T40" fmla="*/ 6 w 12"/>
                  <a:gd name="T41" fmla="*/ 16 h 20"/>
                  <a:gd name="T42" fmla="*/ 6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8"/>
                    </a:lnTo>
                    <a:lnTo>
                      <a:pt x="2" y="12"/>
                    </a:lnTo>
                    <a:lnTo>
                      <a:pt x="4" y="16"/>
                    </a:lnTo>
                    <a:lnTo>
                      <a:pt x="6" y="20"/>
                    </a:lnTo>
                    <a:lnTo>
                      <a:pt x="6" y="20"/>
                    </a:lnTo>
                    <a:lnTo>
                      <a:pt x="6" y="20"/>
                    </a:lnTo>
                    <a:lnTo>
                      <a:pt x="6" y="20"/>
                    </a:lnTo>
                    <a:lnTo>
                      <a:pt x="8" y="20"/>
                    </a:lnTo>
                    <a:lnTo>
                      <a:pt x="8" y="20"/>
                    </a:lnTo>
                    <a:lnTo>
                      <a:pt x="10" y="18"/>
                    </a:lnTo>
                    <a:lnTo>
                      <a:pt x="12" y="16"/>
                    </a:lnTo>
                    <a:lnTo>
                      <a:pt x="12" y="16"/>
                    </a:lnTo>
                    <a:lnTo>
                      <a:pt x="10" y="16"/>
                    </a:lnTo>
                    <a:lnTo>
                      <a:pt x="10" y="16"/>
                    </a:lnTo>
                    <a:lnTo>
                      <a:pt x="6" y="16"/>
                    </a:lnTo>
                    <a:lnTo>
                      <a:pt x="6"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9" name="Freeform 1406"/>
              <p:cNvSpPr>
                <a:spLocks noEditPoints="1"/>
              </p:cNvSpPr>
              <p:nvPr/>
            </p:nvSpPr>
            <p:spPr bwMode="auto">
              <a:xfrm>
                <a:off x="6168" y="1626"/>
                <a:ext cx="10" cy="20"/>
              </a:xfrm>
              <a:custGeom>
                <a:avLst/>
                <a:gdLst>
                  <a:gd name="T0" fmla="*/ 10 w 10"/>
                  <a:gd name="T1" fmla="*/ 14 h 20"/>
                  <a:gd name="T2" fmla="*/ 10 w 10"/>
                  <a:gd name="T3" fmla="*/ 14 h 20"/>
                  <a:gd name="T4" fmla="*/ 8 w 10"/>
                  <a:gd name="T5" fmla="*/ 16 h 20"/>
                  <a:gd name="T6" fmla="*/ 8 w 10"/>
                  <a:gd name="T7" fmla="*/ 16 h 20"/>
                  <a:gd name="T8" fmla="*/ 6 w 10"/>
                  <a:gd name="T9" fmla="*/ 18 h 20"/>
                  <a:gd name="T10" fmla="*/ 4 w 10"/>
                  <a:gd name="T11" fmla="*/ 20 h 20"/>
                  <a:gd name="T12" fmla="*/ 4 w 10"/>
                  <a:gd name="T13" fmla="*/ 20 h 20"/>
                  <a:gd name="T14" fmla="*/ 2 w 10"/>
                  <a:gd name="T15" fmla="*/ 20 h 20"/>
                  <a:gd name="T16" fmla="*/ 2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2 w 10"/>
                  <a:gd name="T31" fmla="*/ 0 h 20"/>
                  <a:gd name="T32" fmla="*/ 2 w 10"/>
                  <a:gd name="T33" fmla="*/ 0 h 20"/>
                  <a:gd name="T34" fmla="*/ 2 w 10"/>
                  <a:gd name="T35" fmla="*/ 0 h 20"/>
                  <a:gd name="T36" fmla="*/ 2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8" y="16"/>
                    </a:lnTo>
                    <a:lnTo>
                      <a:pt x="8" y="16"/>
                    </a:lnTo>
                    <a:lnTo>
                      <a:pt x="6" y="18"/>
                    </a:lnTo>
                    <a:lnTo>
                      <a:pt x="4" y="20"/>
                    </a:lnTo>
                    <a:lnTo>
                      <a:pt x="4" y="20"/>
                    </a:lnTo>
                    <a:lnTo>
                      <a:pt x="2" y="20"/>
                    </a:lnTo>
                    <a:lnTo>
                      <a:pt x="2" y="20"/>
                    </a:lnTo>
                    <a:lnTo>
                      <a:pt x="4" y="20"/>
                    </a:lnTo>
                    <a:lnTo>
                      <a:pt x="4" y="20"/>
                    </a:lnTo>
                    <a:lnTo>
                      <a:pt x="8" y="18"/>
                    </a:lnTo>
                    <a:lnTo>
                      <a:pt x="10" y="14"/>
                    </a:lnTo>
                    <a:close/>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6"/>
                    </a:lnTo>
                    <a:lnTo>
                      <a:pt x="2" y="16"/>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0" name="Freeform 1407"/>
              <p:cNvSpPr>
                <a:spLocks/>
              </p:cNvSpPr>
              <p:nvPr/>
            </p:nvSpPr>
            <p:spPr bwMode="auto">
              <a:xfrm>
                <a:off x="6170" y="1640"/>
                <a:ext cx="8" cy="6"/>
              </a:xfrm>
              <a:custGeom>
                <a:avLst/>
                <a:gdLst>
                  <a:gd name="T0" fmla="*/ 8 w 8"/>
                  <a:gd name="T1" fmla="*/ 0 h 6"/>
                  <a:gd name="T2" fmla="*/ 8 w 8"/>
                  <a:gd name="T3" fmla="*/ 0 h 6"/>
                  <a:gd name="T4" fmla="*/ 6 w 8"/>
                  <a:gd name="T5" fmla="*/ 2 h 6"/>
                  <a:gd name="T6" fmla="*/ 6 w 8"/>
                  <a:gd name="T7" fmla="*/ 2 h 6"/>
                  <a:gd name="T8" fmla="*/ 4 w 8"/>
                  <a:gd name="T9" fmla="*/ 4 h 6"/>
                  <a:gd name="T10" fmla="*/ 2 w 8"/>
                  <a:gd name="T11" fmla="*/ 6 h 6"/>
                  <a:gd name="T12" fmla="*/ 2 w 8"/>
                  <a:gd name="T13" fmla="*/ 6 h 6"/>
                  <a:gd name="T14" fmla="*/ 0 w 8"/>
                  <a:gd name="T15" fmla="*/ 6 h 6"/>
                  <a:gd name="T16" fmla="*/ 0 w 8"/>
                  <a:gd name="T17" fmla="*/ 6 h 6"/>
                  <a:gd name="T18" fmla="*/ 2 w 8"/>
                  <a:gd name="T19" fmla="*/ 6 h 6"/>
                  <a:gd name="T20" fmla="*/ 2 w 8"/>
                  <a:gd name="T21" fmla="*/ 6 h 6"/>
                  <a:gd name="T22" fmla="*/ 6 w 8"/>
                  <a:gd name="T23" fmla="*/ 4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2"/>
                    </a:lnTo>
                    <a:lnTo>
                      <a:pt x="6" y="2"/>
                    </a:lnTo>
                    <a:lnTo>
                      <a:pt x="4" y="4"/>
                    </a:lnTo>
                    <a:lnTo>
                      <a:pt x="2" y="6"/>
                    </a:lnTo>
                    <a:lnTo>
                      <a:pt x="2" y="6"/>
                    </a:lnTo>
                    <a:lnTo>
                      <a:pt x="0" y="6"/>
                    </a:lnTo>
                    <a:lnTo>
                      <a:pt x="0" y="6"/>
                    </a:lnTo>
                    <a:lnTo>
                      <a:pt x="2" y="6"/>
                    </a:lnTo>
                    <a:lnTo>
                      <a:pt x="2" y="6"/>
                    </a:lnTo>
                    <a:lnTo>
                      <a:pt x="6" y="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1" name="Freeform 1408"/>
              <p:cNvSpPr>
                <a:spLocks/>
              </p:cNvSpPr>
              <p:nvPr/>
            </p:nvSpPr>
            <p:spPr bwMode="auto">
              <a:xfrm>
                <a:off x="6168" y="1626"/>
                <a:ext cx="4" cy="16"/>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2 w 4"/>
                  <a:gd name="T29" fmla="*/ 16 h 16"/>
                  <a:gd name="T30" fmla="*/ 2 w 4"/>
                  <a:gd name="T31" fmla="*/ 16 h 16"/>
                  <a:gd name="T32" fmla="*/ 2 w 4"/>
                  <a:gd name="T33" fmla="*/ 16 h 16"/>
                  <a:gd name="T34" fmla="*/ 2 w 4"/>
                  <a:gd name="T35" fmla="*/ 16 h 16"/>
                  <a:gd name="T36" fmla="*/ 0 w 4"/>
                  <a:gd name="T37" fmla="*/ 12 h 16"/>
                  <a:gd name="T38" fmla="*/ 0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2" name="Freeform 1409"/>
              <p:cNvSpPr>
                <a:spLocks noEditPoints="1"/>
              </p:cNvSpPr>
              <p:nvPr/>
            </p:nvSpPr>
            <p:spPr bwMode="auto">
              <a:xfrm>
                <a:off x="6278" y="1616"/>
                <a:ext cx="20" cy="12"/>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14 w 20"/>
                  <a:gd name="T43" fmla="*/ 0 h 12"/>
                  <a:gd name="T44" fmla="*/ 14 w 20"/>
                  <a:gd name="T45" fmla="*/ 0 h 12"/>
                  <a:gd name="T46" fmla="*/ 8 w 20"/>
                  <a:gd name="T47" fmla="*/ 2 h 12"/>
                  <a:gd name="T48" fmla="*/ 0 w 20"/>
                  <a:gd name="T49" fmla="*/ 8 h 12"/>
                  <a:gd name="T50" fmla="*/ 0 w 20"/>
                  <a:gd name="T51" fmla="*/ 8 h 12"/>
                  <a:gd name="T52" fmla="*/ 4 w 20"/>
                  <a:gd name="T53" fmla="*/ 8 h 12"/>
                  <a:gd name="T54" fmla="*/ 4 w 20"/>
                  <a:gd name="T55" fmla="*/ 8 h 12"/>
                  <a:gd name="T56" fmla="*/ 8 w 20"/>
                  <a:gd name="T57" fmla="*/ 12 h 12"/>
                  <a:gd name="T58" fmla="*/ 8 w 20"/>
                  <a:gd name="T59" fmla="*/ 12 h 12"/>
                  <a:gd name="T60" fmla="*/ 20 w 20"/>
                  <a:gd name="T61" fmla="*/ 6 h 12"/>
                  <a:gd name="T62" fmla="*/ 20 w 20"/>
                  <a:gd name="T63" fmla="*/ 6 h 12"/>
                  <a:gd name="T64" fmla="*/ 16 w 20"/>
                  <a:gd name="T65" fmla="*/ 4 h 12"/>
                  <a:gd name="T66" fmla="*/ 14 w 20"/>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3" name="Freeform 1410"/>
              <p:cNvSpPr>
                <a:spLocks/>
              </p:cNvSpPr>
              <p:nvPr/>
            </p:nvSpPr>
            <p:spPr bwMode="auto">
              <a:xfrm>
                <a:off x="6284" y="1622"/>
                <a:ext cx="6" cy="4"/>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0" name="Group 1612"/>
            <p:cNvGrpSpPr>
              <a:grpSpLocks/>
            </p:cNvGrpSpPr>
            <p:nvPr/>
          </p:nvGrpSpPr>
          <p:grpSpPr bwMode="auto">
            <a:xfrm>
              <a:off x="6029304" y="1520825"/>
              <a:ext cx="6010253" cy="1831975"/>
              <a:chOff x="3798" y="1158"/>
              <a:chExt cx="3786" cy="1154"/>
            </a:xfrm>
          </p:grpSpPr>
          <p:sp>
            <p:nvSpPr>
              <p:cNvPr id="1394" name="Freeform 1412"/>
              <p:cNvSpPr>
                <a:spLocks/>
              </p:cNvSpPr>
              <p:nvPr/>
            </p:nvSpPr>
            <p:spPr bwMode="auto">
              <a:xfrm>
                <a:off x="6278" y="1616"/>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5" name="Freeform 1413"/>
              <p:cNvSpPr>
                <a:spLocks/>
              </p:cNvSpPr>
              <p:nvPr/>
            </p:nvSpPr>
            <p:spPr bwMode="auto">
              <a:xfrm>
                <a:off x="6232"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6" name="Freeform 1414"/>
              <p:cNvSpPr>
                <a:spLocks/>
              </p:cNvSpPr>
              <p:nvPr/>
            </p:nvSpPr>
            <p:spPr bwMode="auto">
              <a:xfrm>
                <a:off x="6232"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7" name="Freeform 1415"/>
              <p:cNvSpPr>
                <a:spLocks/>
              </p:cNvSpPr>
              <p:nvPr/>
            </p:nvSpPr>
            <p:spPr bwMode="auto">
              <a:xfrm>
                <a:off x="63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8" name="Freeform 1416"/>
              <p:cNvSpPr>
                <a:spLocks/>
              </p:cNvSpPr>
              <p:nvPr/>
            </p:nvSpPr>
            <p:spPr bwMode="auto">
              <a:xfrm>
                <a:off x="63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9" name="Freeform 1417"/>
              <p:cNvSpPr>
                <a:spLocks/>
              </p:cNvSpPr>
              <p:nvPr/>
            </p:nvSpPr>
            <p:spPr bwMode="auto">
              <a:xfrm>
                <a:off x="62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0" name="Freeform 1418"/>
              <p:cNvSpPr>
                <a:spLocks/>
              </p:cNvSpPr>
              <p:nvPr/>
            </p:nvSpPr>
            <p:spPr bwMode="auto">
              <a:xfrm>
                <a:off x="62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1" name="Freeform 1419"/>
              <p:cNvSpPr>
                <a:spLocks/>
              </p:cNvSpPr>
              <p:nvPr/>
            </p:nvSpPr>
            <p:spPr bwMode="auto">
              <a:xfrm>
                <a:off x="62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2" name="Freeform 1420"/>
              <p:cNvSpPr>
                <a:spLocks/>
              </p:cNvSpPr>
              <p:nvPr/>
            </p:nvSpPr>
            <p:spPr bwMode="auto">
              <a:xfrm>
                <a:off x="62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3" name="Freeform 1421"/>
              <p:cNvSpPr>
                <a:spLocks/>
              </p:cNvSpPr>
              <p:nvPr/>
            </p:nvSpPr>
            <p:spPr bwMode="auto">
              <a:xfrm>
                <a:off x="6284"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4" name="Freeform 1422"/>
              <p:cNvSpPr>
                <a:spLocks/>
              </p:cNvSpPr>
              <p:nvPr/>
            </p:nvSpPr>
            <p:spPr bwMode="auto">
              <a:xfrm>
                <a:off x="6284"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5" name="Freeform 1423"/>
              <p:cNvSpPr>
                <a:spLocks noEditPoints="1"/>
              </p:cNvSpPr>
              <p:nvPr/>
            </p:nvSpPr>
            <p:spPr bwMode="auto">
              <a:xfrm>
                <a:off x="6286" y="162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4 w 4"/>
                  <a:gd name="T21" fmla="*/ 2 h 4"/>
                  <a:gd name="T22" fmla="*/ 0 w 4"/>
                  <a:gd name="T23" fmla="*/ 0 h 4"/>
                  <a:gd name="T24" fmla="*/ 0 w 4"/>
                  <a:gd name="T25" fmla="*/ 0 h 4"/>
                  <a:gd name="T26" fmla="*/ 0 w 4"/>
                  <a:gd name="T27" fmla="*/ 0 h 4"/>
                  <a:gd name="T28" fmla="*/ 0 w 4"/>
                  <a:gd name="T29" fmla="*/ 0 h 4"/>
                  <a:gd name="T30" fmla="*/ 2 w 4"/>
                  <a:gd name="T31" fmla="*/ 0 h 4"/>
                  <a:gd name="T32" fmla="*/ 2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4" y="2"/>
                    </a:moveTo>
                    <a:lnTo>
                      <a:pt x="4" y="2"/>
                    </a:lnTo>
                    <a:lnTo>
                      <a:pt x="0" y="4"/>
                    </a:lnTo>
                    <a:lnTo>
                      <a:pt x="0" y="4"/>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6" name="Freeform 1424"/>
              <p:cNvSpPr>
                <a:spLocks/>
              </p:cNvSpPr>
              <p:nvPr/>
            </p:nvSpPr>
            <p:spPr bwMode="auto">
              <a:xfrm>
                <a:off x="6286" y="162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0 w 4"/>
                  <a:gd name="T13" fmla="*/ 2 h 2"/>
                  <a:gd name="T14" fmla="*/ 0 w 4"/>
                  <a:gd name="T15" fmla="*/ 2 h 2"/>
                  <a:gd name="T16" fmla="*/ 4 w 4"/>
                  <a:gd name="T17" fmla="*/ 0 h 2"/>
                  <a:gd name="T18" fmla="*/ 4 w 4"/>
                  <a:gd name="T19" fmla="*/ 0 h 2"/>
                  <a:gd name="T20" fmla="*/ 4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4" y="0"/>
                    </a:moveTo>
                    <a:lnTo>
                      <a:pt x="4" y="0"/>
                    </a:lnTo>
                    <a:lnTo>
                      <a:pt x="0" y="2"/>
                    </a:lnTo>
                    <a:lnTo>
                      <a:pt x="0" y="2"/>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7" name="Freeform 1425"/>
              <p:cNvSpPr>
                <a:spLocks/>
              </p:cNvSpPr>
              <p:nvPr/>
            </p:nvSpPr>
            <p:spPr bwMode="auto">
              <a:xfrm>
                <a:off x="6286"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8" name="Freeform 1426"/>
              <p:cNvSpPr>
                <a:spLocks/>
              </p:cNvSpPr>
              <p:nvPr/>
            </p:nvSpPr>
            <p:spPr bwMode="auto">
              <a:xfrm>
                <a:off x="681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9" name="Freeform 1427"/>
              <p:cNvSpPr>
                <a:spLocks/>
              </p:cNvSpPr>
              <p:nvPr/>
            </p:nvSpPr>
            <p:spPr bwMode="auto">
              <a:xfrm>
                <a:off x="704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0" name="Freeform 1428"/>
              <p:cNvSpPr>
                <a:spLocks/>
              </p:cNvSpPr>
              <p:nvPr/>
            </p:nvSpPr>
            <p:spPr bwMode="auto">
              <a:xfrm>
                <a:off x="713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1" name="Freeform 1429"/>
              <p:cNvSpPr>
                <a:spLocks/>
              </p:cNvSpPr>
              <p:nvPr/>
            </p:nvSpPr>
            <p:spPr bwMode="auto">
              <a:xfrm>
                <a:off x="723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2" name="Freeform 1430"/>
              <p:cNvSpPr>
                <a:spLocks/>
              </p:cNvSpPr>
              <p:nvPr/>
            </p:nvSpPr>
            <p:spPr bwMode="auto">
              <a:xfrm>
                <a:off x="6900" y="157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3" name="Freeform 1431"/>
              <p:cNvSpPr>
                <a:spLocks/>
              </p:cNvSpPr>
              <p:nvPr/>
            </p:nvSpPr>
            <p:spPr bwMode="auto">
              <a:xfrm>
                <a:off x="6900" y="157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4" name="Freeform 1432"/>
              <p:cNvSpPr>
                <a:spLocks/>
              </p:cNvSpPr>
              <p:nvPr/>
            </p:nvSpPr>
            <p:spPr bwMode="auto">
              <a:xfrm>
                <a:off x="696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5" name="Freeform 1433"/>
              <p:cNvSpPr>
                <a:spLocks/>
              </p:cNvSpPr>
              <p:nvPr/>
            </p:nvSpPr>
            <p:spPr bwMode="auto">
              <a:xfrm>
                <a:off x="696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6" name="Freeform 1434"/>
              <p:cNvSpPr>
                <a:spLocks noEditPoints="1"/>
              </p:cNvSpPr>
              <p:nvPr/>
            </p:nvSpPr>
            <p:spPr bwMode="auto">
              <a:xfrm>
                <a:off x="7320" y="1574"/>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7" name="Freeform 1435"/>
              <p:cNvSpPr>
                <a:spLocks noEditPoints="1"/>
              </p:cNvSpPr>
              <p:nvPr/>
            </p:nvSpPr>
            <p:spPr bwMode="auto">
              <a:xfrm>
                <a:off x="7458"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8" name="Freeform 1436"/>
              <p:cNvSpPr>
                <a:spLocks/>
              </p:cNvSpPr>
              <p:nvPr/>
            </p:nvSpPr>
            <p:spPr bwMode="auto">
              <a:xfrm>
                <a:off x="381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9" name="Freeform 1437"/>
              <p:cNvSpPr>
                <a:spLocks/>
              </p:cNvSpPr>
              <p:nvPr/>
            </p:nvSpPr>
            <p:spPr bwMode="auto">
              <a:xfrm>
                <a:off x="391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0" name="Freeform 1438"/>
              <p:cNvSpPr>
                <a:spLocks/>
              </p:cNvSpPr>
              <p:nvPr/>
            </p:nvSpPr>
            <p:spPr bwMode="auto">
              <a:xfrm>
                <a:off x="4004"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1" name="Freeform 1439"/>
              <p:cNvSpPr>
                <a:spLocks noEditPoints="1"/>
              </p:cNvSpPr>
              <p:nvPr/>
            </p:nvSpPr>
            <p:spPr bwMode="auto">
              <a:xfrm>
                <a:off x="4094" y="17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2" name="Freeform 1440"/>
              <p:cNvSpPr>
                <a:spLocks noEditPoints="1"/>
              </p:cNvSpPr>
              <p:nvPr/>
            </p:nvSpPr>
            <p:spPr bwMode="auto">
              <a:xfrm>
                <a:off x="4234" y="1762"/>
                <a:ext cx="98" cy="150"/>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3" name="Freeform 1441"/>
              <p:cNvSpPr>
                <a:spLocks noEditPoints="1"/>
              </p:cNvSpPr>
              <p:nvPr/>
            </p:nvSpPr>
            <p:spPr bwMode="auto">
              <a:xfrm>
                <a:off x="4652" y="1762"/>
                <a:ext cx="98" cy="150"/>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4" name="Freeform 1442"/>
              <p:cNvSpPr>
                <a:spLocks noEditPoints="1"/>
              </p:cNvSpPr>
              <p:nvPr/>
            </p:nvSpPr>
            <p:spPr bwMode="auto">
              <a:xfrm>
                <a:off x="4882" y="17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5" name="Freeform 1443"/>
              <p:cNvSpPr>
                <a:spLocks/>
              </p:cNvSpPr>
              <p:nvPr/>
            </p:nvSpPr>
            <p:spPr bwMode="auto">
              <a:xfrm>
                <a:off x="479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6" name="Freeform 1444"/>
              <p:cNvSpPr>
                <a:spLocks noEditPoints="1"/>
              </p:cNvSpPr>
              <p:nvPr/>
            </p:nvSpPr>
            <p:spPr bwMode="auto">
              <a:xfrm>
                <a:off x="5022" y="17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7" name="Freeform 1445"/>
              <p:cNvSpPr>
                <a:spLocks/>
              </p:cNvSpPr>
              <p:nvPr/>
            </p:nvSpPr>
            <p:spPr bwMode="auto">
              <a:xfrm>
                <a:off x="5162" y="1766"/>
                <a:ext cx="46" cy="146"/>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8" name="Freeform 1446"/>
              <p:cNvSpPr>
                <a:spLocks/>
              </p:cNvSpPr>
              <p:nvPr/>
            </p:nvSpPr>
            <p:spPr bwMode="auto">
              <a:xfrm>
                <a:off x="5162" y="1766"/>
                <a:ext cx="46" cy="146"/>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9" name="Freeform 1447"/>
              <p:cNvSpPr>
                <a:spLocks/>
              </p:cNvSpPr>
              <p:nvPr/>
            </p:nvSpPr>
            <p:spPr bwMode="auto">
              <a:xfrm>
                <a:off x="5222" y="1766"/>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0" name="Freeform 1448"/>
              <p:cNvSpPr>
                <a:spLocks/>
              </p:cNvSpPr>
              <p:nvPr/>
            </p:nvSpPr>
            <p:spPr bwMode="auto">
              <a:xfrm>
                <a:off x="5222" y="1766"/>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1" name="Freeform 1449"/>
              <p:cNvSpPr>
                <a:spLocks noEditPoints="1"/>
              </p:cNvSpPr>
              <p:nvPr/>
            </p:nvSpPr>
            <p:spPr bwMode="auto">
              <a:xfrm>
                <a:off x="5458" y="17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2" name="Freeform 1450"/>
              <p:cNvSpPr>
                <a:spLocks/>
              </p:cNvSpPr>
              <p:nvPr/>
            </p:nvSpPr>
            <p:spPr bwMode="auto">
              <a:xfrm>
                <a:off x="559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3" name="Freeform 1451"/>
              <p:cNvSpPr>
                <a:spLocks noEditPoints="1"/>
              </p:cNvSpPr>
              <p:nvPr/>
            </p:nvSpPr>
            <p:spPr bwMode="auto">
              <a:xfrm>
                <a:off x="5310" y="1770"/>
                <a:ext cx="108" cy="142"/>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4" name="Freeform 1452"/>
              <p:cNvSpPr>
                <a:spLocks/>
              </p:cNvSpPr>
              <p:nvPr/>
            </p:nvSpPr>
            <p:spPr bwMode="auto">
              <a:xfrm>
                <a:off x="5352" y="1830"/>
                <a:ext cx="22" cy="2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5" name="Freeform 1453"/>
              <p:cNvSpPr>
                <a:spLocks/>
              </p:cNvSpPr>
              <p:nvPr/>
            </p:nvSpPr>
            <p:spPr bwMode="auto">
              <a:xfrm>
                <a:off x="5310" y="1770"/>
                <a:ext cx="108" cy="142"/>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6" name="Freeform 1454"/>
              <p:cNvSpPr>
                <a:spLocks/>
              </p:cNvSpPr>
              <p:nvPr/>
            </p:nvSpPr>
            <p:spPr bwMode="auto">
              <a:xfrm>
                <a:off x="437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7" name="Freeform 1455"/>
              <p:cNvSpPr>
                <a:spLocks/>
              </p:cNvSpPr>
              <p:nvPr/>
            </p:nvSpPr>
            <p:spPr bwMode="auto">
              <a:xfrm>
                <a:off x="446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8" name="Freeform 1456"/>
              <p:cNvSpPr>
                <a:spLocks/>
              </p:cNvSpPr>
              <p:nvPr/>
            </p:nvSpPr>
            <p:spPr bwMode="auto">
              <a:xfrm>
                <a:off x="456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9" name="Freeform 1457"/>
              <p:cNvSpPr>
                <a:spLocks/>
              </p:cNvSpPr>
              <p:nvPr/>
            </p:nvSpPr>
            <p:spPr bwMode="auto">
              <a:xfrm>
                <a:off x="496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0" name="Freeform 1458"/>
              <p:cNvSpPr>
                <a:spLocks/>
              </p:cNvSpPr>
              <p:nvPr/>
            </p:nvSpPr>
            <p:spPr bwMode="auto">
              <a:xfrm>
                <a:off x="505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1" name="Freeform 1459"/>
              <p:cNvSpPr>
                <a:spLocks/>
              </p:cNvSpPr>
              <p:nvPr/>
            </p:nvSpPr>
            <p:spPr bwMode="auto">
              <a:xfrm>
                <a:off x="514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2" name="Freeform 1460"/>
              <p:cNvSpPr>
                <a:spLocks/>
              </p:cNvSpPr>
              <p:nvPr/>
            </p:nvSpPr>
            <p:spPr bwMode="auto">
              <a:xfrm>
                <a:off x="523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3" name="Freeform 1461"/>
              <p:cNvSpPr>
                <a:spLocks/>
              </p:cNvSpPr>
              <p:nvPr/>
            </p:nvSpPr>
            <p:spPr bwMode="auto">
              <a:xfrm>
                <a:off x="547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4" name="Freeform 1462"/>
              <p:cNvSpPr>
                <a:spLocks/>
              </p:cNvSpPr>
              <p:nvPr/>
            </p:nvSpPr>
            <p:spPr bwMode="auto">
              <a:xfrm>
                <a:off x="556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5" name="Freeform 1463"/>
              <p:cNvSpPr>
                <a:spLocks/>
              </p:cNvSpPr>
              <p:nvPr/>
            </p:nvSpPr>
            <p:spPr bwMode="auto">
              <a:xfrm>
                <a:off x="5330"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6" name="Freeform 1464"/>
              <p:cNvSpPr>
                <a:spLocks/>
              </p:cNvSpPr>
              <p:nvPr/>
            </p:nvSpPr>
            <p:spPr bwMode="auto">
              <a:xfrm>
                <a:off x="5330"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7" name="Freeform 1465"/>
              <p:cNvSpPr>
                <a:spLocks/>
              </p:cNvSpPr>
              <p:nvPr/>
            </p:nvSpPr>
            <p:spPr bwMode="auto">
              <a:xfrm>
                <a:off x="5390"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8" name="Freeform 1466"/>
              <p:cNvSpPr>
                <a:spLocks/>
              </p:cNvSpPr>
              <p:nvPr/>
            </p:nvSpPr>
            <p:spPr bwMode="auto">
              <a:xfrm>
                <a:off x="5390"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9" name="Freeform 1467"/>
              <p:cNvSpPr>
                <a:spLocks noEditPoints="1"/>
              </p:cNvSpPr>
              <p:nvPr/>
            </p:nvSpPr>
            <p:spPr bwMode="auto">
              <a:xfrm>
                <a:off x="4186" y="1574"/>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0" name="Freeform 1468"/>
              <p:cNvSpPr>
                <a:spLocks noEditPoints="1"/>
              </p:cNvSpPr>
              <p:nvPr/>
            </p:nvSpPr>
            <p:spPr bwMode="auto">
              <a:xfrm>
                <a:off x="4324"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1" name="Freeform 1469"/>
              <p:cNvSpPr>
                <a:spLocks noEditPoints="1"/>
              </p:cNvSpPr>
              <p:nvPr/>
            </p:nvSpPr>
            <p:spPr bwMode="auto">
              <a:xfrm>
                <a:off x="4736" y="1574"/>
                <a:ext cx="98" cy="150"/>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2" name="Freeform 1470"/>
              <p:cNvSpPr>
                <a:spLocks/>
              </p:cNvSpPr>
              <p:nvPr/>
            </p:nvSpPr>
            <p:spPr bwMode="auto">
              <a:xfrm>
                <a:off x="4874"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3" name="Freeform 1471"/>
              <p:cNvSpPr>
                <a:spLocks/>
              </p:cNvSpPr>
              <p:nvPr/>
            </p:nvSpPr>
            <p:spPr bwMode="auto">
              <a:xfrm>
                <a:off x="446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4" name="Freeform 1472"/>
              <p:cNvSpPr>
                <a:spLocks/>
              </p:cNvSpPr>
              <p:nvPr/>
            </p:nvSpPr>
            <p:spPr bwMode="auto">
              <a:xfrm>
                <a:off x="455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5" name="Freeform 1473"/>
              <p:cNvSpPr>
                <a:spLocks/>
              </p:cNvSpPr>
              <p:nvPr/>
            </p:nvSpPr>
            <p:spPr bwMode="auto">
              <a:xfrm>
                <a:off x="4646"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6" name="Freeform 1474"/>
              <p:cNvSpPr>
                <a:spLocks noEditPoints="1"/>
              </p:cNvSpPr>
              <p:nvPr/>
            </p:nvSpPr>
            <p:spPr bwMode="auto">
              <a:xfrm>
                <a:off x="3798" y="1574"/>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7" name="Freeform 1475"/>
              <p:cNvSpPr>
                <a:spLocks/>
              </p:cNvSpPr>
              <p:nvPr/>
            </p:nvSpPr>
            <p:spPr bwMode="auto">
              <a:xfrm>
                <a:off x="3912"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8" name="Freeform 1476"/>
              <p:cNvSpPr>
                <a:spLocks/>
              </p:cNvSpPr>
              <p:nvPr/>
            </p:nvSpPr>
            <p:spPr bwMode="auto">
              <a:xfrm>
                <a:off x="400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9" name="Freeform 1477"/>
              <p:cNvSpPr>
                <a:spLocks/>
              </p:cNvSpPr>
              <p:nvPr/>
            </p:nvSpPr>
            <p:spPr bwMode="auto">
              <a:xfrm>
                <a:off x="4096"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0" name="Freeform 1478"/>
              <p:cNvSpPr>
                <a:spLocks noEditPoints="1"/>
              </p:cNvSpPr>
              <p:nvPr/>
            </p:nvSpPr>
            <p:spPr bwMode="auto">
              <a:xfrm>
                <a:off x="3798" y="21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1" name="Freeform 1479"/>
              <p:cNvSpPr>
                <a:spLocks noEditPoints="1"/>
              </p:cNvSpPr>
              <p:nvPr/>
            </p:nvSpPr>
            <p:spPr bwMode="auto">
              <a:xfrm>
                <a:off x="3802" y="19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2" name="Freeform 1480"/>
              <p:cNvSpPr>
                <a:spLocks noEditPoints="1"/>
              </p:cNvSpPr>
              <p:nvPr/>
            </p:nvSpPr>
            <p:spPr bwMode="auto">
              <a:xfrm>
                <a:off x="3932" y="1364"/>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3" name="Freeform 1481"/>
              <p:cNvSpPr>
                <a:spLocks/>
              </p:cNvSpPr>
              <p:nvPr/>
            </p:nvSpPr>
            <p:spPr bwMode="auto">
              <a:xfrm>
                <a:off x="407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4" name="Freeform 1482"/>
              <p:cNvSpPr>
                <a:spLocks/>
              </p:cNvSpPr>
              <p:nvPr/>
            </p:nvSpPr>
            <p:spPr bwMode="auto">
              <a:xfrm>
                <a:off x="416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5" name="Freeform 1483"/>
              <p:cNvSpPr>
                <a:spLocks/>
              </p:cNvSpPr>
              <p:nvPr/>
            </p:nvSpPr>
            <p:spPr bwMode="auto">
              <a:xfrm>
                <a:off x="4258"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6" name="Freeform 1484"/>
              <p:cNvSpPr>
                <a:spLocks/>
              </p:cNvSpPr>
              <p:nvPr/>
            </p:nvSpPr>
            <p:spPr bwMode="auto">
              <a:xfrm>
                <a:off x="434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7" name="Freeform 1485"/>
              <p:cNvSpPr>
                <a:spLocks/>
              </p:cNvSpPr>
              <p:nvPr/>
            </p:nvSpPr>
            <p:spPr bwMode="auto">
              <a:xfrm>
                <a:off x="4590"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8" name="Freeform 1486"/>
              <p:cNvSpPr>
                <a:spLocks/>
              </p:cNvSpPr>
              <p:nvPr/>
            </p:nvSpPr>
            <p:spPr bwMode="auto">
              <a:xfrm>
                <a:off x="468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9" name="Freeform 1487"/>
              <p:cNvSpPr>
                <a:spLocks/>
              </p:cNvSpPr>
              <p:nvPr/>
            </p:nvSpPr>
            <p:spPr bwMode="auto">
              <a:xfrm>
                <a:off x="4776"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0" name="Freeform 1488"/>
              <p:cNvSpPr>
                <a:spLocks/>
              </p:cNvSpPr>
              <p:nvPr/>
            </p:nvSpPr>
            <p:spPr bwMode="auto">
              <a:xfrm>
                <a:off x="4870"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1" name="Freeform 1489"/>
              <p:cNvSpPr>
                <a:spLocks/>
              </p:cNvSpPr>
              <p:nvPr/>
            </p:nvSpPr>
            <p:spPr bwMode="auto">
              <a:xfrm>
                <a:off x="4442" y="1366"/>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2" name="Freeform 1490"/>
              <p:cNvSpPr>
                <a:spLocks/>
              </p:cNvSpPr>
              <p:nvPr/>
            </p:nvSpPr>
            <p:spPr bwMode="auto">
              <a:xfrm>
                <a:off x="4442" y="1366"/>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3" name="Freeform 1491"/>
              <p:cNvSpPr>
                <a:spLocks/>
              </p:cNvSpPr>
              <p:nvPr/>
            </p:nvSpPr>
            <p:spPr bwMode="auto">
              <a:xfrm>
                <a:off x="4502"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4" name="Freeform 1492"/>
              <p:cNvSpPr>
                <a:spLocks/>
              </p:cNvSpPr>
              <p:nvPr/>
            </p:nvSpPr>
            <p:spPr bwMode="auto">
              <a:xfrm>
                <a:off x="4502"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5" name="Freeform 1493"/>
              <p:cNvSpPr>
                <a:spLocks/>
              </p:cNvSpPr>
              <p:nvPr/>
            </p:nvSpPr>
            <p:spPr bwMode="auto">
              <a:xfrm>
                <a:off x="5190"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6" name="Freeform 1494"/>
              <p:cNvSpPr>
                <a:spLocks/>
              </p:cNvSpPr>
              <p:nvPr/>
            </p:nvSpPr>
            <p:spPr bwMode="auto">
              <a:xfrm>
                <a:off x="5190"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7" name="Freeform 1495"/>
              <p:cNvSpPr>
                <a:spLocks/>
              </p:cNvSpPr>
              <p:nvPr/>
            </p:nvSpPr>
            <p:spPr bwMode="auto">
              <a:xfrm>
                <a:off x="5250"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8" name="Freeform 1496"/>
              <p:cNvSpPr>
                <a:spLocks/>
              </p:cNvSpPr>
              <p:nvPr/>
            </p:nvSpPr>
            <p:spPr bwMode="auto">
              <a:xfrm>
                <a:off x="5250"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9" name="Freeform 1497"/>
              <p:cNvSpPr>
                <a:spLocks/>
              </p:cNvSpPr>
              <p:nvPr/>
            </p:nvSpPr>
            <p:spPr bwMode="auto">
              <a:xfrm>
                <a:off x="533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0" name="Freeform 1498"/>
              <p:cNvSpPr>
                <a:spLocks/>
              </p:cNvSpPr>
              <p:nvPr/>
            </p:nvSpPr>
            <p:spPr bwMode="auto">
              <a:xfrm>
                <a:off x="5432"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1" name="Freeform 1499"/>
              <p:cNvSpPr>
                <a:spLocks/>
              </p:cNvSpPr>
              <p:nvPr/>
            </p:nvSpPr>
            <p:spPr bwMode="auto">
              <a:xfrm>
                <a:off x="5524"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2" name="Freeform 1500"/>
              <p:cNvSpPr>
                <a:spLocks/>
              </p:cNvSpPr>
              <p:nvPr/>
            </p:nvSpPr>
            <p:spPr bwMode="auto">
              <a:xfrm>
                <a:off x="576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3" name="Freeform 1501"/>
              <p:cNvSpPr>
                <a:spLocks/>
              </p:cNvSpPr>
              <p:nvPr/>
            </p:nvSpPr>
            <p:spPr bwMode="auto">
              <a:xfrm>
                <a:off x="5856"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4" name="Freeform 1502"/>
              <p:cNvSpPr>
                <a:spLocks/>
              </p:cNvSpPr>
              <p:nvPr/>
            </p:nvSpPr>
            <p:spPr bwMode="auto">
              <a:xfrm>
                <a:off x="5948"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5" name="Freeform 1503"/>
              <p:cNvSpPr>
                <a:spLocks noEditPoints="1"/>
              </p:cNvSpPr>
              <p:nvPr/>
            </p:nvSpPr>
            <p:spPr bwMode="auto">
              <a:xfrm>
                <a:off x="6040" y="1364"/>
                <a:ext cx="98" cy="148"/>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6" name="Freeform 1504"/>
              <p:cNvSpPr>
                <a:spLocks noEditPoints="1"/>
              </p:cNvSpPr>
              <p:nvPr/>
            </p:nvSpPr>
            <p:spPr bwMode="auto">
              <a:xfrm>
                <a:off x="6178" y="1364"/>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7" name="Freeform 1505"/>
              <p:cNvSpPr>
                <a:spLocks/>
              </p:cNvSpPr>
              <p:nvPr/>
            </p:nvSpPr>
            <p:spPr bwMode="auto">
              <a:xfrm>
                <a:off x="561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8" name="Freeform 1506"/>
              <p:cNvSpPr>
                <a:spLocks/>
              </p:cNvSpPr>
              <p:nvPr/>
            </p:nvSpPr>
            <p:spPr bwMode="auto">
              <a:xfrm>
                <a:off x="561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9" name="Freeform 1507"/>
              <p:cNvSpPr>
                <a:spLocks/>
              </p:cNvSpPr>
              <p:nvPr/>
            </p:nvSpPr>
            <p:spPr bwMode="auto">
              <a:xfrm>
                <a:off x="567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0" name="Freeform 1508"/>
              <p:cNvSpPr>
                <a:spLocks/>
              </p:cNvSpPr>
              <p:nvPr/>
            </p:nvSpPr>
            <p:spPr bwMode="auto">
              <a:xfrm>
                <a:off x="567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1" name="Freeform 1509"/>
              <p:cNvSpPr>
                <a:spLocks noEditPoints="1"/>
              </p:cNvSpPr>
              <p:nvPr/>
            </p:nvSpPr>
            <p:spPr bwMode="auto">
              <a:xfrm>
                <a:off x="6594" y="1364"/>
                <a:ext cx="100" cy="148"/>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2" name="Freeform 1510"/>
              <p:cNvSpPr>
                <a:spLocks noEditPoints="1"/>
              </p:cNvSpPr>
              <p:nvPr/>
            </p:nvSpPr>
            <p:spPr bwMode="auto">
              <a:xfrm>
                <a:off x="6826" y="1364"/>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3" name="Freeform 1511"/>
              <p:cNvSpPr>
                <a:spLocks/>
              </p:cNvSpPr>
              <p:nvPr/>
            </p:nvSpPr>
            <p:spPr bwMode="auto">
              <a:xfrm>
                <a:off x="673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4" name="Freeform 1512"/>
              <p:cNvSpPr>
                <a:spLocks noEditPoints="1"/>
              </p:cNvSpPr>
              <p:nvPr/>
            </p:nvSpPr>
            <p:spPr bwMode="auto">
              <a:xfrm>
                <a:off x="6966" y="1364"/>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5" name="Freeform 1513"/>
              <p:cNvSpPr>
                <a:spLocks/>
              </p:cNvSpPr>
              <p:nvPr/>
            </p:nvSpPr>
            <p:spPr bwMode="auto">
              <a:xfrm>
                <a:off x="710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6" name="Freeform 1514"/>
              <p:cNvSpPr>
                <a:spLocks/>
              </p:cNvSpPr>
              <p:nvPr/>
            </p:nvSpPr>
            <p:spPr bwMode="auto">
              <a:xfrm>
                <a:off x="710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7" name="Freeform 1515"/>
              <p:cNvSpPr>
                <a:spLocks/>
              </p:cNvSpPr>
              <p:nvPr/>
            </p:nvSpPr>
            <p:spPr bwMode="auto">
              <a:xfrm>
                <a:off x="716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8" name="Freeform 1516"/>
              <p:cNvSpPr>
                <a:spLocks/>
              </p:cNvSpPr>
              <p:nvPr/>
            </p:nvSpPr>
            <p:spPr bwMode="auto">
              <a:xfrm>
                <a:off x="716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9" name="Freeform 1517"/>
              <p:cNvSpPr>
                <a:spLocks noEditPoints="1"/>
              </p:cNvSpPr>
              <p:nvPr/>
            </p:nvSpPr>
            <p:spPr bwMode="auto">
              <a:xfrm>
                <a:off x="7400" y="1364"/>
                <a:ext cx="100" cy="148"/>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0" name="Freeform 1518"/>
              <p:cNvSpPr>
                <a:spLocks/>
              </p:cNvSpPr>
              <p:nvPr/>
            </p:nvSpPr>
            <p:spPr bwMode="auto">
              <a:xfrm>
                <a:off x="7532"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1" name="Freeform 1519"/>
              <p:cNvSpPr>
                <a:spLocks noEditPoints="1"/>
              </p:cNvSpPr>
              <p:nvPr/>
            </p:nvSpPr>
            <p:spPr bwMode="auto">
              <a:xfrm>
                <a:off x="3932" y="1160"/>
                <a:ext cx="188" cy="144"/>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2" name="Freeform 1520"/>
              <p:cNvSpPr>
                <a:spLocks/>
              </p:cNvSpPr>
              <p:nvPr/>
            </p:nvSpPr>
            <p:spPr bwMode="auto">
              <a:xfrm>
                <a:off x="4036" y="1264"/>
                <a:ext cx="16" cy="26"/>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3" name="Freeform 1521"/>
              <p:cNvSpPr>
                <a:spLocks/>
              </p:cNvSpPr>
              <p:nvPr/>
            </p:nvSpPr>
            <p:spPr bwMode="auto">
              <a:xfrm>
                <a:off x="3938" y="1260"/>
                <a:ext cx="18" cy="22"/>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4" name="Freeform 1522"/>
              <p:cNvSpPr>
                <a:spLocks/>
              </p:cNvSpPr>
              <p:nvPr/>
            </p:nvSpPr>
            <p:spPr bwMode="auto">
              <a:xfrm>
                <a:off x="3934" y="120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5" name="Freeform 1523"/>
              <p:cNvSpPr>
                <a:spLocks/>
              </p:cNvSpPr>
              <p:nvPr/>
            </p:nvSpPr>
            <p:spPr bwMode="auto">
              <a:xfrm>
                <a:off x="3946" y="1164"/>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6" name="Freeform 1524"/>
              <p:cNvSpPr>
                <a:spLocks/>
              </p:cNvSpPr>
              <p:nvPr/>
            </p:nvSpPr>
            <p:spPr bwMode="auto">
              <a:xfrm>
                <a:off x="3932" y="1160"/>
                <a:ext cx="188" cy="144"/>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7" name="Freeform 1525"/>
              <p:cNvSpPr>
                <a:spLocks/>
              </p:cNvSpPr>
              <p:nvPr/>
            </p:nvSpPr>
            <p:spPr bwMode="auto">
              <a:xfrm>
                <a:off x="3938"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8" name="Freeform 1526"/>
              <p:cNvSpPr>
                <a:spLocks/>
              </p:cNvSpPr>
              <p:nvPr/>
            </p:nvSpPr>
            <p:spPr bwMode="auto">
              <a:xfrm>
                <a:off x="3938"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9" name="Freeform 1527"/>
              <p:cNvSpPr>
                <a:spLocks/>
              </p:cNvSpPr>
              <p:nvPr/>
            </p:nvSpPr>
            <p:spPr bwMode="auto">
              <a:xfrm>
                <a:off x="3938" y="1260"/>
                <a:ext cx="12" cy="22"/>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0" name="Freeform 1528"/>
              <p:cNvSpPr>
                <a:spLocks/>
              </p:cNvSpPr>
              <p:nvPr/>
            </p:nvSpPr>
            <p:spPr bwMode="auto">
              <a:xfrm>
                <a:off x="3938" y="1260"/>
                <a:ext cx="12" cy="22"/>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1" name="Freeform 1529"/>
              <p:cNvSpPr>
                <a:spLocks/>
              </p:cNvSpPr>
              <p:nvPr/>
            </p:nvSpPr>
            <p:spPr bwMode="auto">
              <a:xfrm>
                <a:off x="4036"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2" name="Freeform 1530"/>
              <p:cNvSpPr>
                <a:spLocks/>
              </p:cNvSpPr>
              <p:nvPr/>
            </p:nvSpPr>
            <p:spPr bwMode="auto">
              <a:xfrm>
                <a:off x="4036"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3" name="Freeform 1531"/>
              <p:cNvSpPr>
                <a:spLocks noEditPoints="1"/>
              </p:cNvSpPr>
              <p:nvPr/>
            </p:nvSpPr>
            <p:spPr bwMode="auto">
              <a:xfrm>
                <a:off x="4036" y="1264"/>
                <a:ext cx="16" cy="26"/>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4" name="Freeform 1532"/>
              <p:cNvSpPr>
                <a:spLocks/>
              </p:cNvSpPr>
              <p:nvPr/>
            </p:nvSpPr>
            <p:spPr bwMode="auto">
              <a:xfrm>
                <a:off x="4036"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5" name="Freeform 1533"/>
              <p:cNvSpPr>
                <a:spLocks/>
              </p:cNvSpPr>
              <p:nvPr/>
            </p:nvSpPr>
            <p:spPr bwMode="auto">
              <a:xfrm>
                <a:off x="4050" y="1264"/>
                <a:ext cx="2" cy="26"/>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6" name="Freeform 1534"/>
              <p:cNvSpPr>
                <a:spLocks/>
              </p:cNvSpPr>
              <p:nvPr/>
            </p:nvSpPr>
            <p:spPr bwMode="auto">
              <a:xfrm>
                <a:off x="3934"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7" name="Freeform 1535"/>
              <p:cNvSpPr>
                <a:spLocks/>
              </p:cNvSpPr>
              <p:nvPr/>
            </p:nvSpPr>
            <p:spPr bwMode="auto">
              <a:xfrm>
                <a:off x="3934"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8" name="Freeform 1536"/>
              <p:cNvSpPr>
                <a:spLocks noEditPoints="1"/>
              </p:cNvSpPr>
              <p:nvPr/>
            </p:nvSpPr>
            <p:spPr bwMode="auto">
              <a:xfrm>
                <a:off x="3934" y="1208"/>
                <a:ext cx="12" cy="18"/>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9" name="Freeform 1537"/>
              <p:cNvSpPr>
                <a:spLocks/>
              </p:cNvSpPr>
              <p:nvPr/>
            </p:nvSpPr>
            <p:spPr bwMode="auto">
              <a:xfrm>
                <a:off x="3938" y="1220"/>
                <a:ext cx="8" cy="6"/>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0" name="Freeform 1538"/>
              <p:cNvSpPr>
                <a:spLocks/>
              </p:cNvSpPr>
              <p:nvPr/>
            </p:nvSpPr>
            <p:spPr bwMode="auto">
              <a:xfrm>
                <a:off x="3934" y="1208"/>
                <a:ext cx="8" cy="6"/>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1" name="Freeform 1539"/>
              <p:cNvSpPr>
                <a:spLocks noEditPoints="1"/>
              </p:cNvSpPr>
              <p:nvPr/>
            </p:nvSpPr>
            <p:spPr bwMode="auto">
              <a:xfrm>
                <a:off x="4048" y="1198"/>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2" name="Freeform 1540"/>
              <p:cNvSpPr>
                <a:spLocks/>
              </p:cNvSpPr>
              <p:nvPr/>
            </p:nvSpPr>
            <p:spPr bwMode="auto">
              <a:xfrm>
                <a:off x="4054" y="1204"/>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3" name="Freeform 1541"/>
              <p:cNvSpPr>
                <a:spLocks/>
              </p:cNvSpPr>
              <p:nvPr/>
            </p:nvSpPr>
            <p:spPr bwMode="auto">
              <a:xfrm>
                <a:off x="4048" y="1198"/>
                <a:ext cx="20" cy="14"/>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4" name="Freeform 1542"/>
              <p:cNvSpPr>
                <a:spLocks/>
              </p:cNvSpPr>
              <p:nvPr/>
            </p:nvSpPr>
            <p:spPr bwMode="auto">
              <a:xfrm>
                <a:off x="4002"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5" name="Freeform 1543"/>
              <p:cNvSpPr>
                <a:spLocks/>
              </p:cNvSpPr>
              <p:nvPr/>
            </p:nvSpPr>
            <p:spPr bwMode="auto">
              <a:xfrm>
                <a:off x="4002"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6" name="Freeform 1544"/>
              <p:cNvSpPr>
                <a:spLocks/>
              </p:cNvSpPr>
              <p:nvPr/>
            </p:nvSpPr>
            <p:spPr bwMode="auto">
              <a:xfrm>
                <a:off x="4098" y="1192"/>
                <a:ext cx="12" cy="8"/>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7" name="Freeform 1545"/>
              <p:cNvSpPr>
                <a:spLocks/>
              </p:cNvSpPr>
              <p:nvPr/>
            </p:nvSpPr>
            <p:spPr bwMode="auto">
              <a:xfrm>
                <a:off x="4098" y="1192"/>
                <a:ext cx="12" cy="8"/>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8" name="Freeform 1546"/>
              <p:cNvSpPr>
                <a:spLocks/>
              </p:cNvSpPr>
              <p:nvPr/>
            </p:nvSpPr>
            <p:spPr bwMode="auto">
              <a:xfrm>
                <a:off x="4042"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9" name="Freeform 1547"/>
              <p:cNvSpPr>
                <a:spLocks/>
              </p:cNvSpPr>
              <p:nvPr/>
            </p:nvSpPr>
            <p:spPr bwMode="auto">
              <a:xfrm>
                <a:off x="4042"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0" name="Freeform 1548"/>
              <p:cNvSpPr>
                <a:spLocks/>
              </p:cNvSpPr>
              <p:nvPr/>
            </p:nvSpPr>
            <p:spPr bwMode="auto">
              <a:xfrm>
                <a:off x="4058"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1" name="Freeform 1549"/>
              <p:cNvSpPr>
                <a:spLocks/>
              </p:cNvSpPr>
              <p:nvPr/>
            </p:nvSpPr>
            <p:spPr bwMode="auto">
              <a:xfrm>
                <a:off x="4058"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2" name="Freeform 1550"/>
              <p:cNvSpPr>
                <a:spLocks/>
              </p:cNvSpPr>
              <p:nvPr/>
            </p:nvSpPr>
            <p:spPr bwMode="auto">
              <a:xfrm>
                <a:off x="4054" y="1204"/>
                <a:ext cx="6" cy="6"/>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3" name="Freeform 1551"/>
              <p:cNvSpPr>
                <a:spLocks/>
              </p:cNvSpPr>
              <p:nvPr/>
            </p:nvSpPr>
            <p:spPr bwMode="auto">
              <a:xfrm>
                <a:off x="4054" y="1204"/>
                <a:ext cx="6" cy="6"/>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4" name="Freeform 1552"/>
              <p:cNvSpPr>
                <a:spLocks/>
              </p:cNvSpPr>
              <p:nvPr/>
            </p:nvSpPr>
            <p:spPr bwMode="auto">
              <a:xfrm>
                <a:off x="4054"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5" name="Freeform 1553"/>
              <p:cNvSpPr>
                <a:spLocks/>
              </p:cNvSpPr>
              <p:nvPr/>
            </p:nvSpPr>
            <p:spPr bwMode="auto">
              <a:xfrm>
                <a:off x="4054"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6" name="Freeform 1554"/>
              <p:cNvSpPr>
                <a:spLocks noEditPoints="1"/>
              </p:cNvSpPr>
              <p:nvPr/>
            </p:nvSpPr>
            <p:spPr bwMode="auto">
              <a:xfrm>
                <a:off x="7252" y="1370"/>
                <a:ext cx="108" cy="142"/>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7" name="Freeform 1555"/>
              <p:cNvSpPr>
                <a:spLocks/>
              </p:cNvSpPr>
              <p:nvPr/>
            </p:nvSpPr>
            <p:spPr bwMode="auto">
              <a:xfrm>
                <a:off x="7296" y="1430"/>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8" name="Freeform 1556"/>
              <p:cNvSpPr>
                <a:spLocks/>
              </p:cNvSpPr>
              <p:nvPr/>
            </p:nvSpPr>
            <p:spPr bwMode="auto">
              <a:xfrm>
                <a:off x="7252" y="1370"/>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9" name="Freeform 1557"/>
              <p:cNvSpPr>
                <a:spLocks noEditPoints="1"/>
              </p:cNvSpPr>
              <p:nvPr/>
            </p:nvSpPr>
            <p:spPr bwMode="auto">
              <a:xfrm>
                <a:off x="4960" y="1366"/>
                <a:ext cx="188" cy="146"/>
              </a:xfrm>
              <a:custGeom>
                <a:avLst/>
                <a:gdLst>
                  <a:gd name="T0" fmla="*/ 122 w 188"/>
                  <a:gd name="T1" fmla="*/ 126 h 146"/>
                  <a:gd name="T2" fmla="*/ 112 w 188"/>
                  <a:gd name="T3" fmla="*/ 130 h 146"/>
                  <a:gd name="T4" fmla="*/ 104 w 188"/>
                  <a:gd name="T5" fmla="*/ 130 h 146"/>
                  <a:gd name="T6" fmla="*/ 14 w 188"/>
                  <a:gd name="T7" fmla="*/ 120 h 146"/>
                  <a:gd name="T8" fmla="*/ 14 w 188"/>
                  <a:gd name="T9" fmla="*/ 100 h 146"/>
                  <a:gd name="T10" fmla="*/ 22 w 188"/>
                  <a:gd name="T11" fmla="*/ 122 h 146"/>
                  <a:gd name="T12" fmla="*/ 10 w 188"/>
                  <a:gd name="T13" fmla="*/ 48 h 146"/>
                  <a:gd name="T14" fmla="*/ 10 w 188"/>
                  <a:gd name="T15" fmla="*/ 66 h 146"/>
                  <a:gd name="T16" fmla="*/ 10 w 188"/>
                  <a:gd name="T17" fmla="*/ 68 h 146"/>
                  <a:gd name="T18" fmla="*/ 2 w 188"/>
                  <a:gd name="T19" fmla="*/ 58 h 146"/>
                  <a:gd name="T20" fmla="*/ 8 w 188"/>
                  <a:gd name="T21" fmla="*/ 48 h 146"/>
                  <a:gd name="T22" fmla="*/ 116 w 188"/>
                  <a:gd name="T23" fmla="*/ 2 h 146"/>
                  <a:gd name="T24" fmla="*/ 146 w 188"/>
                  <a:gd name="T25" fmla="*/ 20 h 146"/>
                  <a:gd name="T26" fmla="*/ 154 w 188"/>
                  <a:gd name="T27" fmla="*/ 40 h 146"/>
                  <a:gd name="T28" fmla="*/ 146 w 188"/>
                  <a:gd name="T29" fmla="*/ 52 h 146"/>
                  <a:gd name="T30" fmla="*/ 152 w 188"/>
                  <a:gd name="T31" fmla="*/ 54 h 146"/>
                  <a:gd name="T32" fmla="*/ 160 w 188"/>
                  <a:gd name="T33" fmla="*/ 60 h 146"/>
                  <a:gd name="T34" fmla="*/ 170 w 188"/>
                  <a:gd name="T35" fmla="*/ 34 h 146"/>
                  <a:gd name="T36" fmla="*/ 184 w 188"/>
                  <a:gd name="T37" fmla="*/ 40 h 146"/>
                  <a:gd name="T38" fmla="*/ 160 w 188"/>
                  <a:gd name="T39" fmla="*/ 88 h 146"/>
                  <a:gd name="T40" fmla="*/ 130 w 188"/>
                  <a:gd name="T41" fmla="*/ 94 h 146"/>
                  <a:gd name="T42" fmla="*/ 142 w 188"/>
                  <a:gd name="T43" fmla="*/ 94 h 146"/>
                  <a:gd name="T44" fmla="*/ 138 w 188"/>
                  <a:gd name="T45" fmla="*/ 100 h 146"/>
                  <a:gd name="T46" fmla="*/ 108 w 188"/>
                  <a:gd name="T47" fmla="*/ 86 h 146"/>
                  <a:gd name="T48" fmla="*/ 100 w 188"/>
                  <a:gd name="T49" fmla="*/ 128 h 146"/>
                  <a:gd name="T50" fmla="*/ 80 w 188"/>
                  <a:gd name="T51" fmla="*/ 142 h 146"/>
                  <a:gd name="T52" fmla="*/ 80 w 188"/>
                  <a:gd name="T53" fmla="*/ 118 h 146"/>
                  <a:gd name="T54" fmla="*/ 66 w 188"/>
                  <a:gd name="T55" fmla="*/ 116 h 146"/>
                  <a:gd name="T56" fmla="*/ 54 w 188"/>
                  <a:gd name="T57" fmla="*/ 112 h 146"/>
                  <a:gd name="T58" fmla="*/ 48 w 188"/>
                  <a:gd name="T59" fmla="*/ 132 h 146"/>
                  <a:gd name="T60" fmla="*/ 26 w 188"/>
                  <a:gd name="T61" fmla="*/ 134 h 146"/>
                  <a:gd name="T62" fmla="*/ 26 w 188"/>
                  <a:gd name="T63" fmla="*/ 114 h 146"/>
                  <a:gd name="T64" fmla="*/ 24 w 188"/>
                  <a:gd name="T65" fmla="*/ 52 h 146"/>
                  <a:gd name="T66" fmla="*/ 48 w 188"/>
                  <a:gd name="T67" fmla="*/ 50 h 146"/>
                  <a:gd name="T68" fmla="*/ 46 w 188"/>
                  <a:gd name="T69" fmla="*/ 74 h 146"/>
                  <a:gd name="T70" fmla="*/ 60 w 188"/>
                  <a:gd name="T71" fmla="*/ 98 h 146"/>
                  <a:gd name="T72" fmla="*/ 92 w 188"/>
                  <a:gd name="T73" fmla="*/ 88 h 146"/>
                  <a:gd name="T74" fmla="*/ 94 w 188"/>
                  <a:gd name="T75" fmla="*/ 42 h 146"/>
                  <a:gd name="T76" fmla="*/ 80 w 188"/>
                  <a:gd name="T77" fmla="*/ 88 h 146"/>
                  <a:gd name="T78" fmla="*/ 52 w 188"/>
                  <a:gd name="T79" fmla="*/ 86 h 146"/>
                  <a:gd name="T80" fmla="*/ 54 w 188"/>
                  <a:gd name="T81" fmla="*/ 76 h 146"/>
                  <a:gd name="T82" fmla="*/ 74 w 188"/>
                  <a:gd name="T83" fmla="*/ 26 h 146"/>
                  <a:gd name="T84" fmla="*/ 84 w 188"/>
                  <a:gd name="T85" fmla="*/ 20 h 146"/>
                  <a:gd name="T86" fmla="*/ 80 w 188"/>
                  <a:gd name="T87" fmla="*/ 18 h 146"/>
                  <a:gd name="T88" fmla="*/ 54 w 188"/>
                  <a:gd name="T89" fmla="*/ 30 h 146"/>
                  <a:gd name="T90" fmla="*/ 8 w 188"/>
                  <a:gd name="T91" fmla="*/ 62 h 146"/>
                  <a:gd name="T92" fmla="*/ 12 w 188"/>
                  <a:gd name="T93" fmla="*/ 44 h 146"/>
                  <a:gd name="T94" fmla="*/ 4 w 188"/>
                  <a:gd name="T95" fmla="*/ 68 h 146"/>
                  <a:gd name="T96" fmla="*/ 10 w 188"/>
                  <a:gd name="T97" fmla="*/ 98 h 146"/>
                  <a:gd name="T98" fmla="*/ 10 w 188"/>
                  <a:gd name="T99" fmla="*/ 120 h 146"/>
                  <a:gd name="T100" fmla="*/ 26 w 188"/>
                  <a:gd name="T101" fmla="*/ 138 h 146"/>
                  <a:gd name="T102" fmla="*/ 50 w 188"/>
                  <a:gd name="T103" fmla="*/ 142 h 146"/>
                  <a:gd name="T104" fmla="*/ 70 w 188"/>
                  <a:gd name="T105" fmla="*/ 118 h 146"/>
                  <a:gd name="T106" fmla="*/ 82 w 188"/>
                  <a:gd name="T107" fmla="*/ 146 h 146"/>
                  <a:gd name="T108" fmla="*/ 118 w 188"/>
                  <a:gd name="T109" fmla="*/ 132 h 146"/>
                  <a:gd name="T110" fmla="*/ 124 w 188"/>
                  <a:gd name="T111" fmla="*/ 114 h 146"/>
                  <a:gd name="T112" fmla="*/ 126 w 188"/>
                  <a:gd name="T113" fmla="*/ 100 h 146"/>
                  <a:gd name="T114" fmla="*/ 148 w 188"/>
                  <a:gd name="T115" fmla="*/ 92 h 146"/>
                  <a:gd name="T116" fmla="*/ 176 w 188"/>
                  <a:gd name="T117" fmla="*/ 86 h 146"/>
                  <a:gd name="T118" fmla="*/ 184 w 188"/>
                  <a:gd name="T119" fmla="*/ 28 h 146"/>
                  <a:gd name="T120" fmla="*/ 166 w 188"/>
                  <a:gd name="T121" fmla="*/ 30 h 146"/>
                  <a:gd name="T122" fmla="*/ 154 w 188"/>
                  <a:gd name="T12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2" y="126"/>
                    </a:lnTo>
                    <a:lnTo>
                      <a:pt x="122" y="126"/>
                    </a:lnTo>
                    <a:lnTo>
                      <a:pt x="120" y="130"/>
                    </a:lnTo>
                    <a:lnTo>
                      <a:pt x="120" y="130"/>
                    </a:lnTo>
                    <a:lnTo>
                      <a:pt x="114" y="130"/>
                    </a:lnTo>
                    <a:lnTo>
                      <a:pt x="114" y="130"/>
                    </a:lnTo>
                    <a:lnTo>
                      <a:pt x="114" y="130"/>
                    </a:lnTo>
                    <a:lnTo>
                      <a:pt x="114" y="130"/>
                    </a:lnTo>
                    <a:lnTo>
                      <a:pt x="112" y="130"/>
                    </a:lnTo>
                    <a:lnTo>
                      <a:pt x="112" y="130"/>
                    </a:lnTo>
                    <a:lnTo>
                      <a:pt x="106" y="130"/>
                    </a:lnTo>
                    <a:lnTo>
                      <a:pt x="106" y="130"/>
                    </a:lnTo>
                    <a:lnTo>
                      <a:pt x="104" y="130"/>
                    </a:lnTo>
                    <a:lnTo>
                      <a:pt x="104" y="130"/>
                    </a:lnTo>
                    <a:lnTo>
                      <a:pt x="104" y="130"/>
                    </a:lnTo>
                    <a:lnTo>
                      <a:pt x="104" y="130"/>
                    </a:lnTo>
                    <a:lnTo>
                      <a:pt x="104" y="130"/>
                    </a:lnTo>
                    <a:lnTo>
                      <a:pt x="104" y="130"/>
                    </a:lnTo>
                    <a:lnTo>
                      <a:pt x="116" y="108"/>
                    </a:lnTo>
                    <a:lnTo>
                      <a:pt x="116" y="108"/>
                    </a:lnTo>
                    <a:lnTo>
                      <a:pt x="118" y="104"/>
                    </a:lnTo>
                    <a:lnTo>
                      <a:pt x="118" y="104"/>
                    </a:lnTo>
                    <a:lnTo>
                      <a:pt x="118" y="104"/>
                    </a:lnTo>
                    <a:close/>
                    <a:moveTo>
                      <a:pt x="18" y="122"/>
                    </a:moveTo>
                    <a:lnTo>
                      <a:pt x="18" y="122"/>
                    </a:lnTo>
                    <a:lnTo>
                      <a:pt x="14" y="120"/>
                    </a:lnTo>
                    <a:lnTo>
                      <a:pt x="10" y="116"/>
                    </a:ln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2" y="122"/>
                    </a:lnTo>
                    <a:lnTo>
                      <a:pt x="22" y="122"/>
                    </a:lnTo>
                    <a:lnTo>
                      <a:pt x="20" y="122"/>
                    </a:lnTo>
                    <a:lnTo>
                      <a:pt x="20" y="122"/>
                    </a:lnTo>
                    <a:lnTo>
                      <a:pt x="18" y="122"/>
                    </a:lnTo>
                    <a:close/>
                    <a:moveTo>
                      <a:pt x="10" y="48"/>
                    </a:moveTo>
                    <a:lnTo>
                      <a:pt x="10" y="48"/>
                    </a:lnTo>
                    <a:lnTo>
                      <a:pt x="10" y="48"/>
                    </a:lnTo>
                    <a:lnTo>
                      <a:pt x="10" y="48"/>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6" y="64"/>
                    </a:lnTo>
                    <a:lnTo>
                      <a:pt x="16" y="64"/>
                    </a:lnTo>
                    <a:lnTo>
                      <a:pt x="14" y="68"/>
                    </a:lnTo>
                    <a:lnTo>
                      <a:pt x="10" y="68"/>
                    </a:lnTo>
                    <a:lnTo>
                      <a:pt x="10" y="68"/>
                    </a:lnTo>
                    <a:lnTo>
                      <a:pt x="8" y="68"/>
                    </a:lnTo>
                    <a:lnTo>
                      <a:pt x="8" y="68"/>
                    </a:lnTo>
                    <a:lnTo>
                      <a:pt x="8" y="68"/>
                    </a:lnTo>
                    <a:lnTo>
                      <a:pt x="8" y="68"/>
                    </a:lnTo>
                    <a:lnTo>
                      <a:pt x="6" y="66"/>
                    </a:lnTo>
                    <a:lnTo>
                      <a:pt x="4" y="62"/>
                    </a:lnTo>
                    <a:lnTo>
                      <a:pt x="2" y="58"/>
                    </a:lnTo>
                    <a:lnTo>
                      <a:pt x="2" y="54"/>
                    </a:lnTo>
                    <a:lnTo>
                      <a:pt x="2" y="54"/>
                    </a:lnTo>
                    <a:lnTo>
                      <a:pt x="8" y="48"/>
                    </a:lnTo>
                    <a:lnTo>
                      <a:pt x="8" y="48"/>
                    </a:lnTo>
                    <a:lnTo>
                      <a:pt x="8" y="48"/>
                    </a:lnTo>
                    <a:lnTo>
                      <a:pt x="8" y="48"/>
                    </a:lnTo>
                    <a:lnTo>
                      <a:pt x="8" y="48"/>
                    </a:lnTo>
                    <a:lnTo>
                      <a:pt x="8" y="48"/>
                    </a:lnTo>
                    <a:lnTo>
                      <a:pt x="10" y="48"/>
                    </a:lnTo>
                    <a:close/>
                    <a:moveTo>
                      <a:pt x="84" y="20"/>
                    </a:moveTo>
                    <a:lnTo>
                      <a:pt x="84" y="20"/>
                    </a:lnTo>
                    <a:lnTo>
                      <a:pt x="86" y="16"/>
                    </a:lnTo>
                    <a:lnTo>
                      <a:pt x="90" y="12"/>
                    </a:lnTo>
                    <a:lnTo>
                      <a:pt x="98" y="8"/>
                    </a:lnTo>
                    <a:lnTo>
                      <a:pt x="98" y="8"/>
                    </a:lnTo>
                    <a:lnTo>
                      <a:pt x="116" y="2"/>
                    </a:lnTo>
                    <a:lnTo>
                      <a:pt x="116" y="2"/>
                    </a:lnTo>
                    <a:lnTo>
                      <a:pt x="122" y="4"/>
                    </a:lnTo>
                    <a:lnTo>
                      <a:pt x="130" y="6"/>
                    </a:lnTo>
                    <a:lnTo>
                      <a:pt x="130" y="6"/>
                    </a:lnTo>
                    <a:lnTo>
                      <a:pt x="144" y="20"/>
                    </a:lnTo>
                    <a:lnTo>
                      <a:pt x="144" y="20"/>
                    </a:lnTo>
                    <a:lnTo>
                      <a:pt x="146" y="20"/>
                    </a:lnTo>
                    <a:lnTo>
                      <a:pt x="146" y="20"/>
                    </a:lnTo>
                    <a:lnTo>
                      <a:pt x="150" y="22"/>
                    </a:lnTo>
                    <a:lnTo>
                      <a:pt x="154" y="24"/>
                    </a:lnTo>
                    <a:lnTo>
                      <a:pt x="158" y="32"/>
                    </a:lnTo>
                    <a:lnTo>
                      <a:pt x="158" y="32"/>
                    </a:lnTo>
                    <a:lnTo>
                      <a:pt x="150" y="34"/>
                    </a:lnTo>
                    <a:lnTo>
                      <a:pt x="150" y="34"/>
                    </a:lnTo>
                    <a:lnTo>
                      <a:pt x="152" y="38"/>
                    </a:lnTo>
                    <a:lnTo>
                      <a:pt x="154" y="40"/>
                    </a:lnTo>
                    <a:lnTo>
                      <a:pt x="154" y="40"/>
                    </a:lnTo>
                    <a:lnTo>
                      <a:pt x="158" y="40"/>
                    </a:lnTo>
                    <a:lnTo>
                      <a:pt x="158" y="40"/>
                    </a:lnTo>
                    <a:lnTo>
                      <a:pt x="160" y="42"/>
                    </a:lnTo>
                    <a:lnTo>
                      <a:pt x="160" y="42"/>
                    </a:lnTo>
                    <a:lnTo>
                      <a:pt x="150" y="46"/>
                    </a:lnTo>
                    <a:lnTo>
                      <a:pt x="148" y="48"/>
                    </a:lnTo>
                    <a:lnTo>
                      <a:pt x="146" y="52"/>
                    </a:lnTo>
                    <a:lnTo>
                      <a:pt x="146" y="52"/>
                    </a:lnTo>
                    <a:lnTo>
                      <a:pt x="148" y="48"/>
                    </a:lnTo>
                    <a:lnTo>
                      <a:pt x="148" y="48"/>
                    </a:lnTo>
                    <a:lnTo>
                      <a:pt x="154" y="44"/>
                    </a:lnTo>
                    <a:lnTo>
                      <a:pt x="154" y="44"/>
                    </a:lnTo>
                    <a:lnTo>
                      <a:pt x="152" y="54"/>
                    </a:lnTo>
                    <a:lnTo>
                      <a:pt x="152" y="54"/>
                    </a:lnTo>
                    <a:lnTo>
                      <a:pt x="152" y="54"/>
                    </a:lnTo>
                    <a:lnTo>
                      <a:pt x="152" y="54"/>
                    </a:lnTo>
                    <a:lnTo>
                      <a:pt x="156" y="48"/>
                    </a:lnTo>
                    <a:lnTo>
                      <a:pt x="156" y="48"/>
                    </a:lnTo>
                    <a:lnTo>
                      <a:pt x="158" y="46"/>
                    </a:lnTo>
                    <a:lnTo>
                      <a:pt x="158" y="46"/>
                    </a:lnTo>
                    <a:lnTo>
                      <a:pt x="160" y="48"/>
                    </a:lnTo>
                    <a:lnTo>
                      <a:pt x="160" y="48"/>
                    </a:lnTo>
                    <a:lnTo>
                      <a:pt x="160" y="60"/>
                    </a:lnTo>
                    <a:lnTo>
                      <a:pt x="160" y="60"/>
                    </a:lnTo>
                    <a:lnTo>
                      <a:pt x="162" y="50"/>
                    </a:lnTo>
                    <a:lnTo>
                      <a:pt x="162" y="40"/>
                    </a:lnTo>
                    <a:lnTo>
                      <a:pt x="162" y="40"/>
                    </a:lnTo>
                    <a:lnTo>
                      <a:pt x="162" y="38"/>
                    </a:lnTo>
                    <a:lnTo>
                      <a:pt x="164" y="36"/>
                    </a:lnTo>
                    <a:lnTo>
                      <a:pt x="164" y="36"/>
                    </a:lnTo>
                    <a:lnTo>
                      <a:pt x="170" y="34"/>
                    </a:lnTo>
                    <a:lnTo>
                      <a:pt x="174" y="28"/>
                    </a:lnTo>
                    <a:lnTo>
                      <a:pt x="174" y="28"/>
                    </a:lnTo>
                    <a:lnTo>
                      <a:pt x="178" y="26"/>
                    </a:lnTo>
                    <a:lnTo>
                      <a:pt x="178" y="26"/>
                    </a:lnTo>
                    <a:lnTo>
                      <a:pt x="180" y="30"/>
                    </a:lnTo>
                    <a:lnTo>
                      <a:pt x="180" y="30"/>
                    </a:lnTo>
                    <a:lnTo>
                      <a:pt x="184" y="40"/>
                    </a:lnTo>
                    <a:lnTo>
                      <a:pt x="184" y="40"/>
                    </a:lnTo>
                    <a:lnTo>
                      <a:pt x="186" y="54"/>
                    </a:lnTo>
                    <a:lnTo>
                      <a:pt x="186" y="62"/>
                    </a:lnTo>
                    <a:lnTo>
                      <a:pt x="184" y="68"/>
                    </a:lnTo>
                    <a:lnTo>
                      <a:pt x="184" y="68"/>
                    </a:lnTo>
                    <a:lnTo>
                      <a:pt x="180" y="78"/>
                    </a:lnTo>
                    <a:lnTo>
                      <a:pt x="174" y="84"/>
                    </a:lnTo>
                    <a:lnTo>
                      <a:pt x="166" y="86"/>
                    </a:lnTo>
                    <a:lnTo>
                      <a:pt x="160" y="88"/>
                    </a:lnTo>
                    <a:lnTo>
                      <a:pt x="160" y="88"/>
                    </a:lnTo>
                    <a:lnTo>
                      <a:pt x="152" y="86"/>
                    </a:lnTo>
                    <a:lnTo>
                      <a:pt x="152" y="86"/>
                    </a:lnTo>
                    <a:lnTo>
                      <a:pt x="142" y="84"/>
                    </a:lnTo>
                    <a:lnTo>
                      <a:pt x="132" y="82"/>
                    </a:lnTo>
                    <a:lnTo>
                      <a:pt x="132" y="82"/>
                    </a:lnTo>
                    <a:lnTo>
                      <a:pt x="130" y="94"/>
                    </a:lnTo>
                    <a:lnTo>
                      <a:pt x="130" y="94"/>
                    </a:lnTo>
                    <a:lnTo>
                      <a:pt x="130" y="98"/>
                    </a:lnTo>
                    <a:lnTo>
                      <a:pt x="132" y="98"/>
                    </a:lnTo>
                    <a:lnTo>
                      <a:pt x="132" y="98"/>
                    </a:lnTo>
                    <a:lnTo>
                      <a:pt x="136" y="100"/>
                    </a:lnTo>
                    <a:lnTo>
                      <a:pt x="136" y="100"/>
                    </a:lnTo>
                    <a:lnTo>
                      <a:pt x="138" y="98"/>
                    </a:lnTo>
                    <a:lnTo>
                      <a:pt x="138" y="98"/>
                    </a:lnTo>
                    <a:lnTo>
                      <a:pt x="142" y="94"/>
                    </a:lnTo>
                    <a:lnTo>
                      <a:pt x="144" y="90"/>
                    </a:lnTo>
                    <a:lnTo>
                      <a:pt x="144" y="90"/>
                    </a:lnTo>
                    <a:lnTo>
                      <a:pt x="146" y="90"/>
                    </a:lnTo>
                    <a:lnTo>
                      <a:pt x="146" y="90"/>
                    </a:lnTo>
                    <a:lnTo>
                      <a:pt x="146" y="94"/>
                    </a:lnTo>
                    <a:lnTo>
                      <a:pt x="144" y="96"/>
                    </a:lnTo>
                    <a:lnTo>
                      <a:pt x="140" y="100"/>
                    </a:lnTo>
                    <a:lnTo>
                      <a:pt x="138" y="100"/>
                    </a:lnTo>
                    <a:lnTo>
                      <a:pt x="138" y="100"/>
                    </a:lnTo>
                    <a:lnTo>
                      <a:pt x="134" y="102"/>
                    </a:lnTo>
                    <a:lnTo>
                      <a:pt x="134" y="102"/>
                    </a:lnTo>
                    <a:lnTo>
                      <a:pt x="130" y="100"/>
                    </a:lnTo>
                    <a:lnTo>
                      <a:pt x="126" y="98"/>
                    </a:lnTo>
                    <a:lnTo>
                      <a:pt x="126" y="98"/>
                    </a:lnTo>
                    <a:lnTo>
                      <a:pt x="118" y="92"/>
                    </a:lnTo>
                    <a:lnTo>
                      <a:pt x="108" y="86"/>
                    </a:lnTo>
                    <a:lnTo>
                      <a:pt x="108" y="86"/>
                    </a:lnTo>
                    <a:lnTo>
                      <a:pt x="114" y="92"/>
                    </a:lnTo>
                    <a:lnTo>
                      <a:pt x="114" y="92"/>
                    </a:lnTo>
                    <a:lnTo>
                      <a:pt x="116" y="96"/>
                    </a:lnTo>
                    <a:lnTo>
                      <a:pt x="116" y="96"/>
                    </a:lnTo>
                    <a:lnTo>
                      <a:pt x="110" y="112"/>
                    </a:lnTo>
                    <a:lnTo>
                      <a:pt x="106" y="120"/>
                    </a:lnTo>
                    <a:lnTo>
                      <a:pt x="100" y="128"/>
                    </a:lnTo>
                    <a:lnTo>
                      <a:pt x="100" y="128"/>
                    </a:lnTo>
                    <a:lnTo>
                      <a:pt x="90" y="136"/>
                    </a:lnTo>
                    <a:lnTo>
                      <a:pt x="90" y="136"/>
                    </a:lnTo>
                    <a:lnTo>
                      <a:pt x="88" y="138"/>
                    </a:lnTo>
                    <a:lnTo>
                      <a:pt x="88" y="138"/>
                    </a:lnTo>
                    <a:lnTo>
                      <a:pt x="84" y="142"/>
                    </a:lnTo>
                    <a:lnTo>
                      <a:pt x="80" y="142"/>
                    </a:lnTo>
                    <a:lnTo>
                      <a:pt x="80" y="142"/>
                    </a:lnTo>
                    <a:lnTo>
                      <a:pt x="78" y="140"/>
                    </a:lnTo>
                    <a:lnTo>
                      <a:pt x="78" y="140"/>
                    </a:lnTo>
                    <a:lnTo>
                      <a:pt x="70" y="128"/>
                    </a:lnTo>
                    <a:lnTo>
                      <a:pt x="70" y="128"/>
                    </a:lnTo>
                    <a:lnTo>
                      <a:pt x="68" y="124"/>
                    </a:lnTo>
                    <a:lnTo>
                      <a:pt x="72" y="122"/>
                    </a:lnTo>
                    <a:lnTo>
                      <a:pt x="72" y="122"/>
                    </a:lnTo>
                    <a:lnTo>
                      <a:pt x="80" y="118"/>
                    </a:lnTo>
                    <a:lnTo>
                      <a:pt x="80" y="118"/>
                    </a:lnTo>
                    <a:lnTo>
                      <a:pt x="80" y="108"/>
                    </a:lnTo>
                    <a:lnTo>
                      <a:pt x="80"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4" y="122"/>
                    </a:lnTo>
                    <a:lnTo>
                      <a:pt x="52" y="126"/>
                    </a:lnTo>
                    <a:lnTo>
                      <a:pt x="50" y="130"/>
                    </a:lnTo>
                    <a:lnTo>
                      <a:pt x="50" y="130"/>
                    </a:lnTo>
                    <a:lnTo>
                      <a:pt x="48" y="132"/>
                    </a:lnTo>
                    <a:lnTo>
                      <a:pt x="48" y="136"/>
                    </a:lnTo>
                    <a:lnTo>
                      <a:pt x="48" y="136"/>
                    </a:lnTo>
                    <a:lnTo>
                      <a:pt x="46" y="138"/>
                    </a:lnTo>
                    <a:lnTo>
                      <a:pt x="44" y="138"/>
                    </a:lnTo>
                    <a:lnTo>
                      <a:pt x="44" y="138"/>
                    </a:lnTo>
                    <a:lnTo>
                      <a:pt x="28" y="136"/>
                    </a:lnTo>
                    <a:lnTo>
                      <a:pt x="28" y="136"/>
                    </a:lnTo>
                    <a:lnTo>
                      <a:pt x="26" y="134"/>
                    </a:lnTo>
                    <a:lnTo>
                      <a:pt x="26" y="130"/>
                    </a:lnTo>
                    <a:lnTo>
                      <a:pt x="26" y="130"/>
                    </a:lnTo>
                    <a:lnTo>
                      <a:pt x="26" y="126"/>
                    </a:lnTo>
                    <a:lnTo>
                      <a:pt x="28" y="122"/>
                    </a:lnTo>
                    <a:lnTo>
                      <a:pt x="28" y="122"/>
                    </a:lnTo>
                    <a:lnTo>
                      <a:pt x="28" y="118"/>
                    </a:lnTo>
                    <a:lnTo>
                      <a:pt x="26" y="114"/>
                    </a:lnTo>
                    <a:lnTo>
                      <a:pt x="26" y="114"/>
                    </a:lnTo>
                    <a:lnTo>
                      <a:pt x="22" y="106"/>
                    </a:lnTo>
                    <a:lnTo>
                      <a:pt x="18" y="96"/>
                    </a:lnTo>
                    <a:lnTo>
                      <a:pt x="16" y="88"/>
                    </a:lnTo>
                    <a:lnTo>
                      <a:pt x="16" y="78"/>
                    </a:lnTo>
                    <a:lnTo>
                      <a:pt x="16" y="78"/>
                    </a:lnTo>
                    <a:lnTo>
                      <a:pt x="16" y="68"/>
                    </a:lnTo>
                    <a:lnTo>
                      <a:pt x="20" y="60"/>
                    </a:lnTo>
                    <a:lnTo>
                      <a:pt x="24" y="52"/>
                    </a:lnTo>
                    <a:lnTo>
                      <a:pt x="30" y="46"/>
                    </a:lnTo>
                    <a:lnTo>
                      <a:pt x="30" y="46"/>
                    </a:lnTo>
                    <a:lnTo>
                      <a:pt x="42" y="38"/>
                    </a:lnTo>
                    <a:lnTo>
                      <a:pt x="56" y="34"/>
                    </a:lnTo>
                    <a:lnTo>
                      <a:pt x="56"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0"/>
                    </a:lnTo>
                    <a:lnTo>
                      <a:pt x="92" y="88"/>
                    </a:lnTo>
                    <a:lnTo>
                      <a:pt x="92" y="88"/>
                    </a:lnTo>
                    <a:lnTo>
                      <a:pt x="96" y="84"/>
                    </a:lnTo>
                    <a:lnTo>
                      <a:pt x="96" y="84"/>
                    </a:lnTo>
                    <a:lnTo>
                      <a:pt x="98" y="78"/>
                    </a:lnTo>
                    <a:lnTo>
                      <a:pt x="98" y="72"/>
                    </a:lnTo>
                    <a:lnTo>
                      <a:pt x="96" y="58"/>
                    </a:lnTo>
                    <a:lnTo>
                      <a:pt x="96" y="58"/>
                    </a:lnTo>
                    <a:lnTo>
                      <a:pt x="94" y="42"/>
                    </a:lnTo>
                    <a:lnTo>
                      <a:pt x="94" y="42"/>
                    </a:lnTo>
                    <a:lnTo>
                      <a:pt x="94" y="60"/>
                    </a:lnTo>
                    <a:lnTo>
                      <a:pt x="94" y="60"/>
                    </a:lnTo>
                    <a:lnTo>
                      <a:pt x="94" y="80"/>
                    </a:lnTo>
                    <a:lnTo>
                      <a:pt x="94" y="80"/>
                    </a:lnTo>
                    <a:lnTo>
                      <a:pt x="92" y="84"/>
                    </a:lnTo>
                    <a:lnTo>
                      <a:pt x="88" y="86"/>
                    </a:lnTo>
                    <a:lnTo>
                      <a:pt x="88" y="86"/>
                    </a:lnTo>
                    <a:lnTo>
                      <a:pt x="80" y="88"/>
                    </a:lnTo>
                    <a:lnTo>
                      <a:pt x="72" y="92"/>
                    </a:lnTo>
                    <a:lnTo>
                      <a:pt x="72" y="92"/>
                    </a:lnTo>
                    <a:lnTo>
                      <a:pt x="64" y="94"/>
                    </a:lnTo>
                    <a:lnTo>
                      <a:pt x="64" y="94"/>
                    </a:lnTo>
                    <a:lnTo>
                      <a:pt x="58" y="94"/>
                    </a:lnTo>
                    <a:lnTo>
                      <a:pt x="54" y="90"/>
                    </a:lnTo>
                    <a:lnTo>
                      <a:pt x="54" y="90"/>
                    </a:lnTo>
                    <a:lnTo>
                      <a:pt x="52" y="86"/>
                    </a:lnTo>
                    <a:lnTo>
                      <a:pt x="54" y="84"/>
                    </a:lnTo>
                    <a:lnTo>
                      <a:pt x="54" y="84"/>
                    </a:lnTo>
                    <a:lnTo>
                      <a:pt x="56" y="76"/>
                    </a:lnTo>
                    <a:lnTo>
                      <a:pt x="56" y="76"/>
                    </a:lnTo>
                    <a:lnTo>
                      <a:pt x="60" y="68"/>
                    </a:lnTo>
                    <a:lnTo>
                      <a:pt x="60" y="68"/>
                    </a:lnTo>
                    <a:lnTo>
                      <a:pt x="54" y="76"/>
                    </a:lnTo>
                    <a:lnTo>
                      <a:pt x="54" y="76"/>
                    </a:lnTo>
                    <a:lnTo>
                      <a:pt x="46" y="66"/>
                    </a:lnTo>
                    <a:lnTo>
                      <a:pt x="46" y="66"/>
                    </a:lnTo>
                    <a:lnTo>
                      <a:pt x="44" y="62"/>
                    </a:lnTo>
                    <a:lnTo>
                      <a:pt x="44" y="62"/>
                    </a:lnTo>
                    <a:lnTo>
                      <a:pt x="48" y="56"/>
                    </a:lnTo>
                    <a:lnTo>
                      <a:pt x="52" y="48"/>
                    </a:lnTo>
                    <a:lnTo>
                      <a:pt x="52" y="48"/>
                    </a:lnTo>
                    <a:lnTo>
                      <a:pt x="74" y="26"/>
                    </a:lnTo>
                    <a:lnTo>
                      <a:pt x="74" y="26"/>
                    </a:lnTo>
                    <a:lnTo>
                      <a:pt x="76" y="22"/>
                    </a:lnTo>
                    <a:lnTo>
                      <a:pt x="80" y="22"/>
                    </a:lnTo>
                    <a:lnTo>
                      <a:pt x="88" y="20"/>
                    </a:lnTo>
                    <a:lnTo>
                      <a:pt x="88" y="20"/>
                    </a:lnTo>
                    <a:lnTo>
                      <a:pt x="90" y="20"/>
                    </a:lnTo>
                    <a:lnTo>
                      <a:pt x="90" y="20"/>
                    </a:lnTo>
                    <a:lnTo>
                      <a:pt x="84" y="20"/>
                    </a:lnTo>
                    <a:close/>
                    <a:moveTo>
                      <a:pt x="114" y="0"/>
                    </a:moveTo>
                    <a:lnTo>
                      <a:pt x="114" y="0"/>
                    </a:lnTo>
                    <a:lnTo>
                      <a:pt x="106" y="0"/>
                    </a:lnTo>
                    <a:lnTo>
                      <a:pt x="98" y="2"/>
                    </a:lnTo>
                    <a:lnTo>
                      <a:pt x="92" y="6"/>
                    </a:lnTo>
                    <a:lnTo>
                      <a:pt x="86" y="12"/>
                    </a:lnTo>
                    <a:lnTo>
                      <a:pt x="86" y="12"/>
                    </a:lnTo>
                    <a:lnTo>
                      <a:pt x="80" y="18"/>
                    </a:lnTo>
                    <a:lnTo>
                      <a:pt x="76" y="20"/>
                    </a:lnTo>
                    <a:lnTo>
                      <a:pt x="74" y="20"/>
                    </a:lnTo>
                    <a:lnTo>
                      <a:pt x="74" y="20"/>
                    </a:lnTo>
                    <a:lnTo>
                      <a:pt x="70" y="22"/>
                    </a:lnTo>
                    <a:lnTo>
                      <a:pt x="70" y="22"/>
                    </a:lnTo>
                    <a:lnTo>
                      <a:pt x="62" y="28"/>
                    </a:lnTo>
                    <a:lnTo>
                      <a:pt x="54" y="30"/>
                    </a:lnTo>
                    <a:lnTo>
                      <a:pt x="54" y="30"/>
                    </a:lnTo>
                    <a:lnTo>
                      <a:pt x="42" y="34"/>
                    </a:lnTo>
                    <a:lnTo>
                      <a:pt x="34" y="40"/>
                    </a:lnTo>
                    <a:lnTo>
                      <a:pt x="26" y="46"/>
                    </a:lnTo>
                    <a:lnTo>
                      <a:pt x="18" y="54"/>
                    </a:lnTo>
                    <a:lnTo>
                      <a:pt x="18" y="54"/>
                    </a:lnTo>
                    <a:lnTo>
                      <a:pt x="12" y="62"/>
                    </a:lnTo>
                    <a:lnTo>
                      <a:pt x="12" y="62"/>
                    </a:lnTo>
                    <a:lnTo>
                      <a:pt x="8" y="62"/>
                    </a:lnTo>
                    <a:lnTo>
                      <a:pt x="8" y="62"/>
                    </a:lnTo>
                    <a:lnTo>
                      <a:pt x="12" y="54"/>
                    </a:lnTo>
                    <a:lnTo>
                      <a:pt x="12" y="54"/>
                    </a:lnTo>
                    <a:lnTo>
                      <a:pt x="14" y="54"/>
                    </a:lnTo>
                    <a:lnTo>
                      <a:pt x="14" y="54"/>
                    </a:lnTo>
                    <a:lnTo>
                      <a:pt x="14" y="48"/>
                    </a:lnTo>
                    <a:lnTo>
                      <a:pt x="14" y="48"/>
                    </a:lnTo>
                    <a:lnTo>
                      <a:pt x="12" y="44"/>
                    </a:lnTo>
                    <a:lnTo>
                      <a:pt x="12" y="44"/>
                    </a:lnTo>
                    <a:lnTo>
                      <a:pt x="4" y="48"/>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8"/>
                    </a:lnTo>
                    <a:lnTo>
                      <a:pt x="22" y="128"/>
                    </a:lnTo>
                    <a:lnTo>
                      <a:pt x="22" y="130"/>
                    </a:lnTo>
                    <a:lnTo>
                      <a:pt x="22" y="130"/>
                    </a:lnTo>
                    <a:lnTo>
                      <a:pt x="22" y="136"/>
                    </a:lnTo>
                    <a:lnTo>
                      <a:pt x="22" y="138"/>
                    </a:lnTo>
                    <a:lnTo>
                      <a:pt x="26" y="138"/>
                    </a:lnTo>
                    <a:lnTo>
                      <a:pt x="26" y="138"/>
                    </a:lnTo>
                    <a:lnTo>
                      <a:pt x="34" y="142"/>
                    </a:lnTo>
                    <a:lnTo>
                      <a:pt x="44" y="142"/>
                    </a:lnTo>
                    <a:lnTo>
                      <a:pt x="44" y="142"/>
                    </a:lnTo>
                    <a:lnTo>
                      <a:pt x="46" y="142"/>
                    </a:lnTo>
                    <a:lnTo>
                      <a:pt x="46" y="142"/>
                    </a:lnTo>
                    <a:lnTo>
                      <a:pt x="48" y="142"/>
                    </a:lnTo>
                    <a:lnTo>
                      <a:pt x="50" y="142"/>
                    </a:lnTo>
                    <a:lnTo>
                      <a:pt x="52" y="136"/>
                    </a:lnTo>
                    <a:lnTo>
                      <a:pt x="52" y="136"/>
                    </a:lnTo>
                    <a:lnTo>
                      <a:pt x="52" y="130"/>
                    </a:lnTo>
                    <a:lnTo>
                      <a:pt x="52" y="130"/>
                    </a:lnTo>
                    <a:lnTo>
                      <a:pt x="58" y="118"/>
                    </a:lnTo>
                    <a:lnTo>
                      <a:pt x="58" y="118"/>
                    </a:lnTo>
                    <a:lnTo>
                      <a:pt x="70" y="118"/>
                    </a:lnTo>
                    <a:lnTo>
                      <a:pt x="70" y="118"/>
                    </a:lnTo>
                    <a:lnTo>
                      <a:pt x="66" y="124"/>
                    </a:lnTo>
                    <a:lnTo>
                      <a:pt x="66" y="128"/>
                    </a:lnTo>
                    <a:lnTo>
                      <a:pt x="66" y="128"/>
                    </a:lnTo>
                    <a:lnTo>
                      <a:pt x="74" y="142"/>
                    </a:lnTo>
                    <a:lnTo>
                      <a:pt x="74" y="142"/>
                    </a:lnTo>
                    <a:lnTo>
                      <a:pt x="78" y="144"/>
                    </a:lnTo>
                    <a:lnTo>
                      <a:pt x="82" y="146"/>
                    </a:lnTo>
                    <a:lnTo>
                      <a:pt x="82" y="146"/>
                    </a:lnTo>
                    <a:lnTo>
                      <a:pt x="86" y="144"/>
                    </a:lnTo>
                    <a:lnTo>
                      <a:pt x="90" y="142"/>
                    </a:lnTo>
                    <a:lnTo>
                      <a:pt x="90" y="142"/>
                    </a:lnTo>
                    <a:lnTo>
                      <a:pt x="98" y="132"/>
                    </a:lnTo>
                    <a:lnTo>
                      <a:pt x="98" y="132"/>
                    </a:lnTo>
                    <a:lnTo>
                      <a:pt x="100" y="132"/>
                    </a:lnTo>
                    <a:lnTo>
                      <a:pt x="100" y="132"/>
                    </a:lnTo>
                    <a:lnTo>
                      <a:pt x="118" y="132"/>
                    </a:lnTo>
                    <a:lnTo>
                      <a:pt x="118" y="132"/>
                    </a:lnTo>
                    <a:lnTo>
                      <a:pt x="122" y="132"/>
                    </a:lnTo>
                    <a:lnTo>
                      <a:pt x="124" y="130"/>
                    </a:lnTo>
                    <a:lnTo>
                      <a:pt x="124" y="128"/>
                    </a:lnTo>
                    <a:lnTo>
                      <a:pt x="124" y="124"/>
                    </a:lnTo>
                    <a:lnTo>
                      <a:pt x="124" y="124"/>
                    </a:lnTo>
                    <a:lnTo>
                      <a:pt x="124" y="114"/>
                    </a:lnTo>
                    <a:lnTo>
                      <a:pt x="124" y="114"/>
                    </a:lnTo>
                    <a:lnTo>
                      <a:pt x="122" y="104"/>
                    </a:lnTo>
                    <a:lnTo>
                      <a:pt x="122"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100"/>
                    </a:lnTo>
                    <a:lnTo>
                      <a:pt x="146" y="96"/>
                    </a:lnTo>
                    <a:lnTo>
                      <a:pt x="146" y="96"/>
                    </a:lnTo>
                    <a:lnTo>
                      <a:pt x="148" y="92"/>
                    </a:lnTo>
                    <a:lnTo>
                      <a:pt x="152" y="90"/>
                    </a:lnTo>
                    <a:lnTo>
                      <a:pt x="152" y="90"/>
                    </a:lnTo>
                    <a:lnTo>
                      <a:pt x="156" y="90"/>
                    </a:lnTo>
                    <a:lnTo>
                      <a:pt x="156" y="90"/>
                    </a:lnTo>
                    <a:lnTo>
                      <a:pt x="158" y="90"/>
                    </a:lnTo>
                    <a:lnTo>
                      <a:pt x="158" y="90"/>
                    </a:lnTo>
                    <a:lnTo>
                      <a:pt x="168" y="90"/>
                    </a:lnTo>
                    <a:lnTo>
                      <a:pt x="176" y="86"/>
                    </a:lnTo>
                    <a:lnTo>
                      <a:pt x="182" y="80"/>
                    </a:lnTo>
                    <a:lnTo>
                      <a:pt x="186" y="72"/>
                    </a:lnTo>
                    <a:lnTo>
                      <a:pt x="186" y="72"/>
                    </a:lnTo>
                    <a:lnTo>
                      <a:pt x="188" y="58"/>
                    </a:lnTo>
                    <a:lnTo>
                      <a:pt x="188" y="46"/>
                    </a:lnTo>
                    <a:lnTo>
                      <a:pt x="188" y="46"/>
                    </a:lnTo>
                    <a:lnTo>
                      <a:pt x="186" y="36"/>
                    </a:lnTo>
                    <a:lnTo>
                      <a:pt x="184" y="28"/>
                    </a:lnTo>
                    <a:lnTo>
                      <a:pt x="184" y="28"/>
                    </a:lnTo>
                    <a:lnTo>
                      <a:pt x="182" y="24"/>
                    </a:lnTo>
                    <a:lnTo>
                      <a:pt x="178" y="24"/>
                    </a:lnTo>
                    <a:lnTo>
                      <a:pt x="178" y="24"/>
                    </a:lnTo>
                    <a:lnTo>
                      <a:pt x="174" y="24"/>
                    </a:lnTo>
                    <a:lnTo>
                      <a:pt x="172" y="28"/>
                    </a:lnTo>
                    <a:lnTo>
                      <a:pt x="172" y="28"/>
                    </a:lnTo>
                    <a:lnTo>
                      <a:pt x="166" y="30"/>
                    </a:lnTo>
                    <a:lnTo>
                      <a:pt x="166" y="30"/>
                    </a:lnTo>
                    <a:lnTo>
                      <a:pt x="164" y="32"/>
                    </a:lnTo>
                    <a:lnTo>
                      <a:pt x="164" y="32"/>
                    </a:lnTo>
                    <a:lnTo>
                      <a:pt x="162" y="30"/>
                    </a:lnTo>
                    <a:lnTo>
                      <a:pt x="162" y="30"/>
                    </a:lnTo>
                    <a:lnTo>
                      <a:pt x="158" y="24"/>
                    </a:lnTo>
                    <a:lnTo>
                      <a:pt x="154" y="20"/>
                    </a:lnTo>
                    <a:lnTo>
                      <a:pt x="154" y="20"/>
                    </a:lnTo>
                    <a:lnTo>
                      <a:pt x="138" y="10"/>
                    </a:lnTo>
                    <a:lnTo>
                      <a:pt x="138" y="10"/>
                    </a:lnTo>
                    <a:lnTo>
                      <a:pt x="134"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0" name="Freeform 1558"/>
              <p:cNvSpPr>
                <a:spLocks/>
              </p:cNvSpPr>
              <p:nvPr/>
            </p:nvSpPr>
            <p:spPr bwMode="auto">
              <a:xfrm>
                <a:off x="5064" y="1470"/>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2 h 26"/>
                  <a:gd name="T14" fmla="*/ 18 w 18"/>
                  <a:gd name="T15" fmla="*/ 22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12 w 18"/>
                  <a:gd name="T49" fmla="*/ 4 h 26"/>
                  <a:gd name="T50" fmla="*/ 12 w 18"/>
                  <a:gd name="T51" fmla="*/ 4 h 26"/>
                  <a:gd name="T52" fmla="*/ 14 w 18"/>
                  <a:gd name="T53" fmla="*/ 0 h 26"/>
                  <a:gd name="T54" fmla="*/ 14 w 18"/>
                  <a:gd name="T55" fmla="*/ 0 h 26"/>
                  <a:gd name="T56" fmla="*/ 14 w 18"/>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6">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8" y="26"/>
                    </a:lnTo>
                    <a:lnTo>
                      <a:pt x="8" y="26"/>
                    </a:lnTo>
                    <a:lnTo>
                      <a:pt x="2" y="26"/>
                    </a:lnTo>
                    <a:lnTo>
                      <a:pt x="2" y="26"/>
                    </a:lnTo>
                    <a:lnTo>
                      <a:pt x="0" y="26"/>
                    </a:lnTo>
                    <a:lnTo>
                      <a:pt x="0" y="26"/>
                    </a:lnTo>
                    <a:lnTo>
                      <a:pt x="0" y="26"/>
                    </a:lnTo>
                    <a:lnTo>
                      <a:pt x="0" y="26"/>
                    </a:lnTo>
                    <a:lnTo>
                      <a:pt x="0" y="26"/>
                    </a:lnTo>
                    <a:lnTo>
                      <a:pt x="0" y="26"/>
                    </a:lnTo>
                    <a:lnTo>
                      <a:pt x="12" y="4"/>
                    </a:lnTo>
                    <a:lnTo>
                      <a:pt x="12"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1" name="Freeform 1559"/>
              <p:cNvSpPr>
                <a:spLocks/>
              </p:cNvSpPr>
              <p:nvPr/>
            </p:nvSpPr>
            <p:spPr bwMode="auto">
              <a:xfrm>
                <a:off x="4966" y="1466"/>
                <a:ext cx="18" cy="22"/>
              </a:xfrm>
              <a:custGeom>
                <a:avLst/>
                <a:gdLst>
                  <a:gd name="T0" fmla="*/ 12 w 18"/>
                  <a:gd name="T1" fmla="*/ 22 h 22"/>
                  <a:gd name="T2" fmla="*/ 12 w 18"/>
                  <a:gd name="T3" fmla="*/ 22 h 22"/>
                  <a:gd name="T4" fmla="*/ 8 w 18"/>
                  <a:gd name="T5" fmla="*/ 20 h 22"/>
                  <a:gd name="T6" fmla="*/ 4 w 18"/>
                  <a:gd name="T7" fmla="*/ 16 h 22"/>
                  <a:gd name="T8" fmla="*/ 2 w 18"/>
                  <a:gd name="T9" fmla="*/ 12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6 h 22"/>
                  <a:gd name="T32" fmla="*/ 18 w 18"/>
                  <a:gd name="T33" fmla="*/ 16 h 22"/>
                  <a:gd name="T34" fmla="*/ 18 w 18"/>
                  <a:gd name="T35" fmla="*/ 20 h 22"/>
                  <a:gd name="T36" fmla="*/ 16 w 18"/>
                  <a:gd name="T37" fmla="*/ 22 h 22"/>
                  <a:gd name="T38" fmla="*/ 16 w 18"/>
                  <a:gd name="T39" fmla="*/ 22 h 22"/>
                  <a:gd name="T40" fmla="*/ 14 w 18"/>
                  <a:gd name="T41" fmla="*/ 22 h 22"/>
                  <a:gd name="T42" fmla="*/ 14 w 18"/>
                  <a:gd name="T43" fmla="*/ 22 h 22"/>
                  <a:gd name="T44" fmla="*/ 12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2" y="22"/>
                    </a:moveTo>
                    <a:lnTo>
                      <a:pt x="12" y="22"/>
                    </a:lnTo>
                    <a:lnTo>
                      <a:pt x="8" y="20"/>
                    </a:lnTo>
                    <a:lnTo>
                      <a:pt x="4" y="16"/>
                    </a:ln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6" y="22"/>
                    </a:lnTo>
                    <a:lnTo>
                      <a:pt x="16" y="22"/>
                    </a:lnTo>
                    <a:lnTo>
                      <a:pt x="14" y="22"/>
                    </a:lnTo>
                    <a:lnTo>
                      <a:pt x="14" y="22"/>
                    </a:lnTo>
                    <a:lnTo>
                      <a:pt x="12"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2" name="Freeform 1560"/>
              <p:cNvSpPr>
                <a:spLocks/>
              </p:cNvSpPr>
              <p:nvPr/>
            </p:nvSpPr>
            <p:spPr bwMode="auto">
              <a:xfrm>
                <a:off x="4962" y="1414"/>
                <a:ext cx="14" cy="20"/>
              </a:xfrm>
              <a:custGeom>
                <a:avLst/>
                <a:gdLst>
                  <a:gd name="T0" fmla="*/ 8 w 14"/>
                  <a:gd name="T1" fmla="*/ 0 h 20"/>
                  <a:gd name="T2" fmla="*/ 8 w 14"/>
                  <a:gd name="T3" fmla="*/ 0 h 20"/>
                  <a:gd name="T4" fmla="*/ 8 w 14"/>
                  <a:gd name="T5" fmla="*/ 0 h 20"/>
                  <a:gd name="T6" fmla="*/ 8 w 14"/>
                  <a:gd name="T7" fmla="*/ 0 h 20"/>
                  <a:gd name="T8" fmla="*/ 4 w 14"/>
                  <a:gd name="T9" fmla="*/ 12 h 20"/>
                  <a:gd name="T10" fmla="*/ 4 w 14"/>
                  <a:gd name="T11" fmla="*/ 12 h 20"/>
                  <a:gd name="T12" fmla="*/ 6 w 14"/>
                  <a:gd name="T13" fmla="*/ 16 h 20"/>
                  <a:gd name="T14" fmla="*/ 6 w 14"/>
                  <a:gd name="T15" fmla="*/ 16 h 20"/>
                  <a:gd name="T16" fmla="*/ 6 w 14"/>
                  <a:gd name="T17" fmla="*/ 18 h 20"/>
                  <a:gd name="T18" fmla="*/ 6 w 14"/>
                  <a:gd name="T19" fmla="*/ 18 h 20"/>
                  <a:gd name="T20" fmla="*/ 8 w 14"/>
                  <a:gd name="T21" fmla="*/ 18 h 20"/>
                  <a:gd name="T22" fmla="*/ 8 w 14"/>
                  <a:gd name="T23" fmla="*/ 18 h 20"/>
                  <a:gd name="T24" fmla="*/ 12 w 14"/>
                  <a:gd name="T25" fmla="*/ 16 h 20"/>
                  <a:gd name="T26" fmla="*/ 12 w 14"/>
                  <a:gd name="T27" fmla="*/ 16 h 20"/>
                  <a:gd name="T28" fmla="*/ 12 w 14"/>
                  <a:gd name="T29" fmla="*/ 16 h 20"/>
                  <a:gd name="T30" fmla="*/ 12 w 14"/>
                  <a:gd name="T31" fmla="*/ 16 h 20"/>
                  <a:gd name="T32" fmla="*/ 14 w 14"/>
                  <a:gd name="T33" fmla="*/ 16 h 20"/>
                  <a:gd name="T34" fmla="*/ 14 w 14"/>
                  <a:gd name="T35" fmla="*/ 16 h 20"/>
                  <a:gd name="T36" fmla="*/ 12 w 14"/>
                  <a:gd name="T37" fmla="*/ 20 h 20"/>
                  <a:gd name="T38" fmla="*/ 8 w 14"/>
                  <a:gd name="T39" fmla="*/ 20 h 20"/>
                  <a:gd name="T40" fmla="*/ 8 w 14"/>
                  <a:gd name="T41" fmla="*/ 20 h 20"/>
                  <a:gd name="T42" fmla="*/ 6 w 14"/>
                  <a:gd name="T43" fmla="*/ 20 h 20"/>
                  <a:gd name="T44" fmla="*/ 6 w 14"/>
                  <a:gd name="T45" fmla="*/ 20 h 20"/>
                  <a:gd name="T46" fmla="*/ 6 w 14"/>
                  <a:gd name="T47" fmla="*/ 20 h 20"/>
                  <a:gd name="T48" fmla="*/ 6 w 14"/>
                  <a:gd name="T49" fmla="*/ 20 h 20"/>
                  <a:gd name="T50" fmla="*/ 4 w 14"/>
                  <a:gd name="T51" fmla="*/ 18 h 20"/>
                  <a:gd name="T52" fmla="*/ 2 w 14"/>
                  <a:gd name="T53" fmla="*/ 14 h 20"/>
                  <a:gd name="T54" fmla="*/ 0 w 14"/>
                  <a:gd name="T55" fmla="*/ 10 h 20"/>
                  <a:gd name="T56" fmla="*/ 0 w 14"/>
                  <a:gd name="T57" fmla="*/ 6 h 20"/>
                  <a:gd name="T58" fmla="*/ 0 w 14"/>
                  <a:gd name="T59" fmla="*/ 6 h 20"/>
                  <a:gd name="T60" fmla="*/ 6 w 14"/>
                  <a:gd name="T61" fmla="*/ 0 h 20"/>
                  <a:gd name="T62" fmla="*/ 6 w 14"/>
                  <a:gd name="T63" fmla="*/ 0 h 20"/>
                  <a:gd name="T64" fmla="*/ 6 w 14"/>
                  <a:gd name="T65" fmla="*/ 0 h 20"/>
                  <a:gd name="T66" fmla="*/ 6 w 14"/>
                  <a:gd name="T67" fmla="*/ 0 h 20"/>
                  <a:gd name="T68" fmla="*/ 6 w 14"/>
                  <a:gd name="T69" fmla="*/ 0 h 20"/>
                  <a:gd name="T70" fmla="*/ 6 w 14"/>
                  <a:gd name="T71" fmla="*/ 0 h 20"/>
                  <a:gd name="T72" fmla="*/ 8 w 14"/>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0">
                    <a:moveTo>
                      <a:pt x="8" y="0"/>
                    </a:moveTo>
                    <a:lnTo>
                      <a:pt x="8" y="0"/>
                    </a:lnTo>
                    <a:lnTo>
                      <a:pt x="8" y="0"/>
                    </a:lnTo>
                    <a:lnTo>
                      <a:pt x="8" y="0"/>
                    </a:lnTo>
                    <a:lnTo>
                      <a:pt x="4" y="12"/>
                    </a:lnTo>
                    <a:lnTo>
                      <a:pt x="4" y="12"/>
                    </a:lnTo>
                    <a:lnTo>
                      <a:pt x="6" y="16"/>
                    </a:lnTo>
                    <a:lnTo>
                      <a:pt x="6" y="16"/>
                    </a:lnTo>
                    <a:lnTo>
                      <a:pt x="6" y="18"/>
                    </a:lnTo>
                    <a:lnTo>
                      <a:pt x="6" y="18"/>
                    </a:lnTo>
                    <a:lnTo>
                      <a:pt x="8" y="18"/>
                    </a:lnTo>
                    <a:lnTo>
                      <a:pt x="8" y="18"/>
                    </a:lnTo>
                    <a:lnTo>
                      <a:pt x="12" y="16"/>
                    </a:lnTo>
                    <a:lnTo>
                      <a:pt x="12" y="16"/>
                    </a:lnTo>
                    <a:lnTo>
                      <a:pt x="12" y="16"/>
                    </a:lnTo>
                    <a:lnTo>
                      <a:pt x="12" y="16"/>
                    </a:lnTo>
                    <a:lnTo>
                      <a:pt x="14" y="16"/>
                    </a:lnTo>
                    <a:lnTo>
                      <a:pt x="14" y="16"/>
                    </a:lnTo>
                    <a:lnTo>
                      <a:pt x="12" y="20"/>
                    </a:lnTo>
                    <a:lnTo>
                      <a:pt x="8" y="20"/>
                    </a:lnTo>
                    <a:lnTo>
                      <a:pt x="8" y="20"/>
                    </a:lnTo>
                    <a:lnTo>
                      <a:pt x="6" y="20"/>
                    </a:lnTo>
                    <a:lnTo>
                      <a:pt x="6" y="20"/>
                    </a:lnTo>
                    <a:lnTo>
                      <a:pt x="6" y="20"/>
                    </a:lnTo>
                    <a:lnTo>
                      <a:pt x="6" y="20"/>
                    </a:lnTo>
                    <a:lnTo>
                      <a:pt x="4" y="18"/>
                    </a:lnTo>
                    <a:lnTo>
                      <a:pt x="2" y="14"/>
                    </a:lnTo>
                    <a:lnTo>
                      <a:pt x="0" y="10"/>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3" name="Freeform 1561"/>
              <p:cNvSpPr>
                <a:spLocks/>
              </p:cNvSpPr>
              <p:nvPr/>
            </p:nvSpPr>
            <p:spPr bwMode="auto">
              <a:xfrm>
                <a:off x="4976" y="1368"/>
                <a:ext cx="170" cy="140"/>
              </a:xfrm>
              <a:custGeom>
                <a:avLst/>
                <a:gdLst>
                  <a:gd name="T0" fmla="*/ 74 w 170"/>
                  <a:gd name="T1" fmla="*/ 10 h 140"/>
                  <a:gd name="T2" fmla="*/ 100 w 170"/>
                  <a:gd name="T3" fmla="*/ 0 h 140"/>
                  <a:gd name="T4" fmla="*/ 128 w 170"/>
                  <a:gd name="T5" fmla="*/ 18 h 140"/>
                  <a:gd name="T6" fmla="*/ 134 w 170"/>
                  <a:gd name="T7" fmla="*/ 20 h 140"/>
                  <a:gd name="T8" fmla="*/ 134 w 170"/>
                  <a:gd name="T9" fmla="*/ 32 h 140"/>
                  <a:gd name="T10" fmla="*/ 138 w 170"/>
                  <a:gd name="T11" fmla="*/ 38 h 140"/>
                  <a:gd name="T12" fmla="*/ 144 w 170"/>
                  <a:gd name="T13" fmla="*/ 40 h 140"/>
                  <a:gd name="T14" fmla="*/ 130 w 170"/>
                  <a:gd name="T15" fmla="*/ 50 h 140"/>
                  <a:gd name="T16" fmla="*/ 138 w 170"/>
                  <a:gd name="T17" fmla="*/ 42 h 140"/>
                  <a:gd name="T18" fmla="*/ 136 w 170"/>
                  <a:gd name="T19" fmla="*/ 52 h 140"/>
                  <a:gd name="T20" fmla="*/ 142 w 170"/>
                  <a:gd name="T21" fmla="*/ 44 h 140"/>
                  <a:gd name="T22" fmla="*/ 144 w 170"/>
                  <a:gd name="T23" fmla="*/ 58 h 140"/>
                  <a:gd name="T24" fmla="*/ 146 w 170"/>
                  <a:gd name="T25" fmla="*/ 36 h 140"/>
                  <a:gd name="T26" fmla="*/ 158 w 170"/>
                  <a:gd name="T27" fmla="*/ 26 h 140"/>
                  <a:gd name="T28" fmla="*/ 164 w 170"/>
                  <a:gd name="T29" fmla="*/ 28 h 140"/>
                  <a:gd name="T30" fmla="*/ 170 w 170"/>
                  <a:gd name="T31" fmla="*/ 52 h 140"/>
                  <a:gd name="T32" fmla="*/ 164 w 170"/>
                  <a:gd name="T33" fmla="*/ 76 h 140"/>
                  <a:gd name="T34" fmla="*/ 144 w 170"/>
                  <a:gd name="T35" fmla="*/ 86 h 140"/>
                  <a:gd name="T36" fmla="*/ 116 w 170"/>
                  <a:gd name="T37" fmla="*/ 80 h 140"/>
                  <a:gd name="T38" fmla="*/ 114 w 170"/>
                  <a:gd name="T39" fmla="*/ 96 h 140"/>
                  <a:gd name="T40" fmla="*/ 120 w 170"/>
                  <a:gd name="T41" fmla="*/ 98 h 140"/>
                  <a:gd name="T42" fmla="*/ 128 w 170"/>
                  <a:gd name="T43" fmla="*/ 88 h 140"/>
                  <a:gd name="T44" fmla="*/ 130 w 170"/>
                  <a:gd name="T45" fmla="*/ 92 h 140"/>
                  <a:gd name="T46" fmla="*/ 122 w 170"/>
                  <a:gd name="T47" fmla="*/ 98 h 140"/>
                  <a:gd name="T48" fmla="*/ 110 w 170"/>
                  <a:gd name="T49" fmla="*/ 96 h 140"/>
                  <a:gd name="T50" fmla="*/ 92 w 170"/>
                  <a:gd name="T51" fmla="*/ 84 h 140"/>
                  <a:gd name="T52" fmla="*/ 100 w 170"/>
                  <a:gd name="T53" fmla="*/ 94 h 140"/>
                  <a:gd name="T54" fmla="*/ 84 w 170"/>
                  <a:gd name="T55" fmla="*/ 126 h 140"/>
                  <a:gd name="T56" fmla="*/ 72 w 170"/>
                  <a:gd name="T57" fmla="*/ 136 h 140"/>
                  <a:gd name="T58" fmla="*/ 62 w 170"/>
                  <a:gd name="T59" fmla="*/ 138 h 140"/>
                  <a:gd name="T60" fmla="*/ 52 w 170"/>
                  <a:gd name="T61" fmla="*/ 122 h 140"/>
                  <a:gd name="T62" fmla="*/ 64 w 170"/>
                  <a:gd name="T63" fmla="*/ 116 h 140"/>
                  <a:gd name="T64" fmla="*/ 60 w 170"/>
                  <a:gd name="T65" fmla="*/ 112 h 140"/>
                  <a:gd name="T66" fmla="*/ 50 w 170"/>
                  <a:gd name="T67" fmla="*/ 114 h 140"/>
                  <a:gd name="T68" fmla="*/ 38 w 170"/>
                  <a:gd name="T69" fmla="*/ 112 h 140"/>
                  <a:gd name="T70" fmla="*/ 38 w 170"/>
                  <a:gd name="T71" fmla="*/ 110 h 140"/>
                  <a:gd name="T72" fmla="*/ 36 w 170"/>
                  <a:gd name="T73" fmla="*/ 124 h 140"/>
                  <a:gd name="T74" fmla="*/ 32 w 170"/>
                  <a:gd name="T75" fmla="*/ 134 h 140"/>
                  <a:gd name="T76" fmla="*/ 28 w 170"/>
                  <a:gd name="T77" fmla="*/ 136 h 140"/>
                  <a:gd name="T78" fmla="*/ 10 w 170"/>
                  <a:gd name="T79" fmla="*/ 128 h 140"/>
                  <a:gd name="T80" fmla="*/ 12 w 170"/>
                  <a:gd name="T81" fmla="*/ 120 h 140"/>
                  <a:gd name="T82" fmla="*/ 6 w 170"/>
                  <a:gd name="T83" fmla="*/ 104 h 140"/>
                  <a:gd name="T84" fmla="*/ 0 w 170"/>
                  <a:gd name="T85" fmla="*/ 76 h 140"/>
                  <a:gd name="T86" fmla="*/ 14 w 170"/>
                  <a:gd name="T87" fmla="*/ 44 h 140"/>
                  <a:gd name="T88" fmla="*/ 40 w 170"/>
                  <a:gd name="T89" fmla="*/ 32 h 140"/>
                  <a:gd name="T90" fmla="*/ 32 w 170"/>
                  <a:gd name="T91" fmla="*/ 48 h 140"/>
                  <a:gd name="T92" fmla="*/ 26 w 170"/>
                  <a:gd name="T93" fmla="*/ 62 h 140"/>
                  <a:gd name="T94" fmla="*/ 34 w 170"/>
                  <a:gd name="T95" fmla="*/ 78 h 140"/>
                  <a:gd name="T96" fmla="*/ 34 w 170"/>
                  <a:gd name="T97" fmla="*/ 88 h 140"/>
                  <a:gd name="T98" fmla="*/ 48 w 170"/>
                  <a:gd name="T99" fmla="*/ 96 h 140"/>
                  <a:gd name="T100" fmla="*/ 58 w 170"/>
                  <a:gd name="T101" fmla="*/ 94 h 140"/>
                  <a:gd name="T102" fmla="*/ 80 w 170"/>
                  <a:gd name="T103" fmla="*/ 82 h 140"/>
                  <a:gd name="T104" fmla="*/ 80 w 170"/>
                  <a:gd name="T105" fmla="*/ 56 h 140"/>
                  <a:gd name="T106" fmla="*/ 78 w 170"/>
                  <a:gd name="T107" fmla="*/ 58 h 140"/>
                  <a:gd name="T108" fmla="*/ 76 w 170"/>
                  <a:gd name="T109" fmla="*/ 82 h 140"/>
                  <a:gd name="T110" fmla="*/ 56 w 170"/>
                  <a:gd name="T111" fmla="*/ 90 h 140"/>
                  <a:gd name="T112" fmla="*/ 42 w 170"/>
                  <a:gd name="T113" fmla="*/ 92 h 140"/>
                  <a:gd name="T114" fmla="*/ 38 w 170"/>
                  <a:gd name="T115" fmla="*/ 82 h 140"/>
                  <a:gd name="T116" fmla="*/ 44 w 170"/>
                  <a:gd name="T117" fmla="*/ 66 h 140"/>
                  <a:gd name="T118" fmla="*/ 30 w 170"/>
                  <a:gd name="T119" fmla="*/ 64 h 140"/>
                  <a:gd name="T120" fmla="*/ 32 w 170"/>
                  <a:gd name="T121" fmla="*/ 54 h 140"/>
                  <a:gd name="T122" fmla="*/ 58 w 170"/>
                  <a:gd name="T123" fmla="*/ 24 h 140"/>
                  <a:gd name="T124" fmla="*/ 72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8"/>
                    </a:moveTo>
                    <a:lnTo>
                      <a:pt x="68" y="18"/>
                    </a:lnTo>
                    <a:lnTo>
                      <a:pt x="70" y="14"/>
                    </a:lnTo>
                    <a:lnTo>
                      <a:pt x="74" y="10"/>
                    </a:lnTo>
                    <a:lnTo>
                      <a:pt x="82" y="6"/>
                    </a:lnTo>
                    <a:lnTo>
                      <a:pt x="82" y="6"/>
                    </a:lnTo>
                    <a:lnTo>
                      <a:pt x="100" y="0"/>
                    </a:lnTo>
                    <a:lnTo>
                      <a:pt x="100" y="0"/>
                    </a:lnTo>
                    <a:lnTo>
                      <a:pt x="106" y="2"/>
                    </a:lnTo>
                    <a:lnTo>
                      <a:pt x="114" y="4"/>
                    </a:lnTo>
                    <a:lnTo>
                      <a:pt x="114" y="4"/>
                    </a:lnTo>
                    <a:lnTo>
                      <a:pt x="128" y="18"/>
                    </a:lnTo>
                    <a:lnTo>
                      <a:pt x="128" y="18"/>
                    </a:lnTo>
                    <a:lnTo>
                      <a:pt x="130" y="18"/>
                    </a:lnTo>
                    <a:lnTo>
                      <a:pt x="130" y="18"/>
                    </a:lnTo>
                    <a:lnTo>
                      <a:pt x="134" y="20"/>
                    </a:lnTo>
                    <a:lnTo>
                      <a:pt x="138" y="22"/>
                    </a:lnTo>
                    <a:lnTo>
                      <a:pt x="142" y="30"/>
                    </a:lnTo>
                    <a:lnTo>
                      <a:pt x="142" y="30"/>
                    </a:lnTo>
                    <a:lnTo>
                      <a:pt x="134" y="32"/>
                    </a:lnTo>
                    <a:lnTo>
                      <a:pt x="134" y="32"/>
                    </a:lnTo>
                    <a:lnTo>
                      <a:pt x="136" y="36"/>
                    </a:lnTo>
                    <a:lnTo>
                      <a:pt x="138" y="38"/>
                    </a:lnTo>
                    <a:lnTo>
                      <a:pt x="138" y="38"/>
                    </a:lnTo>
                    <a:lnTo>
                      <a:pt x="142" y="38"/>
                    </a:lnTo>
                    <a:lnTo>
                      <a:pt x="142" y="38"/>
                    </a:lnTo>
                    <a:lnTo>
                      <a:pt x="144" y="40"/>
                    </a:lnTo>
                    <a:lnTo>
                      <a:pt x="144" y="40"/>
                    </a:lnTo>
                    <a:lnTo>
                      <a:pt x="134" y="44"/>
                    </a:lnTo>
                    <a:lnTo>
                      <a:pt x="132" y="46"/>
                    </a:lnTo>
                    <a:lnTo>
                      <a:pt x="130" y="50"/>
                    </a:lnTo>
                    <a:lnTo>
                      <a:pt x="130" y="50"/>
                    </a:lnTo>
                    <a:lnTo>
                      <a:pt x="132" y="46"/>
                    </a:lnTo>
                    <a:lnTo>
                      <a:pt x="132" y="46"/>
                    </a:lnTo>
                    <a:lnTo>
                      <a:pt x="138" y="42"/>
                    </a:lnTo>
                    <a:lnTo>
                      <a:pt x="138" y="42"/>
                    </a:lnTo>
                    <a:lnTo>
                      <a:pt x="136" y="52"/>
                    </a:lnTo>
                    <a:lnTo>
                      <a:pt x="136" y="52"/>
                    </a:lnTo>
                    <a:lnTo>
                      <a:pt x="136" y="52"/>
                    </a:lnTo>
                    <a:lnTo>
                      <a:pt x="136" y="52"/>
                    </a:lnTo>
                    <a:lnTo>
                      <a:pt x="140" y="46"/>
                    </a:lnTo>
                    <a:lnTo>
                      <a:pt x="140" y="46"/>
                    </a:lnTo>
                    <a:lnTo>
                      <a:pt x="142" y="44"/>
                    </a:lnTo>
                    <a:lnTo>
                      <a:pt x="142" y="44"/>
                    </a:lnTo>
                    <a:lnTo>
                      <a:pt x="144" y="46"/>
                    </a:lnTo>
                    <a:lnTo>
                      <a:pt x="144" y="46"/>
                    </a:lnTo>
                    <a:lnTo>
                      <a:pt x="144" y="58"/>
                    </a:lnTo>
                    <a:lnTo>
                      <a:pt x="144" y="58"/>
                    </a:lnTo>
                    <a:lnTo>
                      <a:pt x="146" y="48"/>
                    </a:lnTo>
                    <a:lnTo>
                      <a:pt x="146" y="38"/>
                    </a:lnTo>
                    <a:lnTo>
                      <a:pt x="146" y="38"/>
                    </a:lnTo>
                    <a:lnTo>
                      <a:pt x="146" y="36"/>
                    </a:lnTo>
                    <a:lnTo>
                      <a:pt x="148" y="34"/>
                    </a:lnTo>
                    <a:lnTo>
                      <a:pt x="148" y="34"/>
                    </a:lnTo>
                    <a:lnTo>
                      <a:pt x="154" y="32"/>
                    </a:lnTo>
                    <a:lnTo>
                      <a:pt x="158" y="26"/>
                    </a:lnTo>
                    <a:lnTo>
                      <a:pt x="158" y="26"/>
                    </a:lnTo>
                    <a:lnTo>
                      <a:pt x="162" y="24"/>
                    </a:lnTo>
                    <a:lnTo>
                      <a:pt x="162" y="24"/>
                    </a:lnTo>
                    <a:lnTo>
                      <a:pt x="164" y="28"/>
                    </a:lnTo>
                    <a:lnTo>
                      <a:pt x="164" y="28"/>
                    </a:lnTo>
                    <a:lnTo>
                      <a:pt x="168" y="38"/>
                    </a:lnTo>
                    <a:lnTo>
                      <a:pt x="168" y="38"/>
                    </a:lnTo>
                    <a:lnTo>
                      <a:pt x="170" y="52"/>
                    </a:lnTo>
                    <a:lnTo>
                      <a:pt x="170" y="60"/>
                    </a:lnTo>
                    <a:lnTo>
                      <a:pt x="168" y="66"/>
                    </a:lnTo>
                    <a:lnTo>
                      <a:pt x="168" y="66"/>
                    </a:lnTo>
                    <a:lnTo>
                      <a:pt x="164" y="76"/>
                    </a:lnTo>
                    <a:lnTo>
                      <a:pt x="158" y="82"/>
                    </a:lnTo>
                    <a:lnTo>
                      <a:pt x="150" y="84"/>
                    </a:lnTo>
                    <a:lnTo>
                      <a:pt x="144" y="86"/>
                    </a:lnTo>
                    <a:lnTo>
                      <a:pt x="144" y="86"/>
                    </a:lnTo>
                    <a:lnTo>
                      <a:pt x="136" y="84"/>
                    </a:lnTo>
                    <a:lnTo>
                      <a:pt x="136" y="84"/>
                    </a:lnTo>
                    <a:lnTo>
                      <a:pt x="126" y="82"/>
                    </a:lnTo>
                    <a:lnTo>
                      <a:pt x="116" y="80"/>
                    </a:lnTo>
                    <a:lnTo>
                      <a:pt x="116" y="80"/>
                    </a:lnTo>
                    <a:lnTo>
                      <a:pt x="114" y="92"/>
                    </a:lnTo>
                    <a:lnTo>
                      <a:pt x="114" y="92"/>
                    </a:lnTo>
                    <a:lnTo>
                      <a:pt x="114" y="96"/>
                    </a:lnTo>
                    <a:lnTo>
                      <a:pt x="116" y="96"/>
                    </a:lnTo>
                    <a:lnTo>
                      <a:pt x="116" y="96"/>
                    </a:lnTo>
                    <a:lnTo>
                      <a:pt x="120" y="98"/>
                    </a:lnTo>
                    <a:lnTo>
                      <a:pt x="120" y="98"/>
                    </a:lnTo>
                    <a:lnTo>
                      <a:pt x="122" y="96"/>
                    </a:lnTo>
                    <a:lnTo>
                      <a:pt x="122" y="96"/>
                    </a:lnTo>
                    <a:lnTo>
                      <a:pt x="126" y="92"/>
                    </a:lnTo>
                    <a:lnTo>
                      <a:pt x="128" y="88"/>
                    </a:lnTo>
                    <a:lnTo>
                      <a:pt x="128" y="88"/>
                    </a:lnTo>
                    <a:lnTo>
                      <a:pt x="130" y="88"/>
                    </a:lnTo>
                    <a:lnTo>
                      <a:pt x="130" y="88"/>
                    </a:lnTo>
                    <a:lnTo>
                      <a:pt x="130" y="92"/>
                    </a:lnTo>
                    <a:lnTo>
                      <a:pt x="128" y="94"/>
                    </a:lnTo>
                    <a:lnTo>
                      <a:pt x="124" y="98"/>
                    </a:lnTo>
                    <a:lnTo>
                      <a:pt x="122" y="98"/>
                    </a:lnTo>
                    <a:lnTo>
                      <a:pt x="122" y="98"/>
                    </a:lnTo>
                    <a:lnTo>
                      <a:pt x="118" y="100"/>
                    </a:lnTo>
                    <a:lnTo>
                      <a:pt x="118" y="100"/>
                    </a:lnTo>
                    <a:lnTo>
                      <a:pt x="114" y="98"/>
                    </a:lnTo>
                    <a:lnTo>
                      <a:pt x="110" y="96"/>
                    </a:lnTo>
                    <a:lnTo>
                      <a:pt x="110" y="96"/>
                    </a:lnTo>
                    <a:lnTo>
                      <a:pt x="102" y="90"/>
                    </a:lnTo>
                    <a:lnTo>
                      <a:pt x="92" y="84"/>
                    </a:lnTo>
                    <a:lnTo>
                      <a:pt x="92" y="84"/>
                    </a:lnTo>
                    <a:lnTo>
                      <a:pt x="98" y="90"/>
                    </a:lnTo>
                    <a:lnTo>
                      <a:pt x="98" y="90"/>
                    </a:lnTo>
                    <a:lnTo>
                      <a:pt x="100" y="94"/>
                    </a:lnTo>
                    <a:lnTo>
                      <a:pt x="100" y="94"/>
                    </a:lnTo>
                    <a:lnTo>
                      <a:pt x="94" y="110"/>
                    </a:lnTo>
                    <a:lnTo>
                      <a:pt x="90" y="118"/>
                    </a:lnTo>
                    <a:lnTo>
                      <a:pt x="84" y="126"/>
                    </a:lnTo>
                    <a:lnTo>
                      <a:pt x="84" y="126"/>
                    </a:lnTo>
                    <a:lnTo>
                      <a:pt x="74" y="134"/>
                    </a:lnTo>
                    <a:lnTo>
                      <a:pt x="74" y="134"/>
                    </a:lnTo>
                    <a:lnTo>
                      <a:pt x="72" y="136"/>
                    </a:lnTo>
                    <a:lnTo>
                      <a:pt x="72" y="136"/>
                    </a:lnTo>
                    <a:lnTo>
                      <a:pt x="68" y="140"/>
                    </a:lnTo>
                    <a:lnTo>
                      <a:pt x="64" y="140"/>
                    </a:lnTo>
                    <a:lnTo>
                      <a:pt x="64" y="140"/>
                    </a:lnTo>
                    <a:lnTo>
                      <a:pt x="62" y="138"/>
                    </a:lnTo>
                    <a:lnTo>
                      <a:pt x="62" y="138"/>
                    </a:lnTo>
                    <a:lnTo>
                      <a:pt x="54" y="126"/>
                    </a:lnTo>
                    <a:lnTo>
                      <a:pt x="54" y="126"/>
                    </a:lnTo>
                    <a:lnTo>
                      <a:pt x="52" y="122"/>
                    </a:lnTo>
                    <a:lnTo>
                      <a:pt x="56" y="120"/>
                    </a:lnTo>
                    <a:lnTo>
                      <a:pt x="56" y="120"/>
                    </a:lnTo>
                    <a:lnTo>
                      <a:pt x="64" y="116"/>
                    </a:lnTo>
                    <a:lnTo>
                      <a:pt x="64" y="116"/>
                    </a:lnTo>
                    <a:lnTo>
                      <a:pt x="64" y="106"/>
                    </a:lnTo>
                    <a:lnTo>
                      <a:pt x="64" y="106"/>
                    </a:lnTo>
                    <a:lnTo>
                      <a:pt x="62" y="110"/>
                    </a:lnTo>
                    <a:lnTo>
                      <a:pt x="60" y="112"/>
                    </a:lnTo>
                    <a:lnTo>
                      <a:pt x="54" y="114"/>
                    </a:lnTo>
                    <a:lnTo>
                      <a:pt x="54" y="114"/>
                    </a:lnTo>
                    <a:lnTo>
                      <a:pt x="50" y="114"/>
                    </a:lnTo>
                    <a:lnTo>
                      <a:pt x="50" y="114"/>
                    </a:lnTo>
                    <a:lnTo>
                      <a:pt x="46" y="114"/>
                    </a:lnTo>
                    <a:lnTo>
                      <a:pt x="46" y="114"/>
                    </a:lnTo>
                    <a:lnTo>
                      <a:pt x="40" y="112"/>
                    </a:lnTo>
                    <a:lnTo>
                      <a:pt x="38" y="112"/>
                    </a:lnTo>
                    <a:lnTo>
                      <a:pt x="38" y="108"/>
                    </a:lnTo>
                    <a:lnTo>
                      <a:pt x="38" y="108"/>
                    </a:lnTo>
                    <a:lnTo>
                      <a:pt x="38" y="110"/>
                    </a:lnTo>
                    <a:lnTo>
                      <a:pt x="38" y="110"/>
                    </a:lnTo>
                    <a:lnTo>
                      <a:pt x="38" y="112"/>
                    </a:lnTo>
                    <a:lnTo>
                      <a:pt x="38" y="112"/>
                    </a:lnTo>
                    <a:lnTo>
                      <a:pt x="38" y="120"/>
                    </a:lnTo>
                    <a:lnTo>
                      <a:pt x="36" y="124"/>
                    </a:lnTo>
                    <a:lnTo>
                      <a:pt x="34" y="128"/>
                    </a:lnTo>
                    <a:lnTo>
                      <a:pt x="34" y="128"/>
                    </a:lnTo>
                    <a:lnTo>
                      <a:pt x="32" y="130"/>
                    </a:lnTo>
                    <a:lnTo>
                      <a:pt x="32" y="134"/>
                    </a:lnTo>
                    <a:lnTo>
                      <a:pt x="32" y="134"/>
                    </a:lnTo>
                    <a:lnTo>
                      <a:pt x="30" y="136"/>
                    </a:lnTo>
                    <a:lnTo>
                      <a:pt x="28" y="136"/>
                    </a:lnTo>
                    <a:lnTo>
                      <a:pt x="28" y="136"/>
                    </a:lnTo>
                    <a:lnTo>
                      <a:pt x="12" y="134"/>
                    </a:lnTo>
                    <a:lnTo>
                      <a:pt x="12" y="134"/>
                    </a:lnTo>
                    <a:lnTo>
                      <a:pt x="10" y="132"/>
                    </a:lnTo>
                    <a:lnTo>
                      <a:pt x="10" y="128"/>
                    </a:lnTo>
                    <a:lnTo>
                      <a:pt x="10" y="128"/>
                    </a:lnTo>
                    <a:lnTo>
                      <a:pt x="10" y="124"/>
                    </a:lnTo>
                    <a:lnTo>
                      <a:pt x="12" y="120"/>
                    </a:lnTo>
                    <a:lnTo>
                      <a:pt x="12" y="120"/>
                    </a:lnTo>
                    <a:lnTo>
                      <a:pt x="12" y="116"/>
                    </a:lnTo>
                    <a:lnTo>
                      <a:pt x="10" y="112"/>
                    </a:lnTo>
                    <a:lnTo>
                      <a:pt x="10" y="112"/>
                    </a:lnTo>
                    <a:lnTo>
                      <a:pt x="6" y="104"/>
                    </a:lnTo>
                    <a:lnTo>
                      <a:pt x="2" y="94"/>
                    </a:lnTo>
                    <a:lnTo>
                      <a:pt x="0" y="86"/>
                    </a:lnTo>
                    <a:lnTo>
                      <a:pt x="0" y="76"/>
                    </a:lnTo>
                    <a:lnTo>
                      <a:pt x="0" y="76"/>
                    </a:lnTo>
                    <a:lnTo>
                      <a:pt x="0" y="66"/>
                    </a:lnTo>
                    <a:lnTo>
                      <a:pt x="4" y="58"/>
                    </a:lnTo>
                    <a:lnTo>
                      <a:pt x="8" y="50"/>
                    </a:lnTo>
                    <a:lnTo>
                      <a:pt x="14" y="44"/>
                    </a:lnTo>
                    <a:lnTo>
                      <a:pt x="14" y="44"/>
                    </a:lnTo>
                    <a:lnTo>
                      <a:pt x="26" y="36"/>
                    </a:lnTo>
                    <a:lnTo>
                      <a:pt x="40" y="32"/>
                    </a:lnTo>
                    <a:lnTo>
                      <a:pt x="40" y="32"/>
                    </a:lnTo>
                    <a:lnTo>
                      <a:pt x="44" y="32"/>
                    </a:lnTo>
                    <a:lnTo>
                      <a:pt x="44" y="32"/>
                    </a:lnTo>
                    <a:lnTo>
                      <a:pt x="32" y="48"/>
                    </a:lnTo>
                    <a:lnTo>
                      <a:pt x="32" y="48"/>
                    </a:lnTo>
                    <a:lnTo>
                      <a:pt x="28" y="52"/>
                    </a:lnTo>
                    <a:lnTo>
                      <a:pt x="26" y="58"/>
                    </a:lnTo>
                    <a:lnTo>
                      <a:pt x="26" y="58"/>
                    </a:lnTo>
                    <a:lnTo>
                      <a:pt x="26" y="62"/>
                    </a:lnTo>
                    <a:lnTo>
                      <a:pt x="26" y="66"/>
                    </a:lnTo>
                    <a:lnTo>
                      <a:pt x="30" y="72"/>
                    </a:lnTo>
                    <a:lnTo>
                      <a:pt x="30" y="72"/>
                    </a:lnTo>
                    <a:lnTo>
                      <a:pt x="34" y="78"/>
                    </a:lnTo>
                    <a:lnTo>
                      <a:pt x="34" y="80"/>
                    </a:lnTo>
                    <a:lnTo>
                      <a:pt x="34" y="84"/>
                    </a:lnTo>
                    <a:lnTo>
                      <a:pt x="34" y="84"/>
                    </a:lnTo>
                    <a:lnTo>
                      <a:pt x="34" y="88"/>
                    </a:lnTo>
                    <a:lnTo>
                      <a:pt x="34" y="88"/>
                    </a:lnTo>
                    <a:lnTo>
                      <a:pt x="40" y="94"/>
                    </a:lnTo>
                    <a:lnTo>
                      <a:pt x="44" y="96"/>
                    </a:lnTo>
                    <a:lnTo>
                      <a:pt x="48" y="96"/>
                    </a:lnTo>
                    <a:lnTo>
                      <a:pt x="48" y="96"/>
                    </a:lnTo>
                    <a:lnTo>
                      <a:pt x="52" y="96"/>
                    </a:lnTo>
                    <a:lnTo>
                      <a:pt x="58" y="94"/>
                    </a:lnTo>
                    <a:lnTo>
                      <a:pt x="58" y="94"/>
                    </a:lnTo>
                    <a:lnTo>
                      <a:pt x="66" y="88"/>
                    </a:lnTo>
                    <a:lnTo>
                      <a:pt x="76" y="86"/>
                    </a:lnTo>
                    <a:lnTo>
                      <a:pt x="76" y="86"/>
                    </a:lnTo>
                    <a:lnTo>
                      <a:pt x="80" y="82"/>
                    </a:lnTo>
                    <a:lnTo>
                      <a:pt x="80" y="82"/>
                    </a:lnTo>
                    <a:lnTo>
                      <a:pt x="82" y="76"/>
                    </a:lnTo>
                    <a:lnTo>
                      <a:pt x="82" y="70"/>
                    </a:lnTo>
                    <a:lnTo>
                      <a:pt x="80" y="56"/>
                    </a:lnTo>
                    <a:lnTo>
                      <a:pt x="80" y="56"/>
                    </a:lnTo>
                    <a:lnTo>
                      <a:pt x="78" y="40"/>
                    </a:lnTo>
                    <a:lnTo>
                      <a:pt x="78" y="40"/>
                    </a:lnTo>
                    <a:lnTo>
                      <a:pt x="78" y="58"/>
                    </a:lnTo>
                    <a:lnTo>
                      <a:pt x="78" y="58"/>
                    </a:lnTo>
                    <a:lnTo>
                      <a:pt x="78" y="78"/>
                    </a:lnTo>
                    <a:lnTo>
                      <a:pt x="78" y="78"/>
                    </a:lnTo>
                    <a:lnTo>
                      <a:pt x="76" y="82"/>
                    </a:lnTo>
                    <a:lnTo>
                      <a:pt x="72" y="84"/>
                    </a:lnTo>
                    <a:lnTo>
                      <a:pt x="72" y="84"/>
                    </a:lnTo>
                    <a:lnTo>
                      <a:pt x="64" y="86"/>
                    </a:lnTo>
                    <a:lnTo>
                      <a:pt x="56" y="90"/>
                    </a:lnTo>
                    <a:lnTo>
                      <a:pt x="56" y="90"/>
                    </a:lnTo>
                    <a:lnTo>
                      <a:pt x="48" y="92"/>
                    </a:lnTo>
                    <a:lnTo>
                      <a:pt x="48" y="92"/>
                    </a:lnTo>
                    <a:lnTo>
                      <a:pt x="42" y="92"/>
                    </a:lnTo>
                    <a:lnTo>
                      <a:pt x="38" y="88"/>
                    </a:lnTo>
                    <a:lnTo>
                      <a:pt x="38" y="88"/>
                    </a:lnTo>
                    <a:lnTo>
                      <a:pt x="36" y="84"/>
                    </a:lnTo>
                    <a:lnTo>
                      <a:pt x="38" y="82"/>
                    </a:lnTo>
                    <a:lnTo>
                      <a:pt x="38" y="82"/>
                    </a:lnTo>
                    <a:lnTo>
                      <a:pt x="40" y="74"/>
                    </a:lnTo>
                    <a:lnTo>
                      <a:pt x="40" y="74"/>
                    </a:lnTo>
                    <a:lnTo>
                      <a:pt x="44" y="66"/>
                    </a:lnTo>
                    <a:lnTo>
                      <a:pt x="44" y="66"/>
                    </a:lnTo>
                    <a:lnTo>
                      <a:pt x="38" y="74"/>
                    </a:lnTo>
                    <a:lnTo>
                      <a:pt x="38" y="74"/>
                    </a:lnTo>
                    <a:lnTo>
                      <a:pt x="30" y="64"/>
                    </a:lnTo>
                    <a:lnTo>
                      <a:pt x="30" y="64"/>
                    </a:lnTo>
                    <a:lnTo>
                      <a:pt x="28" y="60"/>
                    </a:lnTo>
                    <a:lnTo>
                      <a:pt x="28" y="60"/>
                    </a:lnTo>
                    <a:lnTo>
                      <a:pt x="32" y="54"/>
                    </a:lnTo>
                    <a:lnTo>
                      <a:pt x="36" y="46"/>
                    </a:lnTo>
                    <a:lnTo>
                      <a:pt x="36" y="46"/>
                    </a:lnTo>
                    <a:lnTo>
                      <a:pt x="58" y="24"/>
                    </a:lnTo>
                    <a:lnTo>
                      <a:pt x="58" y="24"/>
                    </a:lnTo>
                    <a:lnTo>
                      <a:pt x="60" y="20"/>
                    </a:lnTo>
                    <a:lnTo>
                      <a:pt x="64" y="20"/>
                    </a:lnTo>
                    <a:lnTo>
                      <a:pt x="72" y="18"/>
                    </a:lnTo>
                    <a:lnTo>
                      <a:pt x="72" y="18"/>
                    </a:lnTo>
                    <a:lnTo>
                      <a:pt x="74" y="18"/>
                    </a:lnTo>
                    <a:lnTo>
                      <a:pt x="74" y="18"/>
                    </a:lnTo>
                    <a:lnTo>
                      <a:pt x="68"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4" name="Freeform 1562"/>
              <p:cNvSpPr>
                <a:spLocks/>
              </p:cNvSpPr>
              <p:nvPr/>
            </p:nvSpPr>
            <p:spPr bwMode="auto">
              <a:xfrm>
                <a:off x="4960" y="1366"/>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0 h 146"/>
                  <a:gd name="T10" fmla="*/ 34 w 188"/>
                  <a:gd name="T11" fmla="*/ 40 h 146"/>
                  <a:gd name="T12" fmla="*/ 18 w 188"/>
                  <a:gd name="T13" fmla="*/ 54 h 146"/>
                  <a:gd name="T14" fmla="*/ 8 w 188"/>
                  <a:gd name="T15" fmla="*/ 62 h 146"/>
                  <a:gd name="T16" fmla="*/ 12 w 188"/>
                  <a:gd name="T17" fmla="*/ 54 h 146"/>
                  <a:gd name="T18" fmla="*/ 14 w 188"/>
                  <a:gd name="T19" fmla="*/ 48 h 146"/>
                  <a:gd name="T20" fmla="*/ 12 w 188"/>
                  <a:gd name="T21" fmla="*/ 44 h 146"/>
                  <a:gd name="T22" fmla="*/ 0 w 188"/>
                  <a:gd name="T23" fmla="*/ 56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6 h 146"/>
                  <a:gd name="T36" fmla="*/ 16 w 188"/>
                  <a:gd name="T37" fmla="*/ 124 h 146"/>
                  <a:gd name="T38" fmla="*/ 22 w 188"/>
                  <a:gd name="T39" fmla="*/ 130 h 146"/>
                  <a:gd name="T40" fmla="*/ 22 w 188"/>
                  <a:gd name="T41" fmla="*/ 138 h 146"/>
                  <a:gd name="T42" fmla="*/ 34 w 188"/>
                  <a:gd name="T43" fmla="*/ 142 h 146"/>
                  <a:gd name="T44" fmla="*/ 46 w 188"/>
                  <a:gd name="T45" fmla="*/ 142 h 146"/>
                  <a:gd name="T46" fmla="*/ 50 w 188"/>
                  <a:gd name="T47" fmla="*/ 142 h 146"/>
                  <a:gd name="T48" fmla="*/ 52 w 188"/>
                  <a:gd name="T49" fmla="*/ 130 h 146"/>
                  <a:gd name="T50" fmla="*/ 58 w 188"/>
                  <a:gd name="T51" fmla="*/ 118 h 146"/>
                  <a:gd name="T52" fmla="*/ 66 w 188"/>
                  <a:gd name="T53" fmla="*/ 124 h 146"/>
                  <a:gd name="T54" fmla="*/ 74 w 188"/>
                  <a:gd name="T55" fmla="*/ 142 h 146"/>
                  <a:gd name="T56" fmla="*/ 82 w 188"/>
                  <a:gd name="T57" fmla="*/ 146 h 146"/>
                  <a:gd name="T58" fmla="*/ 90 w 188"/>
                  <a:gd name="T59" fmla="*/ 142 h 146"/>
                  <a:gd name="T60" fmla="*/ 98 w 188"/>
                  <a:gd name="T61" fmla="*/ 132 h 146"/>
                  <a:gd name="T62" fmla="*/ 118 w 188"/>
                  <a:gd name="T63" fmla="*/ 132 h 146"/>
                  <a:gd name="T64" fmla="*/ 124 w 188"/>
                  <a:gd name="T65" fmla="*/ 130 h 146"/>
                  <a:gd name="T66" fmla="*/ 124 w 188"/>
                  <a:gd name="T67" fmla="*/ 124 h 146"/>
                  <a:gd name="T68" fmla="*/ 122 w 188"/>
                  <a:gd name="T69" fmla="*/ 104 h 146"/>
                  <a:gd name="T70" fmla="*/ 118 w 188"/>
                  <a:gd name="T71" fmla="*/ 96 h 146"/>
                  <a:gd name="T72" fmla="*/ 126 w 188"/>
                  <a:gd name="T73" fmla="*/ 100 h 146"/>
                  <a:gd name="T74" fmla="*/ 134 w 188"/>
                  <a:gd name="T75" fmla="*/ 104 h 146"/>
                  <a:gd name="T76" fmla="*/ 144 w 188"/>
                  <a:gd name="T77" fmla="*/ 100 h 146"/>
                  <a:gd name="T78" fmla="*/ 148 w 188"/>
                  <a:gd name="T79" fmla="*/ 92 h 146"/>
                  <a:gd name="T80" fmla="*/ 156 w 188"/>
                  <a:gd name="T81" fmla="*/ 90 h 146"/>
                  <a:gd name="T82" fmla="*/ 158 w 188"/>
                  <a:gd name="T83" fmla="*/ 90 h 146"/>
                  <a:gd name="T84" fmla="*/ 182 w 188"/>
                  <a:gd name="T85" fmla="*/ 80 h 146"/>
                  <a:gd name="T86" fmla="*/ 188 w 188"/>
                  <a:gd name="T87" fmla="*/ 58 h 146"/>
                  <a:gd name="T88" fmla="*/ 186 w 188"/>
                  <a:gd name="T89" fmla="*/ 36 h 146"/>
                  <a:gd name="T90" fmla="*/ 182 w 188"/>
                  <a:gd name="T91" fmla="*/ 24 h 146"/>
                  <a:gd name="T92" fmla="*/ 174 w 188"/>
                  <a:gd name="T93" fmla="*/ 24 h 146"/>
                  <a:gd name="T94" fmla="*/ 166 w 188"/>
                  <a:gd name="T95" fmla="*/ 30 h 146"/>
                  <a:gd name="T96" fmla="*/ 164 w 188"/>
                  <a:gd name="T97" fmla="*/ 32 h 146"/>
                  <a:gd name="T98" fmla="*/ 158 w 188"/>
                  <a:gd name="T99" fmla="*/ 24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2"/>
                    </a:lnTo>
                    <a:lnTo>
                      <a:pt x="92" y="6"/>
                    </a:lnTo>
                    <a:lnTo>
                      <a:pt x="86" y="12"/>
                    </a:lnTo>
                    <a:lnTo>
                      <a:pt x="86" y="12"/>
                    </a:lnTo>
                    <a:lnTo>
                      <a:pt x="80" y="18"/>
                    </a:lnTo>
                    <a:lnTo>
                      <a:pt x="76" y="20"/>
                    </a:lnTo>
                    <a:lnTo>
                      <a:pt x="74" y="20"/>
                    </a:lnTo>
                    <a:lnTo>
                      <a:pt x="74" y="20"/>
                    </a:lnTo>
                    <a:lnTo>
                      <a:pt x="70" y="22"/>
                    </a:lnTo>
                    <a:lnTo>
                      <a:pt x="70" y="22"/>
                    </a:lnTo>
                    <a:lnTo>
                      <a:pt x="62" y="28"/>
                    </a:lnTo>
                    <a:lnTo>
                      <a:pt x="54" y="30"/>
                    </a:lnTo>
                    <a:lnTo>
                      <a:pt x="54" y="30"/>
                    </a:lnTo>
                    <a:lnTo>
                      <a:pt x="42" y="34"/>
                    </a:lnTo>
                    <a:lnTo>
                      <a:pt x="34" y="40"/>
                    </a:lnTo>
                    <a:lnTo>
                      <a:pt x="26" y="46"/>
                    </a:lnTo>
                    <a:lnTo>
                      <a:pt x="18" y="54"/>
                    </a:lnTo>
                    <a:lnTo>
                      <a:pt x="18" y="54"/>
                    </a:lnTo>
                    <a:lnTo>
                      <a:pt x="12" y="62"/>
                    </a:lnTo>
                    <a:lnTo>
                      <a:pt x="12" y="62"/>
                    </a:lnTo>
                    <a:lnTo>
                      <a:pt x="8" y="62"/>
                    </a:lnTo>
                    <a:lnTo>
                      <a:pt x="8" y="62"/>
                    </a:lnTo>
                    <a:lnTo>
                      <a:pt x="12" y="54"/>
                    </a:lnTo>
                    <a:lnTo>
                      <a:pt x="12" y="54"/>
                    </a:lnTo>
                    <a:lnTo>
                      <a:pt x="14" y="54"/>
                    </a:lnTo>
                    <a:lnTo>
                      <a:pt x="14" y="54"/>
                    </a:lnTo>
                    <a:lnTo>
                      <a:pt x="14" y="48"/>
                    </a:lnTo>
                    <a:lnTo>
                      <a:pt x="14" y="48"/>
                    </a:lnTo>
                    <a:lnTo>
                      <a:pt x="12" y="44"/>
                    </a:lnTo>
                    <a:lnTo>
                      <a:pt x="12" y="44"/>
                    </a:lnTo>
                    <a:lnTo>
                      <a:pt x="4" y="48"/>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8"/>
                    </a:lnTo>
                    <a:lnTo>
                      <a:pt x="22" y="128"/>
                    </a:lnTo>
                    <a:lnTo>
                      <a:pt x="22" y="130"/>
                    </a:lnTo>
                    <a:lnTo>
                      <a:pt x="22" y="130"/>
                    </a:lnTo>
                    <a:lnTo>
                      <a:pt x="22" y="136"/>
                    </a:lnTo>
                    <a:lnTo>
                      <a:pt x="22" y="138"/>
                    </a:lnTo>
                    <a:lnTo>
                      <a:pt x="26" y="138"/>
                    </a:lnTo>
                    <a:lnTo>
                      <a:pt x="26" y="138"/>
                    </a:lnTo>
                    <a:lnTo>
                      <a:pt x="34" y="142"/>
                    </a:lnTo>
                    <a:lnTo>
                      <a:pt x="44" y="142"/>
                    </a:lnTo>
                    <a:lnTo>
                      <a:pt x="44" y="142"/>
                    </a:lnTo>
                    <a:lnTo>
                      <a:pt x="46" y="142"/>
                    </a:lnTo>
                    <a:lnTo>
                      <a:pt x="46" y="142"/>
                    </a:lnTo>
                    <a:lnTo>
                      <a:pt x="48" y="142"/>
                    </a:lnTo>
                    <a:lnTo>
                      <a:pt x="50" y="142"/>
                    </a:lnTo>
                    <a:lnTo>
                      <a:pt x="52" y="136"/>
                    </a:lnTo>
                    <a:lnTo>
                      <a:pt x="52" y="136"/>
                    </a:lnTo>
                    <a:lnTo>
                      <a:pt x="52" y="130"/>
                    </a:lnTo>
                    <a:lnTo>
                      <a:pt x="52" y="130"/>
                    </a:lnTo>
                    <a:lnTo>
                      <a:pt x="58" y="118"/>
                    </a:lnTo>
                    <a:lnTo>
                      <a:pt x="58" y="118"/>
                    </a:lnTo>
                    <a:lnTo>
                      <a:pt x="70" y="118"/>
                    </a:lnTo>
                    <a:lnTo>
                      <a:pt x="70" y="118"/>
                    </a:lnTo>
                    <a:lnTo>
                      <a:pt x="66" y="124"/>
                    </a:lnTo>
                    <a:lnTo>
                      <a:pt x="66" y="128"/>
                    </a:lnTo>
                    <a:lnTo>
                      <a:pt x="66" y="128"/>
                    </a:lnTo>
                    <a:lnTo>
                      <a:pt x="74" y="142"/>
                    </a:lnTo>
                    <a:lnTo>
                      <a:pt x="74" y="142"/>
                    </a:lnTo>
                    <a:lnTo>
                      <a:pt x="78" y="144"/>
                    </a:lnTo>
                    <a:lnTo>
                      <a:pt x="82" y="146"/>
                    </a:lnTo>
                    <a:lnTo>
                      <a:pt x="82" y="146"/>
                    </a:lnTo>
                    <a:lnTo>
                      <a:pt x="86" y="144"/>
                    </a:lnTo>
                    <a:lnTo>
                      <a:pt x="90" y="142"/>
                    </a:lnTo>
                    <a:lnTo>
                      <a:pt x="90" y="142"/>
                    </a:lnTo>
                    <a:lnTo>
                      <a:pt x="98" y="132"/>
                    </a:lnTo>
                    <a:lnTo>
                      <a:pt x="98" y="132"/>
                    </a:lnTo>
                    <a:lnTo>
                      <a:pt x="100" y="132"/>
                    </a:lnTo>
                    <a:lnTo>
                      <a:pt x="100" y="132"/>
                    </a:lnTo>
                    <a:lnTo>
                      <a:pt x="118" y="132"/>
                    </a:lnTo>
                    <a:lnTo>
                      <a:pt x="118" y="132"/>
                    </a:lnTo>
                    <a:lnTo>
                      <a:pt x="122" y="132"/>
                    </a:lnTo>
                    <a:lnTo>
                      <a:pt x="124" y="130"/>
                    </a:lnTo>
                    <a:lnTo>
                      <a:pt x="124" y="128"/>
                    </a:lnTo>
                    <a:lnTo>
                      <a:pt x="124" y="124"/>
                    </a:lnTo>
                    <a:lnTo>
                      <a:pt x="124" y="124"/>
                    </a:lnTo>
                    <a:lnTo>
                      <a:pt x="124" y="114"/>
                    </a:lnTo>
                    <a:lnTo>
                      <a:pt x="124" y="114"/>
                    </a:lnTo>
                    <a:lnTo>
                      <a:pt x="122" y="104"/>
                    </a:lnTo>
                    <a:lnTo>
                      <a:pt x="122"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100"/>
                    </a:lnTo>
                    <a:lnTo>
                      <a:pt x="146" y="96"/>
                    </a:lnTo>
                    <a:lnTo>
                      <a:pt x="146" y="96"/>
                    </a:lnTo>
                    <a:lnTo>
                      <a:pt x="148" y="92"/>
                    </a:lnTo>
                    <a:lnTo>
                      <a:pt x="152" y="90"/>
                    </a:lnTo>
                    <a:lnTo>
                      <a:pt x="152" y="90"/>
                    </a:lnTo>
                    <a:lnTo>
                      <a:pt x="156" y="90"/>
                    </a:lnTo>
                    <a:lnTo>
                      <a:pt x="156" y="90"/>
                    </a:lnTo>
                    <a:lnTo>
                      <a:pt x="158" y="90"/>
                    </a:lnTo>
                    <a:lnTo>
                      <a:pt x="158" y="90"/>
                    </a:lnTo>
                    <a:lnTo>
                      <a:pt x="168" y="90"/>
                    </a:lnTo>
                    <a:lnTo>
                      <a:pt x="176" y="86"/>
                    </a:lnTo>
                    <a:lnTo>
                      <a:pt x="182" y="80"/>
                    </a:lnTo>
                    <a:lnTo>
                      <a:pt x="186" y="72"/>
                    </a:lnTo>
                    <a:lnTo>
                      <a:pt x="186" y="72"/>
                    </a:lnTo>
                    <a:lnTo>
                      <a:pt x="188" y="58"/>
                    </a:lnTo>
                    <a:lnTo>
                      <a:pt x="188" y="46"/>
                    </a:lnTo>
                    <a:lnTo>
                      <a:pt x="188" y="46"/>
                    </a:lnTo>
                    <a:lnTo>
                      <a:pt x="186" y="36"/>
                    </a:lnTo>
                    <a:lnTo>
                      <a:pt x="184" y="28"/>
                    </a:lnTo>
                    <a:lnTo>
                      <a:pt x="184" y="28"/>
                    </a:lnTo>
                    <a:lnTo>
                      <a:pt x="182" y="24"/>
                    </a:lnTo>
                    <a:lnTo>
                      <a:pt x="178" y="24"/>
                    </a:lnTo>
                    <a:lnTo>
                      <a:pt x="178" y="24"/>
                    </a:lnTo>
                    <a:lnTo>
                      <a:pt x="174" y="24"/>
                    </a:lnTo>
                    <a:lnTo>
                      <a:pt x="172" y="28"/>
                    </a:lnTo>
                    <a:lnTo>
                      <a:pt x="172" y="28"/>
                    </a:lnTo>
                    <a:lnTo>
                      <a:pt x="166" y="30"/>
                    </a:lnTo>
                    <a:lnTo>
                      <a:pt x="166" y="30"/>
                    </a:lnTo>
                    <a:lnTo>
                      <a:pt x="164" y="32"/>
                    </a:lnTo>
                    <a:lnTo>
                      <a:pt x="164" y="32"/>
                    </a:lnTo>
                    <a:lnTo>
                      <a:pt x="162" y="30"/>
                    </a:lnTo>
                    <a:lnTo>
                      <a:pt x="162" y="30"/>
                    </a:lnTo>
                    <a:lnTo>
                      <a:pt x="158" y="24"/>
                    </a:lnTo>
                    <a:lnTo>
                      <a:pt x="154" y="20"/>
                    </a:lnTo>
                    <a:lnTo>
                      <a:pt x="154" y="20"/>
                    </a:lnTo>
                    <a:lnTo>
                      <a:pt x="138" y="10"/>
                    </a:lnTo>
                    <a:lnTo>
                      <a:pt x="138" y="10"/>
                    </a:lnTo>
                    <a:lnTo>
                      <a:pt x="134"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5" name="Freeform 1563"/>
              <p:cNvSpPr>
                <a:spLocks/>
              </p:cNvSpPr>
              <p:nvPr/>
            </p:nvSpPr>
            <p:spPr bwMode="auto">
              <a:xfrm>
                <a:off x="4966" y="1466"/>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6" name="Freeform 1564"/>
              <p:cNvSpPr>
                <a:spLocks/>
              </p:cNvSpPr>
              <p:nvPr/>
            </p:nvSpPr>
            <p:spPr bwMode="auto">
              <a:xfrm>
                <a:off x="4966" y="1466"/>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7" name="Freeform 1565"/>
              <p:cNvSpPr>
                <a:spLocks/>
              </p:cNvSpPr>
              <p:nvPr/>
            </p:nvSpPr>
            <p:spPr bwMode="auto">
              <a:xfrm>
                <a:off x="4974" y="1466"/>
                <a:ext cx="10" cy="22"/>
              </a:xfrm>
              <a:custGeom>
                <a:avLst/>
                <a:gdLst>
                  <a:gd name="T0" fmla="*/ 0 w 10"/>
                  <a:gd name="T1" fmla="*/ 0 h 22"/>
                  <a:gd name="T2" fmla="*/ 0 w 10"/>
                  <a:gd name="T3" fmla="*/ 0 h 22"/>
                  <a:gd name="T4" fmla="*/ 0 w 10"/>
                  <a:gd name="T5" fmla="*/ 0 h 22"/>
                  <a:gd name="T6" fmla="*/ 0 w 10"/>
                  <a:gd name="T7" fmla="*/ 0 h 22"/>
                  <a:gd name="T8" fmla="*/ 10 w 10"/>
                  <a:gd name="T9" fmla="*/ 16 h 22"/>
                  <a:gd name="T10" fmla="*/ 10 w 10"/>
                  <a:gd name="T11" fmla="*/ 16 h 22"/>
                  <a:gd name="T12" fmla="*/ 10 w 10"/>
                  <a:gd name="T13" fmla="*/ 20 h 22"/>
                  <a:gd name="T14" fmla="*/ 6 w 10"/>
                  <a:gd name="T15" fmla="*/ 22 h 22"/>
                  <a:gd name="T16" fmla="*/ 6 w 10"/>
                  <a:gd name="T17" fmla="*/ 22 h 22"/>
                  <a:gd name="T18" fmla="*/ 6 w 10"/>
                  <a:gd name="T19" fmla="*/ 22 h 22"/>
                  <a:gd name="T20" fmla="*/ 6 w 10"/>
                  <a:gd name="T21" fmla="*/ 22 h 22"/>
                  <a:gd name="T22" fmla="*/ 4 w 10"/>
                  <a:gd name="T23" fmla="*/ 22 h 22"/>
                  <a:gd name="T24" fmla="*/ 4 w 10"/>
                  <a:gd name="T25" fmla="*/ 22 h 22"/>
                  <a:gd name="T26" fmla="*/ 6 w 10"/>
                  <a:gd name="T27" fmla="*/ 22 h 22"/>
                  <a:gd name="T28" fmla="*/ 6 w 10"/>
                  <a:gd name="T29" fmla="*/ 22 h 22"/>
                  <a:gd name="T30" fmla="*/ 8 w 10"/>
                  <a:gd name="T31" fmla="*/ 22 h 22"/>
                  <a:gd name="T32" fmla="*/ 8 w 10"/>
                  <a:gd name="T33" fmla="*/ 22 h 22"/>
                  <a:gd name="T34" fmla="*/ 10 w 10"/>
                  <a:gd name="T35" fmla="*/ 20 h 22"/>
                  <a:gd name="T36" fmla="*/ 10 w 10"/>
                  <a:gd name="T37" fmla="*/ 16 h 22"/>
                  <a:gd name="T38" fmla="*/ 10 w 10"/>
                  <a:gd name="T39" fmla="*/ 16 h 22"/>
                  <a:gd name="T40" fmla="*/ 0 w 10"/>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22">
                    <a:moveTo>
                      <a:pt x="0" y="0"/>
                    </a:moveTo>
                    <a:lnTo>
                      <a:pt x="0" y="0"/>
                    </a:lnTo>
                    <a:lnTo>
                      <a:pt x="0" y="0"/>
                    </a:lnTo>
                    <a:lnTo>
                      <a:pt x="0" y="0"/>
                    </a:lnTo>
                    <a:lnTo>
                      <a:pt x="10" y="16"/>
                    </a:lnTo>
                    <a:lnTo>
                      <a:pt x="10" y="16"/>
                    </a:lnTo>
                    <a:lnTo>
                      <a:pt x="10" y="20"/>
                    </a:lnTo>
                    <a:lnTo>
                      <a:pt x="6" y="22"/>
                    </a:lnTo>
                    <a:lnTo>
                      <a:pt x="6" y="22"/>
                    </a:lnTo>
                    <a:lnTo>
                      <a:pt x="6" y="22"/>
                    </a:lnTo>
                    <a:lnTo>
                      <a:pt x="6" y="22"/>
                    </a:lnTo>
                    <a:lnTo>
                      <a:pt x="4" y="22"/>
                    </a:lnTo>
                    <a:lnTo>
                      <a:pt x="4" y="22"/>
                    </a:lnTo>
                    <a:lnTo>
                      <a:pt x="6" y="22"/>
                    </a:lnTo>
                    <a:lnTo>
                      <a:pt x="6" y="22"/>
                    </a:lnTo>
                    <a:lnTo>
                      <a:pt x="8" y="22"/>
                    </a:lnTo>
                    <a:lnTo>
                      <a:pt x="8" y="22"/>
                    </a:lnTo>
                    <a:lnTo>
                      <a:pt x="10" y="20"/>
                    </a:lnTo>
                    <a:lnTo>
                      <a:pt x="10" y="16"/>
                    </a:lnTo>
                    <a:lnTo>
                      <a:pt x="10" y="16"/>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8" name="Freeform 1566"/>
              <p:cNvSpPr>
                <a:spLocks/>
              </p:cNvSpPr>
              <p:nvPr/>
            </p:nvSpPr>
            <p:spPr bwMode="auto">
              <a:xfrm>
                <a:off x="4974" y="1466"/>
                <a:ext cx="10" cy="22"/>
              </a:xfrm>
              <a:custGeom>
                <a:avLst/>
                <a:gdLst>
                  <a:gd name="T0" fmla="*/ 0 w 10"/>
                  <a:gd name="T1" fmla="*/ 0 h 22"/>
                  <a:gd name="T2" fmla="*/ 0 w 10"/>
                  <a:gd name="T3" fmla="*/ 0 h 22"/>
                  <a:gd name="T4" fmla="*/ 0 w 10"/>
                  <a:gd name="T5" fmla="*/ 0 h 22"/>
                  <a:gd name="T6" fmla="*/ 0 w 10"/>
                  <a:gd name="T7" fmla="*/ 0 h 22"/>
                  <a:gd name="T8" fmla="*/ 10 w 10"/>
                  <a:gd name="T9" fmla="*/ 16 h 22"/>
                  <a:gd name="T10" fmla="*/ 10 w 10"/>
                  <a:gd name="T11" fmla="*/ 16 h 22"/>
                  <a:gd name="T12" fmla="*/ 10 w 10"/>
                  <a:gd name="T13" fmla="*/ 20 h 22"/>
                  <a:gd name="T14" fmla="*/ 6 w 10"/>
                  <a:gd name="T15" fmla="*/ 22 h 22"/>
                  <a:gd name="T16" fmla="*/ 6 w 10"/>
                  <a:gd name="T17" fmla="*/ 22 h 22"/>
                  <a:gd name="T18" fmla="*/ 6 w 10"/>
                  <a:gd name="T19" fmla="*/ 22 h 22"/>
                  <a:gd name="T20" fmla="*/ 6 w 10"/>
                  <a:gd name="T21" fmla="*/ 22 h 22"/>
                  <a:gd name="T22" fmla="*/ 4 w 10"/>
                  <a:gd name="T23" fmla="*/ 22 h 22"/>
                  <a:gd name="T24" fmla="*/ 4 w 10"/>
                  <a:gd name="T25" fmla="*/ 22 h 22"/>
                  <a:gd name="T26" fmla="*/ 6 w 10"/>
                  <a:gd name="T27" fmla="*/ 22 h 22"/>
                  <a:gd name="T28" fmla="*/ 6 w 10"/>
                  <a:gd name="T29" fmla="*/ 22 h 22"/>
                  <a:gd name="T30" fmla="*/ 8 w 10"/>
                  <a:gd name="T31" fmla="*/ 22 h 22"/>
                  <a:gd name="T32" fmla="*/ 8 w 10"/>
                  <a:gd name="T33" fmla="*/ 22 h 22"/>
                  <a:gd name="T34" fmla="*/ 10 w 10"/>
                  <a:gd name="T35" fmla="*/ 20 h 22"/>
                  <a:gd name="T36" fmla="*/ 10 w 10"/>
                  <a:gd name="T37" fmla="*/ 16 h 22"/>
                  <a:gd name="T38" fmla="*/ 10 w 10"/>
                  <a:gd name="T39" fmla="*/ 16 h 22"/>
                  <a:gd name="T40" fmla="*/ 0 w 10"/>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22">
                    <a:moveTo>
                      <a:pt x="0" y="0"/>
                    </a:moveTo>
                    <a:lnTo>
                      <a:pt x="0" y="0"/>
                    </a:lnTo>
                    <a:lnTo>
                      <a:pt x="0" y="0"/>
                    </a:lnTo>
                    <a:lnTo>
                      <a:pt x="0" y="0"/>
                    </a:lnTo>
                    <a:lnTo>
                      <a:pt x="10" y="16"/>
                    </a:lnTo>
                    <a:lnTo>
                      <a:pt x="10" y="16"/>
                    </a:lnTo>
                    <a:lnTo>
                      <a:pt x="10" y="20"/>
                    </a:lnTo>
                    <a:lnTo>
                      <a:pt x="6" y="22"/>
                    </a:lnTo>
                    <a:lnTo>
                      <a:pt x="6" y="22"/>
                    </a:lnTo>
                    <a:lnTo>
                      <a:pt x="6" y="22"/>
                    </a:lnTo>
                    <a:lnTo>
                      <a:pt x="6" y="22"/>
                    </a:lnTo>
                    <a:lnTo>
                      <a:pt x="4" y="22"/>
                    </a:lnTo>
                    <a:lnTo>
                      <a:pt x="4" y="22"/>
                    </a:lnTo>
                    <a:lnTo>
                      <a:pt x="6" y="22"/>
                    </a:lnTo>
                    <a:lnTo>
                      <a:pt x="6" y="22"/>
                    </a:lnTo>
                    <a:lnTo>
                      <a:pt x="8" y="22"/>
                    </a:lnTo>
                    <a:lnTo>
                      <a:pt x="8" y="22"/>
                    </a:lnTo>
                    <a:lnTo>
                      <a:pt x="10" y="20"/>
                    </a:lnTo>
                    <a:lnTo>
                      <a:pt x="10" y="16"/>
                    </a:lnTo>
                    <a:lnTo>
                      <a:pt x="1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9" name="Freeform 1567"/>
              <p:cNvSpPr>
                <a:spLocks/>
              </p:cNvSpPr>
              <p:nvPr/>
            </p:nvSpPr>
            <p:spPr bwMode="auto">
              <a:xfrm>
                <a:off x="5064" y="1470"/>
                <a:ext cx="16" cy="26"/>
              </a:xfrm>
              <a:custGeom>
                <a:avLst/>
                <a:gdLst>
                  <a:gd name="T0" fmla="*/ 14 w 16"/>
                  <a:gd name="T1" fmla="*/ 0 h 26"/>
                  <a:gd name="T2" fmla="*/ 14 w 16"/>
                  <a:gd name="T3" fmla="*/ 0 h 26"/>
                  <a:gd name="T4" fmla="*/ 12 w 16"/>
                  <a:gd name="T5" fmla="*/ 4 h 26"/>
                  <a:gd name="T6" fmla="*/ 12 w 16"/>
                  <a:gd name="T7" fmla="*/ 4 h 26"/>
                  <a:gd name="T8" fmla="*/ 0 w 16"/>
                  <a:gd name="T9" fmla="*/ 26 h 26"/>
                  <a:gd name="T10" fmla="*/ 0 w 16"/>
                  <a:gd name="T11" fmla="*/ 26 h 26"/>
                  <a:gd name="T12" fmla="*/ 2 w 16"/>
                  <a:gd name="T13" fmla="*/ 26 h 26"/>
                  <a:gd name="T14" fmla="*/ 2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6 w 16"/>
                  <a:gd name="T29" fmla="*/ 26 h 26"/>
                  <a:gd name="T30" fmla="*/ 16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2" y="4"/>
                    </a:lnTo>
                    <a:lnTo>
                      <a:pt x="12" y="4"/>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0" name="Freeform 1568"/>
              <p:cNvSpPr>
                <a:spLocks/>
              </p:cNvSpPr>
              <p:nvPr/>
            </p:nvSpPr>
            <p:spPr bwMode="auto">
              <a:xfrm>
                <a:off x="5064" y="1470"/>
                <a:ext cx="16" cy="26"/>
              </a:xfrm>
              <a:custGeom>
                <a:avLst/>
                <a:gdLst>
                  <a:gd name="T0" fmla="*/ 14 w 16"/>
                  <a:gd name="T1" fmla="*/ 0 h 26"/>
                  <a:gd name="T2" fmla="*/ 14 w 16"/>
                  <a:gd name="T3" fmla="*/ 0 h 26"/>
                  <a:gd name="T4" fmla="*/ 12 w 16"/>
                  <a:gd name="T5" fmla="*/ 4 h 26"/>
                  <a:gd name="T6" fmla="*/ 12 w 16"/>
                  <a:gd name="T7" fmla="*/ 4 h 26"/>
                  <a:gd name="T8" fmla="*/ 0 w 16"/>
                  <a:gd name="T9" fmla="*/ 26 h 26"/>
                  <a:gd name="T10" fmla="*/ 0 w 16"/>
                  <a:gd name="T11" fmla="*/ 26 h 26"/>
                  <a:gd name="T12" fmla="*/ 2 w 16"/>
                  <a:gd name="T13" fmla="*/ 26 h 26"/>
                  <a:gd name="T14" fmla="*/ 2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6 w 16"/>
                  <a:gd name="T29" fmla="*/ 26 h 26"/>
                  <a:gd name="T30" fmla="*/ 16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2" y="4"/>
                    </a:lnTo>
                    <a:lnTo>
                      <a:pt x="12" y="4"/>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1" name="Freeform 1569"/>
              <p:cNvSpPr>
                <a:spLocks noEditPoints="1"/>
              </p:cNvSpPr>
              <p:nvPr/>
            </p:nvSpPr>
            <p:spPr bwMode="auto">
              <a:xfrm>
                <a:off x="5064" y="1470"/>
                <a:ext cx="14" cy="26"/>
              </a:xfrm>
              <a:custGeom>
                <a:avLst/>
                <a:gdLst>
                  <a:gd name="T0" fmla="*/ 8 w 14"/>
                  <a:gd name="T1" fmla="*/ 26 h 26"/>
                  <a:gd name="T2" fmla="*/ 8 w 14"/>
                  <a:gd name="T3" fmla="*/ 26 h 26"/>
                  <a:gd name="T4" fmla="*/ 10 w 14"/>
                  <a:gd name="T5" fmla="*/ 26 h 26"/>
                  <a:gd name="T6" fmla="*/ 10 w 14"/>
                  <a:gd name="T7" fmla="*/ 26 h 26"/>
                  <a:gd name="T8" fmla="*/ 8 w 14"/>
                  <a:gd name="T9" fmla="*/ 26 h 26"/>
                  <a:gd name="T10" fmla="*/ 0 w 14"/>
                  <a:gd name="T11" fmla="*/ 26 h 26"/>
                  <a:gd name="T12" fmla="*/ 0 w 14"/>
                  <a:gd name="T13" fmla="*/ 26 h 26"/>
                  <a:gd name="T14" fmla="*/ 0 w 14"/>
                  <a:gd name="T15" fmla="*/ 26 h 26"/>
                  <a:gd name="T16" fmla="*/ 0 w 14"/>
                  <a:gd name="T17" fmla="*/ 26 h 26"/>
                  <a:gd name="T18" fmla="*/ 2 w 14"/>
                  <a:gd name="T19" fmla="*/ 26 h 26"/>
                  <a:gd name="T20" fmla="*/ 2 w 14"/>
                  <a:gd name="T21" fmla="*/ 26 h 26"/>
                  <a:gd name="T22" fmla="*/ 0 w 14"/>
                  <a:gd name="T23" fmla="*/ 26 h 26"/>
                  <a:gd name="T24" fmla="*/ 14 w 14"/>
                  <a:gd name="T25" fmla="*/ 0 h 26"/>
                  <a:gd name="T26" fmla="*/ 14 w 14"/>
                  <a:gd name="T27" fmla="*/ 0 h 26"/>
                  <a:gd name="T28" fmla="*/ 12 w 14"/>
                  <a:gd name="T29" fmla="*/ 4 h 26"/>
                  <a:gd name="T30" fmla="*/ 12 w 14"/>
                  <a:gd name="T31" fmla="*/ 4 h 26"/>
                  <a:gd name="T32" fmla="*/ 14 w 14"/>
                  <a:gd name="T33" fmla="*/ 0 h 26"/>
                  <a:gd name="T34" fmla="*/ 14 w 14"/>
                  <a:gd name="T35" fmla="*/ 0 h 26"/>
                  <a:gd name="T36" fmla="*/ 14 w 14"/>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6">
                    <a:moveTo>
                      <a:pt x="8" y="26"/>
                    </a:moveTo>
                    <a:lnTo>
                      <a:pt x="8" y="26"/>
                    </a:lnTo>
                    <a:lnTo>
                      <a:pt x="10" y="26"/>
                    </a:lnTo>
                    <a:lnTo>
                      <a:pt x="10" y="26"/>
                    </a:lnTo>
                    <a:lnTo>
                      <a:pt x="8" y="26"/>
                    </a:lnTo>
                    <a:close/>
                    <a:moveTo>
                      <a:pt x="0" y="26"/>
                    </a:moveTo>
                    <a:lnTo>
                      <a:pt x="0" y="26"/>
                    </a:lnTo>
                    <a:lnTo>
                      <a:pt x="0" y="26"/>
                    </a:lnTo>
                    <a:lnTo>
                      <a:pt x="0" y="26"/>
                    </a:lnTo>
                    <a:lnTo>
                      <a:pt x="2" y="26"/>
                    </a:lnTo>
                    <a:lnTo>
                      <a:pt x="2" y="26"/>
                    </a:lnTo>
                    <a:lnTo>
                      <a:pt x="0" y="26"/>
                    </a:lnTo>
                    <a:close/>
                    <a:moveTo>
                      <a:pt x="14" y="0"/>
                    </a:moveTo>
                    <a:lnTo>
                      <a:pt x="14" y="0"/>
                    </a:lnTo>
                    <a:lnTo>
                      <a:pt x="12" y="4"/>
                    </a:lnTo>
                    <a:lnTo>
                      <a:pt x="12" y="4"/>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2" name="Rectangle 1570"/>
              <p:cNvSpPr>
                <a:spLocks noChangeArrowheads="1"/>
              </p:cNvSpPr>
              <p:nvPr/>
            </p:nvSpPr>
            <p:spPr bwMode="auto">
              <a:xfrm>
                <a:off x="5072" y="1496"/>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3" name="Freeform 1571"/>
              <p:cNvSpPr>
                <a:spLocks/>
              </p:cNvSpPr>
              <p:nvPr/>
            </p:nvSpPr>
            <p:spPr bwMode="auto">
              <a:xfrm>
                <a:off x="5064" y="1496"/>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4" name="Freeform 1572"/>
              <p:cNvSpPr>
                <a:spLocks/>
              </p:cNvSpPr>
              <p:nvPr/>
            </p:nvSpPr>
            <p:spPr bwMode="auto">
              <a:xfrm>
                <a:off x="5076" y="1470"/>
                <a:ext cx="2" cy="4"/>
              </a:xfrm>
              <a:custGeom>
                <a:avLst/>
                <a:gdLst>
                  <a:gd name="T0" fmla="*/ 2 w 2"/>
                  <a:gd name="T1" fmla="*/ 0 h 4"/>
                  <a:gd name="T2" fmla="*/ 2 w 2"/>
                  <a:gd name="T3" fmla="*/ 0 h 4"/>
                  <a:gd name="T4" fmla="*/ 0 w 2"/>
                  <a:gd name="T5" fmla="*/ 4 h 4"/>
                  <a:gd name="T6" fmla="*/ 0 w 2"/>
                  <a:gd name="T7" fmla="*/ 4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4"/>
                    </a:lnTo>
                    <a:lnTo>
                      <a:pt x="0" y="4"/>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5" name="Freeform 1573"/>
              <p:cNvSpPr>
                <a:spLocks/>
              </p:cNvSpPr>
              <p:nvPr/>
            </p:nvSpPr>
            <p:spPr bwMode="auto">
              <a:xfrm>
                <a:off x="4962" y="1414"/>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10 h 20"/>
                  <a:gd name="T14" fmla="*/ 2 w 12"/>
                  <a:gd name="T15" fmla="*/ 14 h 20"/>
                  <a:gd name="T16" fmla="*/ 4 w 12"/>
                  <a:gd name="T17" fmla="*/ 18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20 h 20"/>
                  <a:gd name="T32" fmla="*/ 12 w 12"/>
                  <a:gd name="T33" fmla="*/ 16 h 20"/>
                  <a:gd name="T34" fmla="*/ 12 w 12"/>
                  <a:gd name="T35" fmla="*/ 16 h 20"/>
                  <a:gd name="T36" fmla="*/ 10 w 12"/>
                  <a:gd name="T37" fmla="*/ 18 h 20"/>
                  <a:gd name="T38" fmla="*/ 10 w 12"/>
                  <a:gd name="T39" fmla="*/ 18 h 20"/>
                  <a:gd name="T40" fmla="*/ 6 w 12"/>
                  <a:gd name="T41" fmla="*/ 18 h 20"/>
                  <a:gd name="T42" fmla="*/ 6 w 12"/>
                  <a:gd name="T43" fmla="*/ 18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10"/>
                    </a:lnTo>
                    <a:lnTo>
                      <a:pt x="2" y="14"/>
                    </a:lnTo>
                    <a:lnTo>
                      <a:pt x="4" y="18"/>
                    </a:lnTo>
                    <a:lnTo>
                      <a:pt x="6" y="20"/>
                    </a:lnTo>
                    <a:lnTo>
                      <a:pt x="6" y="20"/>
                    </a:lnTo>
                    <a:lnTo>
                      <a:pt x="6" y="20"/>
                    </a:lnTo>
                    <a:lnTo>
                      <a:pt x="6" y="20"/>
                    </a:lnTo>
                    <a:lnTo>
                      <a:pt x="8" y="20"/>
                    </a:lnTo>
                    <a:lnTo>
                      <a:pt x="8" y="20"/>
                    </a:lnTo>
                    <a:lnTo>
                      <a:pt x="10" y="20"/>
                    </a:lnTo>
                    <a:lnTo>
                      <a:pt x="12" y="16"/>
                    </a:lnTo>
                    <a:lnTo>
                      <a:pt x="12" y="16"/>
                    </a:lnTo>
                    <a:lnTo>
                      <a:pt x="10" y="18"/>
                    </a:lnTo>
                    <a:lnTo>
                      <a:pt x="10" y="18"/>
                    </a:lnTo>
                    <a:lnTo>
                      <a:pt x="6" y="18"/>
                    </a:lnTo>
                    <a:lnTo>
                      <a:pt x="6" y="18"/>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6" name="Freeform 1574"/>
              <p:cNvSpPr>
                <a:spLocks/>
              </p:cNvSpPr>
              <p:nvPr/>
            </p:nvSpPr>
            <p:spPr bwMode="auto">
              <a:xfrm>
                <a:off x="4962" y="1414"/>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10 h 20"/>
                  <a:gd name="T14" fmla="*/ 2 w 12"/>
                  <a:gd name="T15" fmla="*/ 14 h 20"/>
                  <a:gd name="T16" fmla="*/ 4 w 12"/>
                  <a:gd name="T17" fmla="*/ 18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20 h 20"/>
                  <a:gd name="T32" fmla="*/ 12 w 12"/>
                  <a:gd name="T33" fmla="*/ 16 h 20"/>
                  <a:gd name="T34" fmla="*/ 12 w 12"/>
                  <a:gd name="T35" fmla="*/ 16 h 20"/>
                  <a:gd name="T36" fmla="*/ 10 w 12"/>
                  <a:gd name="T37" fmla="*/ 18 h 20"/>
                  <a:gd name="T38" fmla="*/ 10 w 12"/>
                  <a:gd name="T39" fmla="*/ 18 h 20"/>
                  <a:gd name="T40" fmla="*/ 6 w 12"/>
                  <a:gd name="T41" fmla="*/ 18 h 20"/>
                  <a:gd name="T42" fmla="*/ 6 w 12"/>
                  <a:gd name="T43" fmla="*/ 18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10"/>
                    </a:lnTo>
                    <a:lnTo>
                      <a:pt x="2" y="14"/>
                    </a:lnTo>
                    <a:lnTo>
                      <a:pt x="4" y="18"/>
                    </a:lnTo>
                    <a:lnTo>
                      <a:pt x="6" y="20"/>
                    </a:lnTo>
                    <a:lnTo>
                      <a:pt x="6" y="20"/>
                    </a:lnTo>
                    <a:lnTo>
                      <a:pt x="6" y="20"/>
                    </a:lnTo>
                    <a:lnTo>
                      <a:pt x="6" y="20"/>
                    </a:lnTo>
                    <a:lnTo>
                      <a:pt x="8" y="20"/>
                    </a:lnTo>
                    <a:lnTo>
                      <a:pt x="8" y="20"/>
                    </a:lnTo>
                    <a:lnTo>
                      <a:pt x="10" y="20"/>
                    </a:lnTo>
                    <a:lnTo>
                      <a:pt x="12" y="16"/>
                    </a:lnTo>
                    <a:lnTo>
                      <a:pt x="12" y="16"/>
                    </a:lnTo>
                    <a:lnTo>
                      <a:pt x="10" y="18"/>
                    </a:lnTo>
                    <a:lnTo>
                      <a:pt x="10" y="18"/>
                    </a:lnTo>
                    <a:lnTo>
                      <a:pt x="6" y="18"/>
                    </a:lnTo>
                    <a:lnTo>
                      <a:pt x="6" y="18"/>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7" name="Freeform 1575"/>
              <p:cNvSpPr>
                <a:spLocks noEditPoints="1"/>
              </p:cNvSpPr>
              <p:nvPr/>
            </p:nvSpPr>
            <p:spPr bwMode="auto">
              <a:xfrm>
                <a:off x="4966" y="1414"/>
                <a:ext cx="10" cy="20"/>
              </a:xfrm>
              <a:custGeom>
                <a:avLst/>
                <a:gdLst>
                  <a:gd name="T0" fmla="*/ 10 w 10"/>
                  <a:gd name="T1" fmla="*/ 16 h 20"/>
                  <a:gd name="T2" fmla="*/ 10 w 10"/>
                  <a:gd name="T3" fmla="*/ 16 h 20"/>
                  <a:gd name="T4" fmla="*/ 8 w 10"/>
                  <a:gd name="T5" fmla="*/ 16 h 20"/>
                  <a:gd name="T6" fmla="*/ 8 w 10"/>
                  <a:gd name="T7" fmla="*/ 16 h 20"/>
                  <a:gd name="T8" fmla="*/ 6 w 10"/>
                  <a:gd name="T9" fmla="*/ 20 h 20"/>
                  <a:gd name="T10" fmla="*/ 4 w 10"/>
                  <a:gd name="T11" fmla="*/ 20 h 20"/>
                  <a:gd name="T12" fmla="*/ 4 w 10"/>
                  <a:gd name="T13" fmla="*/ 20 h 20"/>
                  <a:gd name="T14" fmla="*/ 2 w 10"/>
                  <a:gd name="T15" fmla="*/ 20 h 20"/>
                  <a:gd name="T16" fmla="*/ 2 w 10"/>
                  <a:gd name="T17" fmla="*/ 20 h 20"/>
                  <a:gd name="T18" fmla="*/ 4 w 10"/>
                  <a:gd name="T19" fmla="*/ 20 h 20"/>
                  <a:gd name="T20" fmla="*/ 4 w 10"/>
                  <a:gd name="T21" fmla="*/ 20 h 20"/>
                  <a:gd name="T22" fmla="*/ 8 w 10"/>
                  <a:gd name="T23" fmla="*/ 20 h 20"/>
                  <a:gd name="T24" fmla="*/ 10 w 10"/>
                  <a:gd name="T25" fmla="*/ 16 h 20"/>
                  <a:gd name="T26" fmla="*/ 4 w 10"/>
                  <a:gd name="T27" fmla="*/ 0 h 20"/>
                  <a:gd name="T28" fmla="*/ 4 w 10"/>
                  <a:gd name="T29" fmla="*/ 0 h 20"/>
                  <a:gd name="T30" fmla="*/ 2 w 10"/>
                  <a:gd name="T31" fmla="*/ 0 h 20"/>
                  <a:gd name="T32" fmla="*/ 2 w 10"/>
                  <a:gd name="T33" fmla="*/ 0 h 20"/>
                  <a:gd name="T34" fmla="*/ 2 w 10"/>
                  <a:gd name="T35" fmla="*/ 0 h 20"/>
                  <a:gd name="T36" fmla="*/ 2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2 w 10"/>
                  <a:gd name="T55" fmla="*/ 18 h 20"/>
                  <a:gd name="T56" fmla="*/ 2 w 10"/>
                  <a:gd name="T57" fmla="*/ 18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6"/>
                    </a:moveTo>
                    <a:lnTo>
                      <a:pt x="10" y="16"/>
                    </a:lnTo>
                    <a:lnTo>
                      <a:pt x="8" y="16"/>
                    </a:lnTo>
                    <a:lnTo>
                      <a:pt x="8" y="16"/>
                    </a:lnTo>
                    <a:lnTo>
                      <a:pt x="6" y="20"/>
                    </a:lnTo>
                    <a:lnTo>
                      <a:pt x="4" y="20"/>
                    </a:lnTo>
                    <a:lnTo>
                      <a:pt x="4" y="20"/>
                    </a:lnTo>
                    <a:lnTo>
                      <a:pt x="2" y="20"/>
                    </a:lnTo>
                    <a:lnTo>
                      <a:pt x="2" y="20"/>
                    </a:lnTo>
                    <a:lnTo>
                      <a:pt x="4" y="20"/>
                    </a:lnTo>
                    <a:lnTo>
                      <a:pt x="4" y="20"/>
                    </a:lnTo>
                    <a:lnTo>
                      <a:pt x="8" y="20"/>
                    </a:lnTo>
                    <a:lnTo>
                      <a:pt x="10" y="16"/>
                    </a:lnTo>
                    <a:close/>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8"/>
                    </a:lnTo>
                    <a:lnTo>
                      <a:pt x="2" y="18"/>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8" name="Freeform 1576"/>
              <p:cNvSpPr>
                <a:spLocks/>
              </p:cNvSpPr>
              <p:nvPr/>
            </p:nvSpPr>
            <p:spPr bwMode="auto">
              <a:xfrm>
                <a:off x="4968" y="1430"/>
                <a:ext cx="8" cy="4"/>
              </a:xfrm>
              <a:custGeom>
                <a:avLst/>
                <a:gdLst>
                  <a:gd name="T0" fmla="*/ 8 w 8"/>
                  <a:gd name="T1" fmla="*/ 0 h 4"/>
                  <a:gd name="T2" fmla="*/ 8 w 8"/>
                  <a:gd name="T3" fmla="*/ 0 h 4"/>
                  <a:gd name="T4" fmla="*/ 6 w 8"/>
                  <a:gd name="T5" fmla="*/ 0 h 4"/>
                  <a:gd name="T6" fmla="*/ 6 w 8"/>
                  <a:gd name="T7" fmla="*/ 0 h 4"/>
                  <a:gd name="T8" fmla="*/ 4 w 8"/>
                  <a:gd name="T9" fmla="*/ 4 h 4"/>
                  <a:gd name="T10" fmla="*/ 2 w 8"/>
                  <a:gd name="T11" fmla="*/ 4 h 4"/>
                  <a:gd name="T12" fmla="*/ 2 w 8"/>
                  <a:gd name="T13" fmla="*/ 4 h 4"/>
                  <a:gd name="T14" fmla="*/ 0 w 8"/>
                  <a:gd name="T15" fmla="*/ 4 h 4"/>
                  <a:gd name="T16" fmla="*/ 0 w 8"/>
                  <a:gd name="T17" fmla="*/ 4 h 4"/>
                  <a:gd name="T18" fmla="*/ 2 w 8"/>
                  <a:gd name="T19" fmla="*/ 4 h 4"/>
                  <a:gd name="T20" fmla="*/ 2 w 8"/>
                  <a:gd name="T21" fmla="*/ 4 h 4"/>
                  <a:gd name="T22" fmla="*/ 6 w 8"/>
                  <a:gd name="T23" fmla="*/ 4 h 4"/>
                  <a:gd name="T24" fmla="*/ 8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8" y="0"/>
                    </a:moveTo>
                    <a:lnTo>
                      <a:pt x="8" y="0"/>
                    </a:lnTo>
                    <a:lnTo>
                      <a:pt x="6" y="0"/>
                    </a:lnTo>
                    <a:lnTo>
                      <a:pt x="6" y="0"/>
                    </a:lnTo>
                    <a:lnTo>
                      <a:pt x="4" y="4"/>
                    </a:lnTo>
                    <a:lnTo>
                      <a:pt x="2" y="4"/>
                    </a:lnTo>
                    <a:lnTo>
                      <a:pt x="2" y="4"/>
                    </a:lnTo>
                    <a:lnTo>
                      <a:pt x="0" y="4"/>
                    </a:lnTo>
                    <a:lnTo>
                      <a:pt x="0" y="4"/>
                    </a:lnTo>
                    <a:lnTo>
                      <a:pt x="2" y="4"/>
                    </a:lnTo>
                    <a:lnTo>
                      <a:pt x="2" y="4"/>
                    </a:lnTo>
                    <a:lnTo>
                      <a:pt x="6" y="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9" name="Freeform 1577"/>
              <p:cNvSpPr>
                <a:spLocks/>
              </p:cNvSpPr>
              <p:nvPr/>
            </p:nvSpPr>
            <p:spPr bwMode="auto">
              <a:xfrm>
                <a:off x="4966" y="1414"/>
                <a:ext cx="4" cy="18"/>
              </a:xfrm>
              <a:custGeom>
                <a:avLst/>
                <a:gdLst>
                  <a:gd name="T0" fmla="*/ 4 w 4"/>
                  <a:gd name="T1" fmla="*/ 0 h 18"/>
                  <a:gd name="T2" fmla="*/ 4 w 4"/>
                  <a:gd name="T3" fmla="*/ 0 h 18"/>
                  <a:gd name="T4" fmla="*/ 2 w 4"/>
                  <a:gd name="T5" fmla="*/ 0 h 18"/>
                  <a:gd name="T6" fmla="*/ 2 w 4"/>
                  <a:gd name="T7" fmla="*/ 0 h 18"/>
                  <a:gd name="T8" fmla="*/ 2 w 4"/>
                  <a:gd name="T9" fmla="*/ 0 h 18"/>
                  <a:gd name="T10" fmla="*/ 2 w 4"/>
                  <a:gd name="T11" fmla="*/ 0 h 18"/>
                  <a:gd name="T12" fmla="*/ 4 w 4"/>
                  <a:gd name="T13" fmla="*/ 0 h 18"/>
                  <a:gd name="T14" fmla="*/ 4 w 4"/>
                  <a:gd name="T15" fmla="*/ 0 h 18"/>
                  <a:gd name="T16" fmla="*/ 4 w 4"/>
                  <a:gd name="T17" fmla="*/ 0 h 18"/>
                  <a:gd name="T18" fmla="*/ 4 w 4"/>
                  <a:gd name="T19" fmla="*/ 0 h 18"/>
                  <a:gd name="T20" fmla="*/ 0 w 4"/>
                  <a:gd name="T21" fmla="*/ 12 h 18"/>
                  <a:gd name="T22" fmla="*/ 0 w 4"/>
                  <a:gd name="T23" fmla="*/ 12 h 18"/>
                  <a:gd name="T24" fmla="*/ 2 w 4"/>
                  <a:gd name="T25" fmla="*/ 16 h 18"/>
                  <a:gd name="T26" fmla="*/ 2 w 4"/>
                  <a:gd name="T27" fmla="*/ 16 h 18"/>
                  <a:gd name="T28" fmla="*/ 2 w 4"/>
                  <a:gd name="T29" fmla="*/ 18 h 18"/>
                  <a:gd name="T30" fmla="*/ 2 w 4"/>
                  <a:gd name="T31" fmla="*/ 18 h 18"/>
                  <a:gd name="T32" fmla="*/ 2 w 4"/>
                  <a:gd name="T33" fmla="*/ 16 h 18"/>
                  <a:gd name="T34" fmla="*/ 2 w 4"/>
                  <a:gd name="T35" fmla="*/ 16 h 18"/>
                  <a:gd name="T36" fmla="*/ 0 w 4"/>
                  <a:gd name="T37" fmla="*/ 12 h 18"/>
                  <a:gd name="T38" fmla="*/ 0 w 4"/>
                  <a:gd name="T39" fmla="*/ 12 h 18"/>
                  <a:gd name="T40" fmla="*/ 4 w 4"/>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8">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8"/>
                    </a:lnTo>
                    <a:lnTo>
                      <a:pt x="2" y="18"/>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0" name="Freeform 1578"/>
              <p:cNvSpPr>
                <a:spLocks noEditPoints="1"/>
              </p:cNvSpPr>
              <p:nvPr/>
            </p:nvSpPr>
            <p:spPr bwMode="auto">
              <a:xfrm>
                <a:off x="5076" y="1404"/>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4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4"/>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1" name="Freeform 1579"/>
              <p:cNvSpPr>
                <a:spLocks/>
              </p:cNvSpPr>
              <p:nvPr/>
            </p:nvSpPr>
            <p:spPr bwMode="auto">
              <a:xfrm>
                <a:off x="5082" y="1410"/>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2" name="Freeform 1580"/>
              <p:cNvSpPr>
                <a:spLocks/>
              </p:cNvSpPr>
              <p:nvPr/>
            </p:nvSpPr>
            <p:spPr bwMode="auto">
              <a:xfrm>
                <a:off x="5076" y="1404"/>
                <a:ext cx="20" cy="14"/>
              </a:xfrm>
              <a:custGeom>
                <a:avLst/>
                <a:gdLst>
                  <a:gd name="T0" fmla="*/ 14 w 20"/>
                  <a:gd name="T1" fmla="*/ 0 h 14"/>
                  <a:gd name="T2" fmla="*/ 14 w 20"/>
                  <a:gd name="T3" fmla="*/ 0 h 14"/>
                  <a:gd name="T4" fmla="*/ 8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4"/>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3" name="Freeform 1581"/>
              <p:cNvSpPr>
                <a:spLocks/>
              </p:cNvSpPr>
              <p:nvPr/>
            </p:nvSpPr>
            <p:spPr bwMode="auto">
              <a:xfrm>
                <a:off x="5030" y="1394"/>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2 h 18"/>
                  <a:gd name="T22" fmla="*/ 10 w 22"/>
                  <a:gd name="T23" fmla="*/ 12 h 18"/>
                  <a:gd name="T24" fmla="*/ 14 w 22"/>
                  <a:gd name="T25" fmla="*/ 4 h 18"/>
                  <a:gd name="T26" fmla="*/ 18 w 22"/>
                  <a:gd name="T27" fmla="*/ 2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4" name="Freeform 1582"/>
              <p:cNvSpPr>
                <a:spLocks/>
              </p:cNvSpPr>
              <p:nvPr/>
            </p:nvSpPr>
            <p:spPr bwMode="auto">
              <a:xfrm>
                <a:off x="5030" y="1394"/>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2 h 18"/>
                  <a:gd name="T22" fmla="*/ 10 w 22"/>
                  <a:gd name="T23" fmla="*/ 12 h 18"/>
                  <a:gd name="T24" fmla="*/ 14 w 22"/>
                  <a:gd name="T25" fmla="*/ 4 h 18"/>
                  <a:gd name="T26" fmla="*/ 18 w 22"/>
                  <a:gd name="T27" fmla="*/ 2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5" name="Freeform 1583"/>
              <p:cNvSpPr>
                <a:spLocks/>
              </p:cNvSpPr>
              <p:nvPr/>
            </p:nvSpPr>
            <p:spPr bwMode="auto">
              <a:xfrm>
                <a:off x="5126" y="139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6" name="Freeform 1584"/>
              <p:cNvSpPr>
                <a:spLocks/>
              </p:cNvSpPr>
              <p:nvPr/>
            </p:nvSpPr>
            <p:spPr bwMode="auto">
              <a:xfrm>
                <a:off x="5126" y="139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7" name="Freeform 1585"/>
              <p:cNvSpPr>
                <a:spLocks/>
              </p:cNvSpPr>
              <p:nvPr/>
            </p:nvSpPr>
            <p:spPr bwMode="auto">
              <a:xfrm>
                <a:off x="5072" y="1394"/>
                <a:ext cx="6" cy="8"/>
              </a:xfrm>
              <a:custGeom>
                <a:avLst/>
                <a:gdLst>
                  <a:gd name="T0" fmla="*/ 6 w 6"/>
                  <a:gd name="T1" fmla="*/ 0 h 8"/>
                  <a:gd name="T2" fmla="*/ 6 w 6"/>
                  <a:gd name="T3" fmla="*/ 0 h 8"/>
                  <a:gd name="T4" fmla="*/ 0 w 6"/>
                  <a:gd name="T5" fmla="*/ 2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2"/>
                    </a:lnTo>
                    <a:lnTo>
                      <a:pt x="0" y="4"/>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8" name="Freeform 1586"/>
              <p:cNvSpPr>
                <a:spLocks/>
              </p:cNvSpPr>
              <p:nvPr/>
            </p:nvSpPr>
            <p:spPr bwMode="auto">
              <a:xfrm>
                <a:off x="5072" y="1394"/>
                <a:ext cx="6" cy="8"/>
              </a:xfrm>
              <a:custGeom>
                <a:avLst/>
                <a:gdLst>
                  <a:gd name="T0" fmla="*/ 6 w 6"/>
                  <a:gd name="T1" fmla="*/ 0 h 8"/>
                  <a:gd name="T2" fmla="*/ 6 w 6"/>
                  <a:gd name="T3" fmla="*/ 0 h 8"/>
                  <a:gd name="T4" fmla="*/ 0 w 6"/>
                  <a:gd name="T5" fmla="*/ 2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2"/>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9" name="Freeform 1587"/>
              <p:cNvSpPr>
                <a:spLocks/>
              </p:cNvSpPr>
              <p:nvPr/>
            </p:nvSpPr>
            <p:spPr bwMode="auto">
              <a:xfrm>
                <a:off x="5086"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0" name="Freeform 1588"/>
              <p:cNvSpPr>
                <a:spLocks/>
              </p:cNvSpPr>
              <p:nvPr/>
            </p:nvSpPr>
            <p:spPr bwMode="auto">
              <a:xfrm>
                <a:off x="5086"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1" name="Freeform 1589"/>
              <p:cNvSpPr>
                <a:spLocks/>
              </p:cNvSpPr>
              <p:nvPr/>
            </p:nvSpPr>
            <p:spPr bwMode="auto">
              <a:xfrm>
                <a:off x="5082"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2" name="Freeform 1590"/>
              <p:cNvSpPr>
                <a:spLocks/>
              </p:cNvSpPr>
              <p:nvPr/>
            </p:nvSpPr>
            <p:spPr bwMode="auto">
              <a:xfrm>
                <a:off x="5082"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3" name="Freeform 1591"/>
              <p:cNvSpPr>
                <a:spLocks/>
              </p:cNvSpPr>
              <p:nvPr/>
            </p:nvSpPr>
            <p:spPr bwMode="auto">
              <a:xfrm>
                <a:off x="5082"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4" name="Freeform 1592"/>
              <p:cNvSpPr>
                <a:spLocks/>
              </p:cNvSpPr>
              <p:nvPr/>
            </p:nvSpPr>
            <p:spPr bwMode="auto">
              <a:xfrm>
                <a:off x="5082"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5" name="Freeform 1593"/>
              <p:cNvSpPr>
                <a:spLocks/>
              </p:cNvSpPr>
              <p:nvPr/>
            </p:nvSpPr>
            <p:spPr bwMode="auto">
              <a:xfrm>
                <a:off x="631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6" name="Freeform 1594"/>
              <p:cNvSpPr>
                <a:spLocks/>
              </p:cNvSpPr>
              <p:nvPr/>
            </p:nvSpPr>
            <p:spPr bwMode="auto">
              <a:xfrm>
                <a:off x="641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7" name="Freeform 1595"/>
              <p:cNvSpPr>
                <a:spLocks/>
              </p:cNvSpPr>
              <p:nvPr/>
            </p:nvSpPr>
            <p:spPr bwMode="auto">
              <a:xfrm>
                <a:off x="6504"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8" name="Freeform 1596"/>
              <p:cNvSpPr>
                <a:spLocks/>
              </p:cNvSpPr>
              <p:nvPr/>
            </p:nvSpPr>
            <p:spPr bwMode="auto">
              <a:xfrm>
                <a:off x="691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9" name="Freeform 1597"/>
              <p:cNvSpPr>
                <a:spLocks/>
              </p:cNvSpPr>
              <p:nvPr/>
            </p:nvSpPr>
            <p:spPr bwMode="auto">
              <a:xfrm>
                <a:off x="700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0" name="Freeform 1598"/>
              <p:cNvSpPr>
                <a:spLocks/>
              </p:cNvSpPr>
              <p:nvPr/>
            </p:nvSpPr>
            <p:spPr bwMode="auto">
              <a:xfrm>
                <a:off x="7098"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1" name="Freeform 1599"/>
              <p:cNvSpPr>
                <a:spLocks/>
              </p:cNvSpPr>
              <p:nvPr/>
            </p:nvSpPr>
            <p:spPr bwMode="auto">
              <a:xfrm>
                <a:off x="718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2" name="Freeform 1600"/>
              <p:cNvSpPr>
                <a:spLocks/>
              </p:cNvSpPr>
              <p:nvPr/>
            </p:nvSpPr>
            <p:spPr bwMode="auto">
              <a:xfrm>
                <a:off x="742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3" name="Freeform 1601"/>
              <p:cNvSpPr>
                <a:spLocks/>
              </p:cNvSpPr>
              <p:nvPr/>
            </p:nvSpPr>
            <p:spPr bwMode="auto">
              <a:xfrm>
                <a:off x="751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4" name="Freeform 1602"/>
              <p:cNvSpPr>
                <a:spLocks/>
              </p:cNvSpPr>
              <p:nvPr/>
            </p:nvSpPr>
            <p:spPr bwMode="auto">
              <a:xfrm>
                <a:off x="7280"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5" name="Freeform 1603"/>
              <p:cNvSpPr>
                <a:spLocks/>
              </p:cNvSpPr>
              <p:nvPr/>
            </p:nvSpPr>
            <p:spPr bwMode="auto">
              <a:xfrm>
                <a:off x="7280"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6" name="Freeform 1604"/>
              <p:cNvSpPr>
                <a:spLocks/>
              </p:cNvSpPr>
              <p:nvPr/>
            </p:nvSpPr>
            <p:spPr bwMode="auto">
              <a:xfrm>
                <a:off x="7340" y="1162"/>
                <a:ext cx="48" cy="144"/>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7" name="Freeform 1605"/>
              <p:cNvSpPr>
                <a:spLocks/>
              </p:cNvSpPr>
              <p:nvPr/>
            </p:nvSpPr>
            <p:spPr bwMode="auto">
              <a:xfrm>
                <a:off x="7340" y="1162"/>
                <a:ext cx="48" cy="144"/>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8" name="Freeform 1606"/>
              <p:cNvSpPr>
                <a:spLocks noEditPoints="1"/>
              </p:cNvSpPr>
              <p:nvPr/>
            </p:nvSpPr>
            <p:spPr bwMode="auto">
              <a:xfrm>
                <a:off x="6138"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9" name="Freeform 1607"/>
              <p:cNvSpPr>
                <a:spLocks noEditPoints="1"/>
              </p:cNvSpPr>
              <p:nvPr/>
            </p:nvSpPr>
            <p:spPr bwMode="auto">
              <a:xfrm>
                <a:off x="6276" y="1158"/>
                <a:ext cx="98" cy="148"/>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0" name="Freeform 1608"/>
              <p:cNvSpPr>
                <a:spLocks noEditPoints="1"/>
              </p:cNvSpPr>
              <p:nvPr/>
            </p:nvSpPr>
            <p:spPr bwMode="auto">
              <a:xfrm>
                <a:off x="6686" y="1178"/>
                <a:ext cx="100" cy="148"/>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1" name="Freeform 1609"/>
              <p:cNvSpPr>
                <a:spLocks/>
              </p:cNvSpPr>
              <p:nvPr/>
            </p:nvSpPr>
            <p:spPr bwMode="auto">
              <a:xfrm>
                <a:off x="6824"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2" name="Freeform 1610"/>
              <p:cNvSpPr>
                <a:spLocks/>
              </p:cNvSpPr>
              <p:nvPr/>
            </p:nvSpPr>
            <p:spPr bwMode="auto">
              <a:xfrm>
                <a:off x="6414"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3" name="Freeform 1611"/>
              <p:cNvSpPr>
                <a:spLocks/>
              </p:cNvSpPr>
              <p:nvPr/>
            </p:nvSpPr>
            <p:spPr bwMode="auto">
              <a:xfrm>
                <a:off x="650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1" name="Group 1813"/>
            <p:cNvGrpSpPr>
              <a:grpSpLocks/>
            </p:cNvGrpSpPr>
            <p:nvPr/>
          </p:nvGrpSpPr>
          <p:grpSpPr bwMode="auto">
            <a:xfrm>
              <a:off x="6603977" y="917575"/>
              <a:ext cx="5400656" cy="838200"/>
              <a:chOff x="4160" y="778"/>
              <a:chExt cx="3402" cy="528"/>
            </a:xfrm>
          </p:grpSpPr>
          <p:sp>
            <p:nvSpPr>
              <p:cNvPr id="1194" name="Freeform 1613"/>
              <p:cNvSpPr>
                <a:spLocks/>
              </p:cNvSpPr>
              <p:nvPr/>
            </p:nvSpPr>
            <p:spPr bwMode="auto">
              <a:xfrm>
                <a:off x="6598"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5" name="Freeform 1614"/>
              <p:cNvSpPr>
                <a:spLocks/>
              </p:cNvSpPr>
              <p:nvPr/>
            </p:nvSpPr>
            <p:spPr bwMode="auto">
              <a:xfrm>
                <a:off x="416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6" name="Freeform 1615"/>
              <p:cNvSpPr>
                <a:spLocks/>
              </p:cNvSpPr>
              <p:nvPr/>
            </p:nvSpPr>
            <p:spPr bwMode="auto">
              <a:xfrm>
                <a:off x="4252"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7" name="Freeform 1616"/>
              <p:cNvSpPr>
                <a:spLocks/>
              </p:cNvSpPr>
              <p:nvPr/>
            </p:nvSpPr>
            <p:spPr bwMode="auto">
              <a:xfrm>
                <a:off x="4344"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8" name="Freeform 1617"/>
              <p:cNvSpPr>
                <a:spLocks/>
              </p:cNvSpPr>
              <p:nvPr/>
            </p:nvSpPr>
            <p:spPr bwMode="auto">
              <a:xfrm>
                <a:off x="4662"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9" name="Freeform 1618"/>
              <p:cNvSpPr>
                <a:spLocks/>
              </p:cNvSpPr>
              <p:nvPr/>
            </p:nvSpPr>
            <p:spPr bwMode="auto">
              <a:xfrm>
                <a:off x="4662"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0" name="Freeform 1619"/>
              <p:cNvSpPr>
                <a:spLocks/>
              </p:cNvSpPr>
              <p:nvPr/>
            </p:nvSpPr>
            <p:spPr bwMode="auto">
              <a:xfrm>
                <a:off x="4722" y="1162"/>
                <a:ext cx="46" cy="144"/>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1" name="Freeform 1620"/>
              <p:cNvSpPr>
                <a:spLocks/>
              </p:cNvSpPr>
              <p:nvPr/>
            </p:nvSpPr>
            <p:spPr bwMode="auto">
              <a:xfrm>
                <a:off x="4722" y="1162"/>
                <a:ext cx="46" cy="144"/>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2" name="Freeform 1621"/>
              <p:cNvSpPr>
                <a:spLocks/>
              </p:cNvSpPr>
              <p:nvPr/>
            </p:nvSpPr>
            <p:spPr bwMode="auto">
              <a:xfrm>
                <a:off x="480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3" name="Freeform 1622"/>
              <p:cNvSpPr>
                <a:spLocks/>
              </p:cNvSpPr>
              <p:nvPr/>
            </p:nvSpPr>
            <p:spPr bwMode="auto">
              <a:xfrm>
                <a:off x="490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4" name="Freeform 1623"/>
              <p:cNvSpPr>
                <a:spLocks/>
              </p:cNvSpPr>
              <p:nvPr/>
            </p:nvSpPr>
            <p:spPr bwMode="auto">
              <a:xfrm>
                <a:off x="4990"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5" name="Freeform 1624"/>
              <p:cNvSpPr>
                <a:spLocks noEditPoints="1"/>
              </p:cNvSpPr>
              <p:nvPr/>
            </p:nvSpPr>
            <p:spPr bwMode="auto">
              <a:xfrm>
                <a:off x="4434" y="1160"/>
                <a:ext cx="188" cy="144"/>
              </a:xfrm>
              <a:custGeom>
                <a:avLst/>
                <a:gdLst>
                  <a:gd name="T0" fmla="*/ 120 w 188"/>
                  <a:gd name="T1" fmla="*/ 126 h 144"/>
                  <a:gd name="T2" fmla="*/ 110 w 188"/>
                  <a:gd name="T3" fmla="*/ 114 h 144"/>
                  <a:gd name="T4" fmla="*/ 6 w 188"/>
                  <a:gd name="T5" fmla="*/ 112 h 144"/>
                  <a:gd name="T6" fmla="*/ 14 w 188"/>
                  <a:gd name="T7" fmla="*/ 100 h 144"/>
                  <a:gd name="T8" fmla="*/ 20 w 188"/>
                  <a:gd name="T9" fmla="*/ 122 h 144"/>
                  <a:gd name="T10" fmla="*/ 6 w 188"/>
                  <a:gd name="T11" fmla="*/ 60 h 144"/>
                  <a:gd name="T12" fmla="*/ 12 w 188"/>
                  <a:gd name="T13" fmla="*/ 68 h 144"/>
                  <a:gd name="T14" fmla="*/ 2 w 188"/>
                  <a:gd name="T15" fmla="*/ 58 h 144"/>
                  <a:gd name="T16" fmla="*/ 8 w 188"/>
                  <a:gd name="T17" fmla="*/ 48 h 144"/>
                  <a:gd name="T18" fmla="*/ 114 w 188"/>
                  <a:gd name="T19" fmla="*/ 4 h 144"/>
                  <a:gd name="T20" fmla="*/ 146 w 188"/>
                  <a:gd name="T21" fmla="*/ 22 h 144"/>
                  <a:gd name="T22" fmla="*/ 154 w 188"/>
                  <a:gd name="T23" fmla="*/ 40 h 144"/>
                  <a:gd name="T24" fmla="*/ 146 w 188"/>
                  <a:gd name="T25" fmla="*/ 52 h 144"/>
                  <a:gd name="T26" fmla="*/ 150 w 188"/>
                  <a:gd name="T27" fmla="*/ 56 h 144"/>
                  <a:gd name="T28" fmla="*/ 158 w 188"/>
                  <a:gd name="T29" fmla="*/ 60 h 144"/>
                  <a:gd name="T30" fmla="*/ 168 w 188"/>
                  <a:gd name="T31" fmla="*/ 34 h 144"/>
                  <a:gd name="T32" fmla="*/ 184 w 188"/>
                  <a:gd name="T33" fmla="*/ 40 h 144"/>
                  <a:gd name="T34" fmla="*/ 158 w 188"/>
                  <a:gd name="T35" fmla="*/ 88 h 144"/>
                  <a:gd name="T36" fmla="*/ 130 w 188"/>
                  <a:gd name="T37" fmla="*/ 94 h 144"/>
                  <a:gd name="T38" fmla="*/ 140 w 188"/>
                  <a:gd name="T39" fmla="*/ 94 h 144"/>
                  <a:gd name="T40" fmla="*/ 136 w 188"/>
                  <a:gd name="T41" fmla="*/ 100 h 144"/>
                  <a:gd name="T42" fmla="*/ 106 w 188"/>
                  <a:gd name="T43" fmla="*/ 86 h 144"/>
                  <a:gd name="T44" fmla="*/ 100 w 188"/>
                  <a:gd name="T45" fmla="*/ 126 h 144"/>
                  <a:gd name="T46" fmla="*/ 80 w 188"/>
                  <a:gd name="T47" fmla="*/ 142 h 144"/>
                  <a:gd name="T48" fmla="*/ 78 w 188"/>
                  <a:gd name="T49" fmla="*/ 118 h 144"/>
                  <a:gd name="T50" fmla="*/ 66 w 188"/>
                  <a:gd name="T51" fmla="*/ 116 h 144"/>
                  <a:gd name="T52" fmla="*/ 52 w 188"/>
                  <a:gd name="T53" fmla="*/ 112 h 144"/>
                  <a:gd name="T54" fmla="*/ 46 w 188"/>
                  <a:gd name="T55" fmla="*/ 136 h 144"/>
                  <a:gd name="T56" fmla="*/ 24 w 188"/>
                  <a:gd name="T57" fmla="*/ 130 h 144"/>
                  <a:gd name="T58" fmla="*/ 20 w 188"/>
                  <a:gd name="T59" fmla="*/ 106 h 144"/>
                  <a:gd name="T60" fmla="*/ 30 w 188"/>
                  <a:gd name="T61" fmla="*/ 46 h 144"/>
                  <a:gd name="T62" fmla="*/ 46 w 188"/>
                  <a:gd name="T63" fmla="*/ 50 h 144"/>
                  <a:gd name="T64" fmla="*/ 48 w 188"/>
                  <a:gd name="T65" fmla="*/ 80 h 144"/>
                  <a:gd name="T66" fmla="*/ 62 w 188"/>
                  <a:gd name="T67" fmla="*/ 98 h 144"/>
                  <a:gd name="T68" fmla="*/ 94 w 188"/>
                  <a:gd name="T69" fmla="*/ 84 h 144"/>
                  <a:gd name="T70" fmla="*/ 92 w 188"/>
                  <a:gd name="T71" fmla="*/ 60 h 144"/>
                  <a:gd name="T72" fmla="*/ 72 w 188"/>
                  <a:gd name="T73" fmla="*/ 92 h 144"/>
                  <a:gd name="T74" fmla="*/ 52 w 188"/>
                  <a:gd name="T75" fmla="*/ 84 h 144"/>
                  <a:gd name="T76" fmla="*/ 44 w 188"/>
                  <a:gd name="T77" fmla="*/ 66 h 144"/>
                  <a:gd name="T78" fmla="*/ 76 w 188"/>
                  <a:gd name="T79" fmla="*/ 24 h 144"/>
                  <a:gd name="T80" fmla="*/ 112 w 188"/>
                  <a:gd name="T81" fmla="*/ 0 h 144"/>
                  <a:gd name="T82" fmla="*/ 72 w 188"/>
                  <a:gd name="T83" fmla="*/ 22 h 144"/>
                  <a:gd name="T84" fmla="*/ 32 w 188"/>
                  <a:gd name="T85" fmla="*/ 40 h 144"/>
                  <a:gd name="T86" fmla="*/ 10 w 188"/>
                  <a:gd name="T87" fmla="*/ 54 h 144"/>
                  <a:gd name="T88" fmla="*/ 2 w 188"/>
                  <a:gd name="T89" fmla="*/ 50 h 144"/>
                  <a:gd name="T90" fmla="*/ 12 w 188"/>
                  <a:gd name="T91" fmla="*/ 72 h 144"/>
                  <a:gd name="T92" fmla="*/ 4 w 188"/>
                  <a:gd name="T93" fmla="*/ 102 h 144"/>
                  <a:gd name="T94" fmla="*/ 22 w 188"/>
                  <a:gd name="T95" fmla="*/ 126 h 144"/>
                  <a:gd name="T96" fmla="*/ 34 w 188"/>
                  <a:gd name="T97" fmla="*/ 140 h 144"/>
                  <a:gd name="T98" fmla="*/ 50 w 188"/>
                  <a:gd name="T99" fmla="*/ 134 h 144"/>
                  <a:gd name="T100" fmla="*/ 64 w 188"/>
                  <a:gd name="T101" fmla="*/ 128 h 144"/>
                  <a:gd name="T102" fmla="*/ 88 w 188"/>
                  <a:gd name="T103" fmla="*/ 140 h 144"/>
                  <a:gd name="T104" fmla="*/ 120 w 188"/>
                  <a:gd name="T105" fmla="*/ 132 h 144"/>
                  <a:gd name="T106" fmla="*/ 120 w 188"/>
                  <a:gd name="T107" fmla="*/ 104 h 144"/>
                  <a:gd name="T108" fmla="*/ 134 w 188"/>
                  <a:gd name="T109" fmla="*/ 104 h 144"/>
                  <a:gd name="T110" fmla="*/ 152 w 188"/>
                  <a:gd name="T111" fmla="*/ 90 h 144"/>
                  <a:gd name="T112" fmla="*/ 184 w 188"/>
                  <a:gd name="T113" fmla="*/ 72 h 144"/>
                  <a:gd name="T114" fmla="*/ 180 w 188"/>
                  <a:gd name="T115" fmla="*/ 24 h 144"/>
                  <a:gd name="T116" fmla="*/ 162 w 188"/>
                  <a:gd name="T117" fmla="*/ 32 h 144"/>
                  <a:gd name="T118" fmla="*/ 138 w 188"/>
                  <a:gd name="T119" fmla="*/ 1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144">
                    <a:moveTo>
                      <a:pt x="116" y="104"/>
                    </a:move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04" y="130"/>
                    </a:lnTo>
                    <a:lnTo>
                      <a:pt x="104" y="130"/>
                    </a:lnTo>
                    <a:lnTo>
                      <a:pt x="110" y="114"/>
                    </a:lnTo>
                    <a:lnTo>
                      <a:pt x="110" y="114"/>
                    </a:lnTo>
                    <a:lnTo>
                      <a:pt x="116" y="104"/>
                    </a:lnTo>
                    <a:lnTo>
                      <a:pt x="116" y="104"/>
                    </a:lnTo>
                    <a:lnTo>
                      <a:pt x="116" y="104"/>
                    </a:lnTo>
                    <a:close/>
                    <a:moveTo>
                      <a:pt x="18" y="122"/>
                    </a:moveTo>
                    <a:lnTo>
                      <a:pt x="18" y="122"/>
                    </a:lnTo>
                    <a:lnTo>
                      <a:pt x="14" y="120"/>
                    </a:lnTo>
                    <a:lnTo>
                      <a:pt x="10" y="116"/>
                    </a:lnTo>
                    <a:lnTo>
                      <a:pt x="6" y="112"/>
                    </a:lnTo>
                    <a:lnTo>
                      <a:pt x="4" y="108"/>
                    </a:lnTo>
                    <a:lnTo>
                      <a:pt x="4"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8" y="122"/>
                    </a:lnTo>
                    <a:close/>
                    <a:moveTo>
                      <a:pt x="10" y="48"/>
                    </a:moveTo>
                    <a:lnTo>
                      <a:pt x="10" y="48"/>
                    </a:lnTo>
                    <a:lnTo>
                      <a:pt x="10" y="48"/>
                    </a:lnTo>
                    <a:lnTo>
                      <a:pt x="10" y="48"/>
                    </a:lnTo>
                    <a:lnTo>
                      <a:pt x="6" y="60"/>
                    </a:lnTo>
                    <a:lnTo>
                      <a:pt x="6" y="60"/>
                    </a:lnTo>
                    <a:lnTo>
                      <a:pt x="6" y="64"/>
                    </a:lnTo>
                    <a:lnTo>
                      <a:pt x="6" y="64"/>
                    </a:lnTo>
                    <a:lnTo>
                      <a:pt x="10" y="64"/>
                    </a:lnTo>
                    <a:lnTo>
                      <a:pt x="10" y="64"/>
                    </a:lnTo>
                    <a:lnTo>
                      <a:pt x="14" y="64"/>
                    </a:lnTo>
                    <a:lnTo>
                      <a:pt x="14" y="64"/>
                    </a:lnTo>
                    <a:lnTo>
                      <a:pt x="14" y="66"/>
                    </a:lnTo>
                    <a:lnTo>
                      <a:pt x="12" y="68"/>
                    </a:lnTo>
                    <a:lnTo>
                      <a:pt x="12" y="68"/>
                    </a:lnTo>
                    <a:lnTo>
                      <a:pt x="8" y="68"/>
                    </a:lnTo>
                    <a:lnTo>
                      <a:pt x="8" y="68"/>
                    </a:lnTo>
                    <a:lnTo>
                      <a:pt x="6" y="68"/>
                    </a:lnTo>
                    <a:lnTo>
                      <a:pt x="6" y="68"/>
                    </a:lnTo>
                    <a:lnTo>
                      <a:pt x="4" y="66"/>
                    </a:lnTo>
                    <a:lnTo>
                      <a:pt x="2"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48"/>
                    </a:lnTo>
                    <a:lnTo>
                      <a:pt x="160" y="48"/>
                    </a:lnTo>
                    <a:lnTo>
                      <a:pt x="158" y="60"/>
                    </a:lnTo>
                    <a:lnTo>
                      <a:pt x="158" y="60"/>
                    </a:lnTo>
                    <a:lnTo>
                      <a:pt x="162" y="50"/>
                    </a:lnTo>
                    <a:lnTo>
                      <a:pt x="160" y="42"/>
                    </a:lnTo>
                    <a:lnTo>
                      <a:pt x="160"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08" y="112"/>
                    </a:lnTo>
                    <a:lnTo>
                      <a:pt x="104"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8" y="112"/>
                    </a:lnTo>
                    <a:lnTo>
                      <a:pt x="76"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2"/>
                    </a:lnTo>
                    <a:lnTo>
                      <a:pt x="48" y="86"/>
                    </a:lnTo>
                    <a:lnTo>
                      <a:pt x="48" y="86"/>
                    </a:lnTo>
                    <a:lnTo>
                      <a:pt x="48" y="90"/>
                    </a:lnTo>
                    <a:lnTo>
                      <a:pt x="48" y="90"/>
                    </a:lnTo>
                    <a:lnTo>
                      <a:pt x="56" y="96"/>
                    </a:lnTo>
                    <a:lnTo>
                      <a:pt x="62" y="98"/>
                    </a:lnTo>
                    <a:lnTo>
                      <a:pt x="62" y="98"/>
                    </a:lnTo>
                    <a:lnTo>
                      <a:pt x="68" y="98"/>
                    </a:lnTo>
                    <a:lnTo>
                      <a:pt x="72" y="96"/>
                    </a:lnTo>
                    <a:lnTo>
                      <a:pt x="72" y="96"/>
                    </a:lnTo>
                    <a:lnTo>
                      <a:pt x="82" y="90"/>
                    </a:lnTo>
                    <a:lnTo>
                      <a:pt x="92" y="88"/>
                    </a:lnTo>
                    <a:lnTo>
                      <a:pt x="92" y="88"/>
                    </a:lnTo>
                    <a:lnTo>
                      <a:pt x="94" y="84"/>
                    </a:lnTo>
                    <a:lnTo>
                      <a:pt x="94" y="84"/>
                    </a:lnTo>
                    <a:lnTo>
                      <a:pt x="96" y="78"/>
                    </a:lnTo>
                    <a:lnTo>
                      <a:pt x="96" y="72"/>
                    </a:lnTo>
                    <a:lnTo>
                      <a:pt x="96" y="58"/>
                    </a:lnTo>
                    <a:lnTo>
                      <a:pt x="96"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8"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2"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4" y="140"/>
                    </a:lnTo>
                    <a:lnTo>
                      <a:pt x="42" y="142"/>
                    </a:lnTo>
                    <a:lnTo>
                      <a:pt x="42" y="142"/>
                    </a:lnTo>
                    <a:lnTo>
                      <a:pt x="44" y="142"/>
                    </a:lnTo>
                    <a:lnTo>
                      <a:pt x="44" y="142"/>
                    </a:lnTo>
                    <a:lnTo>
                      <a:pt x="48"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6" name="Freeform 1625"/>
              <p:cNvSpPr>
                <a:spLocks/>
              </p:cNvSpPr>
              <p:nvPr/>
            </p:nvSpPr>
            <p:spPr bwMode="auto">
              <a:xfrm>
                <a:off x="4538" y="1264"/>
                <a:ext cx="16" cy="26"/>
              </a:xfrm>
              <a:custGeom>
                <a:avLst/>
                <a:gdLst>
                  <a:gd name="T0" fmla="*/ 12 w 16"/>
                  <a:gd name="T1" fmla="*/ 0 h 26"/>
                  <a:gd name="T2" fmla="*/ 12 w 16"/>
                  <a:gd name="T3" fmla="*/ 0 h 26"/>
                  <a:gd name="T4" fmla="*/ 12 w 16"/>
                  <a:gd name="T5" fmla="*/ 0 h 26"/>
                  <a:gd name="T6" fmla="*/ 12 w 16"/>
                  <a:gd name="T7" fmla="*/ 0 h 26"/>
                  <a:gd name="T8" fmla="*/ 16 w 16"/>
                  <a:gd name="T9" fmla="*/ 8 h 26"/>
                  <a:gd name="T10" fmla="*/ 16 w 16"/>
                  <a:gd name="T11" fmla="*/ 8 h 26"/>
                  <a:gd name="T12" fmla="*/ 16 w 16"/>
                  <a:gd name="T13" fmla="*/ 22 h 26"/>
                  <a:gd name="T14" fmla="*/ 16 w 16"/>
                  <a:gd name="T15" fmla="*/ 22 h 26"/>
                  <a:gd name="T16" fmla="*/ 14 w 16"/>
                  <a:gd name="T17" fmla="*/ 26 h 26"/>
                  <a:gd name="T18" fmla="*/ 14 w 16"/>
                  <a:gd name="T19" fmla="*/ 26 h 26"/>
                  <a:gd name="T20" fmla="*/ 10 w 16"/>
                  <a:gd name="T21" fmla="*/ 26 h 26"/>
                  <a:gd name="T22" fmla="*/ 10 w 16"/>
                  <a:gd name="T23" fmla="*/ 26 h 26"/>
                  <a:gd name="T24" fmla="*/ 0 w 16"/>
                  <a:gd name="T25" fmla="*/ 26 h 26"/>
                  <a:gd name="T26" fmla="*/ 0 w 16"/>
                  <a:gd name="T27" fmla="*/ 26 h 26"/>
                  <a:gd name="T28" fmla="*/ 6 w 16"/>
                  <a:gd name="T29" fmla="*/ 10 h 26"/>
                  <a:gd name="T30" fmla="*/ 6 w 16"/>
                  <a:gd name="T31" fmla="*/ 10 h 26"/>
                  <a:gd name="T32" fmla="*/ 12 w 16"/>
                  <a:gd name="T33" fmla="*/ 0 h 26"/>
                  <a:gd name="T34" fmla="*/ 12 w 16"/>
                  <a:gd name="T35" fmla="*/ 0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12" y="0"/>
                    </a:lnTo>
                    <a:lnTo>
                      <a:pt x="12" y="0"/>
                    </a:lnTo>
                    <a:lnTo>
                      <a:pt x="16" y="8"/>
                    </a:lnTo>
                    <a:lnTo>
                      <a:pt x="16" y="8"/>
                    </a:lnTo>
                    <a:lnTo>
                      <a:pt x="16" y="22"/>
                    </a:lnTo>
                    <a:lnTo>
                      <a:pt x="16" y="22"/>
                    </a:lnTo>
                    <a:lnTo>
                      <a:pt x="14" y="26"/>
                    </a:lnTo>
                    <a:lnTo>
                      <a:pt x="14" y="26"/>
                    </a:lnTo>
                    <a:lnTo>
                      <a:pt x="10" y="26"/>
                    </a:lnTo>
                    <a:lnTo>
                      <a:pt x="10" y="26"/>
                    </a:lnTo>
                    <a:lnTo>
                      <a:pt x="0" y="26"/>
                    </a:lnTo>
                    <a:lnTo>
                      <a:pt x="0" y="26"/>
                    </a:lnTo>
                    <a:lnTo>
                      <a:pt x="6" y="10"/>
                    </a:lnTo>
                    <a:lnTo>
                      <a:pt x="6" y="10"/>
                    </a:lnTo>
                    <a:lnTo>
                      <a:pt x="12" y="0"/>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7" name="Freeform 1626"/>
              <p:cNvSpPr>
                <a:spLocks/>
              </p:cNvSpPr>
              <p:nvPr/>
            </p:nvSpPr>
            <p:spPr bwMode="auto">
              <a:xfrm>
                <a:off x="4438" y="1260"/>
                <a:ext cx="20" cy="22"/>
              </a:xfrm>
              <a:custGeom>
                <a:avLst/>
                <a:gdLst>
                  <a:gd name="T0" fmla="*/ 14 w 20"/>
                  <a:gd name="T1" fmla="*/ 22 h 22"/>
                  <a:gd name="T2" fmla="*/ 14 w 20"/>
                  <a:gd name="T3" fmla="*/ 22 h 22"/>
                  <a:gd name="T4" fmla="*/ 10 w 20"/>
                  <a:gd name="T5" fmla="*/ 20 h 22"/>
                  <a:gd name="T6" fmla="*/ 6 w 20"/>
                  <a:gd name="T7" fmla="*/ 16 h 22"/>
                  <a:gd name="T8" fmla="*/ 2 w 20"/>
                  <a:gd name="T9" fmla="*/ 12 h 22"/>
                  <a:gd name="T10" fmla="*/ 0 w 20"/>
                  <a:gd name="T11" fmla="*/ 8 h 22"/>
                  <a:gd name="T12" fmla="*/ 0 w 20"/>
                  <a:gd name="T13" fmla="*/ 8 h 22"/>
                  <a:gd name="T14" fmla="*/ 2 w 20"/>
                  <a:gd name="T15" fmla="*/ 4 h 22"/>
                  <a:gd name="T16" fmla="*/ 2 w 20"/>
                  <a:gd name="T17" fmla="*/ 4 h 22"/>
                  <a:gd name="T18" fmla="*/ 10 w 20"/>
                  <a:gd name="T19" fmla="*/ 0 h 22"/>
                  <a:gd name="T20" fmla="*/ 10 w 20"/>
                  <a:gd name="T21" fmla="*/ 0 h 22"/>
                  <a:gd name="T22" fmla="*/ 10 w 20"/>
                  <a:gd name="T23" fmla="*/ 0 h 22"/>
                  <a:gd name="T24" fmla="*/ 10 w 20"/>
                  <a:gd name="T25" fmla="*/ 0 h 22"/>
                  <a:gd name="T26" fmla="*/ 10 w 20"/>
                  <a:gd name="T27" fmla="*/ 0 h 22"/>
                  <a:gd name="T28" fmla="*/ 10 w 20"/>
                  <a:gd name="T29" fmla="*/ 0 h 22"/>
                  <a:gd name="T30" fmla="*/ 20 w 20"/>
                  <a:gd name="T31" fmla="*/ 16 h 22"/>
                  <a:gd name="T32" fmla="*/ 20 w 20"/>
                  <a:gd name="T33" fmla="*/ 16 h 22"/>
                  <a:gd name="T34" fmla="*/ 20 w 20"/>
                  <a:gd name="T35" fmla="*/ 20 h 22"/>
                  <a:gd name="T36" fmla="*/ 16 w 20"/>
                  <a:gd name="T37" fmla="*/ 22 h 22"/>
                  <a:gd name="T38" fmla="*/ 16 w 20"/>
                  <a:gd name="T39" fmla="*/ 22 h 22"/>
                  <a:gd name="T40" fmla="*/ 16 w 20"/>
                  <a:gd name="T41" fmla="*/ 22 h 22"/>
                  <a:gd name="T42" fmla="*/ 16 w 20"/>
                  <a:gd name="T43" fmla="*/ 22 h 22"/>
                  <a:gd name="T44" fmla="*/ 14 w 20"/>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2">
                    <a:moveTo>
                      <a:pt x="14" y="22"/>
                    </a:moveTo>
                    <a:lnTo>
                      <a:pt x="14" y="22"/>
                    </a:lnTo>
                    <a:lnTo>
                      <a:pt x="10" y="20"/>
                    </a:lnTo>
                    <a:lnTo>
                      <a:pt x="6" y="16"/>
                    </a:lnTo>
                    <a:lnTo>
                      <a:pt x="2" y="12"/>
                    </a:lnTo>
                    <a:lnTo>
                      <a:pt x="0" y="8"/>
                    </a:lnTo>
                    <a:lnTo>
                      <a:pt x="0" y="8"/>
                    </a:lnTo>
                    <a:lnTo>
                      <a:pt x="2" y="4"/>
                    </a:lnTo>
                    <a:lnTo>
                      <a:pt x="2" y="4"/>
                    </a:lnTo>
                    <a:lnTo>
                      <a:pt x="10" y="0"/>
                    </a:lnTo>
                    <a:lnTo>
                      <a:pt x="10" y="0"/>
                    </a:lnTo>
                    <a:lnTo>
                      <a:pt x="10" y="0"/>
                    </a:lnTo>
                    <a:lnTo>
                      <a:pt x="10" y="0"/>
                    </a:lnTo>
                    <a:lnTo>
                      <a:pt x="10" y="0"/>
                    </a:lnTo>
                    <a:lnTo>
                      <a:pt x="10" y="0"/>
                    </a:lnTo>
                    <a:lnTo>
                      <a:pt x="20" y="16"/>
                    </a:lnTo>
                    <a:lnTo>
                      <a:pt x="20" y="16"/>
                    </a:lnTo>
                    <a:lnTo>
                      <a:pt x="20"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8" name="Freeform 1627"/>
              <p:cNvSpPr>
                <a:spLocks/>
              </p:cNvSpPr>
              <p:nvPr/>
            </p:nvSpPr>
            <p:spPr bwMode="auto">
              <a:xfrm>
                <a:off x="4436" y="1208"/>
                <a:ext cx="12" cy="20"/>
              </a:xfrm>
              <a:custGeom>
                <a:avLst/>
                <a:gdLst>
                  <a:gd name="T0" fmla="*/ 8 w 12"/>
                  <a:gd name="T1" fmla="*/ 0 h 20"/>
                  <a:gd name="T2" fmla="*/ 8 w 12"/>
                  <a:gd name="T3" fmla="*/ 0 h 20"/>
                  <a:gd name="T4" fmla="*/ 8 w 12"/>
                  <a:gd name="T5" fmla="*/ 0 h 20"/>
                  <a:gd name="T6" fmla="*/ 8 w 12"/>
                  <a:gd name="T7" fmla="*/ 0 h 20"/>
                  <a:gd name="T8" fmla="*/ 4 w 12"/>
                  <a:gd name="T9" fmla="*/ 12 h 20"/>
                  <a:gd name="T10" fmla="*/ 4 w 12"/>
                  <a:gd name="T11" fmla="*/ 12 h 20"/>
                  <a:gd name="T12" fmla="*/ 4 w 12"/>
                  <a:gd name="T13" fmla="*/ 16 h 20"/>
                  <a:gd name="T14" fmla="*/ 4 w 12"/>
                  <a:gd name="T15" fmla="*/ 16 h 20"/>
                  <a:gd name="T16" fmla="*/ 8 w 12"/>
                  <a:gd name="T17" fmla="*/ 16 h 20"/>
                  <a:gd name="T18" fmla="*/ 8 w 12"/>
                  <a:gd name="T19" fmla="*/ 16 h 20"/>
                  <a:gd name="T20" fmla="*/ 12 w 12"/>
                  <a:gd name="T21" fmla="*/ 16 h 20"/>
                  <a:gd name="T22" fmla="*/ 12 w 12"/>
                  <a:gd name="T23" fmla="*/ 16 h 20"/>
                  <a:gd name="T24" fmla="*/ 12 w 12"/>
                  <a:gd name="T25" fmla="*/ 18 h 20"/>
                  <a:gd name="T26" fmla="*/ 10 w 12"/>
                  <a:gd name="T27" fmla="*/ 20 h 20"/>
                  <a:gd name="T28" fmla="*/ 10 w 12"/>
                  <a:gd name="T29" fmla="*/ 20 h 20"/>
                  <a:gd name="T30" fmla="*/ 6 w 12"/>
                  <a:gd name="T31" fmla="*/ 20 h 20"/>
                  <a:gd name="T32" fmla="*/ 6 w 12"/>
                  <a:gd name="T33" fmla="*/ 20 h 20"/>
                  <a:gd name="T34" fmla="*/ 4 w 12"/>
                  <a:gd name="T35" fmla="*/ 20 h 20"/>
                  <a:gd name="T36" fmla="*/ 4 w 12"/>
                  <a:gd name="T37" fmla="*/ 20 h 20"/>
                  <a:gd name="T38" fmla="*/ 2 w 12"/>
                  <a:gd name="T39" fmla="*/ 18 h 20"/>
                  <a:gd name="T40" fmla="*/ 0 w 12"/>
                  <a:gd name="T41" fmla="*/ 14 h 20"/>
                  <a:gd name="T42" fmla="*/ 0 w 12"/>
                  <a:gd name="T43" fmla="*/ 10 h 20"/>
                  <a:gd name="T44" fmla="*/ 0 w 12"/>
                  <a:gd name="T45" fmla="*/ 6 h 20"/>
                  <a:gd name="T46" fmla="*/ 0 w 12"/>
                  <a:gd name="T47" fmla="*/ 6 h 20"/>
                  <a:gd name="T48" fmla="*/ 0 w 12"/>
                  <a:gd name="T49" fmla="*/ 6 h 20"/>
                  <a:gd name="T50" fmla="*/ 0 w 12"/>
                  <a:gd name="T51" fmla="*/ 6 h 20"/>
                  <a:gd name="T52" fmla="*/ 0 w 12"/>
                  <a:gd name="T53" fmla="*/ 6 h 20"/>
                  <a:gd name="T54" fmla="*/ 0 w 12"/>
                  <a:gd name="T55" fmla="*/ 6 h 20"/>
                  <a:gd name="T56" fmla="*/ 6 w 12"/>
                  <a:gd name="T57" fmla="*/ 0 h 20"/>
                  <a:gd name="T58" fmla="*/ 6 w 12"/>
                  <a:gd name="T59" fmla="*/ 0 h 20"/>
                  <a:gd name="T60" fmla="*/ 8 w 12"/>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20">
                    <a:moveTo>
                      <a:pt x="8" y="0"/>
                    </a:moveTo>
                    <a:lnTo>
                      <a:pt x="8" y="0"/>
                    </a:lnTo>
                    <a:lnTo>
                      <a:pt x="8" y="0"/>
                    </a:lnTo>
                    <a:lnTo>
                      <a:pt x="8" y="0"/>
                    </a:lnTo>
                    <a:lnTo>
                      <a:pt x="4" y="12"/>
                    </a:lnTo>
                    <a:lnTo>
                      <a:pt x="4" y="12"/>
                    </a:lnTo>
                    <a:lnTo>
                      <a:pt x="4" y="16"/>
                    </a:lnTo>
                    <a:lnTo>
                      <a:pt x="4" y="16"/>
                    </a:lnTo>
                    <a:lnTo>
                      <a:pt x="8" y="16"/>
                    </a:lnTo>
                    <a:lnTo>
                      <a:pt x="8" y="16"/>
                    </a:lnTo>
                    <a:lnTo>
                      <a:pt x="12" y="16"/>
                    </a:lnTo>
                    <a:lnTo>
                      <a:pt x="12" y="16"/>
                    </a:lnTo>
                    <a:lnTo>
                      <a:pt x="12" y="18"/>
                    </a:lnTo>
                    <a:lnTo>
                      <a:pt x="10" y="20"/>
                    </a:lnTo>
                    <a:lnTo>
                      <a:pt x="10" y="20"/>
                    </a:lnTo>
                    <a:lnTo>
                      <a:pt x="6" y="20"/>
                    </a:lnTo>
                    <a:lnTo>
                      <a:pt x="6" y="20"/>
                    </a:lnTo>
                    <a:lnTo>
                      <a:pt x="4" y="20"/>
                    </a:lnTo>
                    <a:lnTo>
                      <a:pt x="4" y="20"/>
                    </a:lnTo>
                    <a:lnTo>
                      <a:pt x="2" y="18"/>
                    </a:lnTo>
                    <a:lnTo>
                      <a:pt x="0"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9" name="Freeform 1628"/>
              <p:cNvSpPr>
                <a:spLocks/>
              </p:cNvSpPr>
              <p:nvPr/>
            </p:nvSpPr>
            <p:spPr bwMode="auto">
              <a:xfrm>
                <a:off x="4448" y="1164"/>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4"/>
                    </a:lnTo>
                    <a:lnTo>
                      <a:pt x="146" y="44"/>
                    </a:lnTo>
                    <a:lnTo>
                      <a:pt x="144" y="56"/>
                    </a:lnTo>
                    <a:lnTo>
                      <a:pt x="144" y="56"/>
                    </a:lnTo>
                    <a:lnTo>
                      <a:pt x="148" y="46"/>
                    </a:lnTo>
                    <a:lnTo>
                      <a:pt x="146" y="38"/>
                    </a:lnTo>
                    <a:lnTo>
                      <a:pt x="146"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4" y="108"/>
                    </a:lnTo>
                    <a:lnTo>
                      <a:pt x="90"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4" y="108"/>
                    </a:lnTo>
                    <a:lnTo>
                      <a:pt x="62"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78"/>
                    </a:lnTo>
                    <a:lnTo>
                      <a:pt x="34" y="82"/>
                    </a:lnTo>
                    <a:lnTo>
                      <a:pt x="34" y="82"/>
                    </a:lnTo>
                    <a:lnTo>
                      <a:pt x="34" y="86"/>
                    </a:lnTo>
                    <a:lnTo>
                      <a:pt x="34" y="86"/>
                    </a:lnTo>
                    <a:lnTo>
                      <a:pt x="42" y="92"/>
                    </a:lnTo>
                    <a:lnTo>
                      <a:pt x="48" y="94"/>
                    </a:lnTo>
                    <a:lnTo>
                      <a:pt x="48" y="94"/>
                    </a:lnTo>
                    <a:lnTo>
                      <a:pt x="54" y="94"/>
                    </a:lnTo>
                    <a:lnTo>
                      <a:pt x="58" y="92"/>
                    </a:lnTo>
                    <a:lnTo>
                      <a:pt x="58" y="92"/>
                    </a:lnTo>
                    <a:lnTo>
                      <a:pt x="68" y="86"/>
                    </a:lnTo>
                    <a:lnTo>
                      <a:pt x="78" y="84"/>
                    </a:lnTo>
                    <a:lnTo>
                      <a:pt x="78" y="84"/>
                    </a:lnTo>
                    <a:lnTo>
                      <a:pt x="80" y="80"/>
                    </a:lnTo>
                    <a:lnTo>
                      <a:pt x="80" y="80"/>
                    </a:lnTo>
                    <a:lnTo>
                      <a:pt x="82" y="74"/>
                    </a:lnTo>
                    <a:lnTo>
                      <a:pt x="82" y="68"/>
                    </a:lnTo>
                    <a:lnTo>
                      <a:pt x="82" y="54"/>
                    </a:lnTo>
                    <a:lnTo>
                      <a:pt x="82"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4"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0" name="Freeform 1629"/>
              <p:cNvSpPr>
                <a:spLocks/>
              </p:cNvSpPr>
              <p:nvPr/>
            </p:nvSpPr>
            <p:spPr bwMode="auto">
              <a:xfrm>
                <a:off x="4434" y="1160"/>
                <a:ext cx="188" cy="144"/>
              </a:xfrm>
              <a:custGeom>
                <a:avLst/>
                <a:gdLst>
                  <a:gd name="T0" fmla="*/ 104 w 188"/>
                  <a:gd name="T1" fmla="*/ 2 h 144"/>
                  <a:gd name="T2" fmla="*/ 84 w 188"/>
                  <a:gd name="T3" fmla="*/ 12 h 144"/>
                  <a:gd name="T4" fmla="*/ 76 w 188"/>
                  <a:gd name="T5" fmla="*/ 20 h 144"/>
                  <a:gd name="T6" fmla="*/ 70 w 188"/>
                  <a:gd name="T7" fmla="*/ 22 h 144"/>
                  <a:gd name="T8" fmla="*/ 52 w 188"/>
                  <a:gd name="T9" fmla="*/ 32 h 144"/>
                  <a:gd name="T10" fmla="*/ 32 w 188"/>
                  <a:gd name="T11" fmla="*/ 40 h 144"/>
                  <a:gd name="T12" fmla="*/ 18 w 188"/>
                  <a:gd name="T13" fmla="*/ 56 h 144"/>
                  <a:gd name="T14" fmla="*/ 8 w 188"/>
                  <a:gd name="T15" fmla="*/ 62 h 144"/>
                  <a:gd name="T16" fmla="*/ 10 w 188"/>
                  <a:gd name="T17" fmla="*/ 54 h 144"/>
                  <a:gd name="T18" fmla="*/ 12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8 w 188"/>
                  <a:gd name="T31" fmla="*/ 98 h 144"/>
                  <a:gd name="T32" fmla="*/ 2 w 188"/>
                  <a:gd name="T33" fmla="*/ 106 h 144"/>
                  <a:gd name="T34" fmla="*/ 6 w 188"/>
                  <a:gd name="T35" fmla="*/ 116 h 144"/>
                  <a:gd name="T36" fmla="*/ 16 w 188"/>
                  <a:gd name="T37" fmla="*/ 124 h 144"/>
                  <a:gd name="T38" fmla="*/ 20 w 188"/>
                  <a:gd name="T39" fmla="*/ 130 h 144"/>
                  <a:gd name="T40" fmla="*/ 22 w 188"/>
                  <a:gd name="T41" fmla="*/ 136 h 144"/>
                  <a:gd name="T42" fmla="*/ 34 w 188"/>
                  <a:gd name="T43" fmla="*/ 140 h 144"/>
                  <a:gd name="T44" fmla="*/ 44 w 188"/>
                  <a:gd name="T45" fmla="*/ 142 h 144"/>
                  <a:gd name="T46" fmla="*/ 48 w 188"/>
                  <a:gd name="T47" fmla="*/ 140 h 144"/>
                  <a:gd name="T48" fmla="*/ 52 w 188"/>
                  <a:gd name="T49" fmla="*/ 130 h 144"/>
                  <a:gd name="T50" fmla="*/ 56 w 188"/>
                  <a:gd name="T51" fmla="*/ 118 h 144"/>
                  <a:gd name="T52" fmla="*/ 64 w 188"/>
                  <a:gd name="T53" fmla="*/ 124 h 144"/>
                  <a:gd name="T54" fmla="*/ 74 w 188"/>
                  <a:gd name="T55" fmla="*/ 142 h 144"/>
                  <a:gd name="T56" fmla="*/ 80 w 188"/>
                  <a:gd name="T57" fmla="*/ 144 h 144"/>
                  <a:gd name="T58" fmla="*/ 88 w 188"/>
                  <a:gd name="T59" fmla="*/ 140 h 144"/>
                  <a:gd name="T60" fmla="*/ 96 w 188"/>
                  <a:gd name="T61" fmla="*/ 132 h 144"/>
                  <a:gd name="T62" fmla="*/ 116 w 188"/>
                  <a:gd name="T63" fmla="*/ 132 h 144"/>
                  <a:gd name="T64" fmla="*/ 122 w 188"/>
                  <a:gd name="T65" fmla="*/ 130 h 144"/>
                  <a:gd name="T66" fmla="*/ 124 w 188"/>
                  <a:gd name="T67" fmla="*/ 124 h 144"/>
                  <a:gd name="T68" fmla="*/ 120 w 188"/>
                  <a:gd name="T69" fmla="*/ 104 h 144"/>
                  <a:gd name="T70" fmla="*/ 116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2"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4" y="140"/>
                    </a:lnTo>
                    <a:lnTo>
                      <a:pt x="42" y="142"/>
                    </a:lnTo>
                    <a:lnTo>
                      <a:pt x="42" y="142"/>
                    </a:lnTo>
                    <a:lnTo>
                      <a:pt x="44" y="142"/>
                    </a:lnTo>
                    <a:lnTo>
                      <a:pt x="44" y="142"/>
                    </a:lnTo>
                    <a:lnTo>
                      <a:pt x="48"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1" name="Freeform 1630"/>
              <p:cNvSpPr>
                <a:spLocks/>
              </p:cNvSpPr>
              <p:nvPr/>
            </p:nvSpPr>
            <p:spPr bwMode="auto">
              <a:xfrm>
                <a:off x="4440" y="1260"/>
                <a:ext cx="18" cy="22"/>
              </a:xfrm>
              <a:custGeom>
                <a:avLst/>
                <a:gdLst>
                  <a:gd name="T0" fmla="*/ 8 w 18"/>
                  <a:gd name="T1" fmla="*/ 0 h 22"/>
                  <a:gd name="T2" fmla="*/ 8 w 18"/>
                  <a:gd name="T3" fmla="*/ 0 h 22"/>
                  <a:gd name="T4" fmla="*/ 0 w 18"/>
                  <a:gd name="T5" fmla="*/ 4 h 22"/>
                  <a:gd name="T6" fmla="*/ 0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4"/>
                    </a:lnTo>
                    <a:lnTo>
                      <a:pt x="0" y="4"/>
                    </a:lnTo>
                    <a:lnTo>
                      <a:pt x="0" y="8"/>
                    </a:lnTo>
                    <a:lnTo>
                      <a:pt x="0" y="8"/>
                    </a:lnTo>
                    <a:lnTo>
                      <a:pt x="0" y="12"/>
                    </a:lnTo>
                    <a:lnTo>
                      <a:pt x="4" y="16"/>
                    </a:lnTo>
                    <a:lnTo>
                      <a:pt x="8" y="20"/>
                    </a:lnTo>
                    <a:lnTo>
                      <a:pt x="14" y="22"/>
                    </a:lnTo>
                    <a:lnTo>
                      <a:pt x="14" y="22"/>
                    </a:lnTo>
                    <a:lnTo>
                      <a:pt x="14" y="22"/>
                    </a:lnTo>
                    <a:lnTo>
                      <a:pt x="14" y="22"/>
                    </a:lnTo>
                    <a:lnTo>
                      <a:pt x="14" y="22"/>
                    </a:lnTo>
                    <a:lnTo>
                      <a:pt x="14" y="22"/>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2" name="Freeform 1631"/>
              <p:cNvSpPr>
                <a:spLocks/>
              </p:cNvSpPr>
              <p:nvPr/>
            </p:nvSpPr>
            <p:spPr bwMode="auto">
              <a:xfrm>
                <a:off x="4440" y="1260"/>
                <a:ext cx="18" cy="22"/>
              </a:xfrm>
              <a:custGeom>
                <a:avLst/>
                <a:gdLst>
                  <a:gd name="T0" fmla="*/ 8 w 18"/>
                  <a:gd name="T1" fmla="*/ 0 h 22"/>
                  <a:gd name="T2" fmla="*/ 8 w 18"/>
                  <a:gd name="T3" fmla="*/ 0 h 22"/>
                  <a:gd name="T4" fmla="*/ 0 w 18"/>
                  <a:gd name="T5" fmla="*/ 4 h 22"/>
                  <a:gd name="T6" fmla="*/ 0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4"/>
                    </a:lnTo>
                    <a:lnTo>
                      <a:pt x="0" y="4"/>
                    </a:lnTo>
                    <a:lnTo>
                      <a:pt x="0" y="8"/>
                    </a:lnTo>
                    <a:lnTo>
                      <a:pt x="0" y="8"/>
                    </a:lnTo>
                    <a:lnTo>
                      <a:pt x="0" y="12"/>
                    </a:lnTo>
                    <a:lnTo>
                      <a:pt x="4" y="16"/>
                    </a:lnTo>
                    <a:lnTo>
                      <a:pt x="8" y="20"/>
                    </a:lnTo>
                    <a:lnTo>
                      <a:pt x="14" y="22"/>
                    </a:lnTo>
                    <a:lnTo>
                      <a:pt x="14"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3" name="Freeform 1632"/>
              <p:cNvSpPr>
                <a:spLocks/>
              </p:cNvSpPr>
              <p:nvPr/>
            </p:nvSpPr>
            <p:spPr bwMode="auto">
              <a:xfrm>
                <a:off x="4448" y="1260"/>
                <a:ext cx="10" cy="22"/>
              </a:xfrm>
              <a:custGeom>
                <a:avLst/>
                <a:gdLst>
                  <a:gd name="T0" fmla="*/ 0 w 10"/>
                  <a:gd name="T1" fmla="*/ 0 h 22"/>
                  <a:gd name="T2" fmla="*/ 0 w 10"/>
                  <a:gd name="T3" fmla="*/ 0 h 22"/>
                  <a:gd name="T4" fmla="*/ 0 w 10"/>
                  <a:gd name="T5" fmla="*/ 0 h 22"/>
                  <a:gd name="T6" fmla="*/ 0 w 10"/>
                  <a:gd name="T7" fmla="*/ 0 h 22"/>
                  <a:gd name="T8" fmla="*/ 8 w 10"/>
                  <a:gd name="T9" fmla="*/ 16 h 22"/>
                  <a:gd name="T10" fmla="*/ 8 w 10"/>
                  <a:gd name="T11" fmla="*/ 16 h 22"/>
                  <a:gd name="T12" fmla="*/ 10 w 10"/>
                  <a:gd name="T13" fmla="*/ 20 h 22"/>
                  <a:gd name="T14" fmla="*/ 6 w 10"/>
                  <a:gd name="T15" fmla="*/ 22 h 22"/>
                  <a:gd name="T16" fmla="*/ 6 w 10"/>
                  <a:gd name="T17" fmla="*/ 22 h 22"/>
                  <a:gd name="T18" fmla="*/ 10 w 10"/>
                  <a:gd name="T19" fmla="*/ 20 h 22"/>
                  <a:gd name="T20" fmla="*/ 10 w 10"/>
                  <a:gd name="T21" fmla="*/ 16 h 22"/>
                  <a:gd name="T22" fmla="*/ 10 w 10"/>
                  <a:gd name="T23" fmla="*/ 16 h 22"/>
                  <a:gd name="T24" fmla="*/ 0 w 10"/>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2">
                    <a:moveTo>
                      <a:pt x="0" y="0"/>
                    </a:moveTo>
                    <a:lnTo>
                      <a:pt x="0" y="0"/>
                    </a:lnTo>
                    <a:lnTo>
                      <a:pt x="0" y="0"/>
                    </a:lnTo>
                    <a:lnTo>
                      <a:pt x="0" y="0"/>
                    </a:lnTo>
                    <a:lnTo>
                      <a:pt x="8" y="16"/>
                    </a:lnTo>
                    <a:lnTo>
                      <a:pt x="8" y="16"/>
                    </a:lnTo>
                    <a:lnTo>
                      <a:pt x="10" y="20"/>
                    </a:lnTo>
                    <a:lnTo>
                      <a:pt x="6" y="22"/>
                    </a:lnTo>
                    <a:lnTo>
                      <a:pt x="6" y="22"/>
                    </a:lnTo>
                    <a:lnTo>
                      <a:pt x="10" y="20"/>
                    </a:lnTo>
                    <a:lnTo>
                      <a:pt x="10" y="16"/>
                    </a:lnTo>
                    <a:lnTo>
                      <a:pt x="10" y="16"/>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4" name="Freeform 1633"/>
              <p:cNvSpPr>
                <a:spLocks/>
              </p:cNvSpPr>
              <p:nvPr/>
            </p:nvSpPr>
            <p:spPr bwMode="auto">
              <a:xfrm>
                <a:off x="4448" y="1260"/>
                <a:ext cx="10" cy="22"/>
              </a:xfrm>
              <a:custGeom>
                <a:avLst/>
                <a:gdLst>
                  <a:gd name="T0" fmla="*/ 0 w 10"/>
                  <a:gd name="T1" fmla="*/ 0 h 22"/>
                  <a:gd name="T2" fmla="*/ 0 w 10"/>
                  <a:gd name="T3" fmla="*/ 0 h 22"/>
                  <a:gd name="T4" fmla="*/ 0 w 10"/>
                  <a:gd name="T5" fmla="*/ 0 h 22"/>
                  <a:gd name="T6" fmla="*/ 0 w 10"/>
                  <a:gd name="T7" fmla="*/ 0 h 22"/>
                  <a:gd name="T8" fmla="*/ 8 w 10"/>
                  <a:gd name="T9" fmla="*/ 16 h 22"/>
                  <a:gd name="T10" fmla="*/ 8 w 10"/>
                  <a:gd name="T11" fmla="*/ 16 h 22"/>
                  <a:gd name="T12" fmla="*/ 10 w 10"/>
                  <a:gd name="T13" fmla="*/ 20 h 22"/>
                  <a:gd name="T14" fmla="*/ 6 w 10"/>
                  <a:gd name="T15" fmla="*/ 22 h 22"/>
                  <a:gd name="T16" fmla="*/ 6 w 10"/>
                  <a:gd name="T17" fmla="*/ 22 h 22"/>
                  <a:gd name="T18" fmla="*/ 10 w 10"/>
                  <a:gd name="T19" fmla="*/ 20 h 22"/>
                  <a:gd name="T20" fmla="*/ 10 w 10"/>
                  <a:gd name="T21" fmla="*/ 16 h 22"/>
                  <a:gd name="T22" fmla="*/ 10 w 10"/>
                  <a:gd name="T23" fmla="*/ 16 h 22"/>
                  <a:gd name="T24" fmla="*/ 0 w 10"/>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2">
                    <a:moveTo>
                      <a:pt x="0" y="0"/>
                    </a:moveTo>
                    <a:lnTo>
                      <a:pt x="0" y="0"/>
                    </a:lnTo>
                    <a:lnTo>
                      <a:pt x="0" y="0"/>
                    </a:lnTo>
                    <a:lnTo>
                      <a:pt x="0" y="0"/>
                    </a:lnTo>
                    <a:lnTo>
                      <a:pt x="8" y="16"/>
                    </a:lnTo>
                    <a:lnTo>
                      <a:pt x="8" y="16"/>
                    </a:lnTo>
                    <a:lnTo>
                      <a:pt x="10" y="20"/>
                    </a:lnTo>
                    <a:lnTo>
                      <a:pt x="6" y="22"/>
                    </a:lnTo>
                    <a:lnTo>
                      <a:pt x="6" y="22"/>
                    </a:lnTo>
                    <a:lnTo>
                      <a:pt x="10" y="20"/>
                    </a:lnTo>
                    <a:lnTo>
                      <a:pt x="10" y="16"/>
                    </a:lnTo>
                    <a:lnTo>
                      <a:pt x="1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5" name="Freeform 1634"/>
              <p:cNvSpPr>
                <a:spLocks/>
              </p:cNvSpPr>
              <p:nvPr/>
            </p:nvSpPr>
            <p:spPr bwMode="auto">
              <a:xfrm>
                <a:off x="4538" y="1264"/>
                <a:ext cx="16" cy="26"/>
              </a:xfrm>
              <a:custGeom>
                <a:avLst/>
                <a:gdLst>
                  <a:gd name="T0" fmla="*/ 12 w 16"/>
                  <a:gd name="T1" fmla="*/ 0 h 26"/>
                  <a:gd name="T2" fmla="*/ 12 w 16"/>
                  <a:gd name="T3" fmla="*/ 0 h 26"/>
                  <a:gd name="T4" fmla="*/ 6 w 16"/>
                  <a:gd name="T5" fmla="*/ 10 h 26"/>
                  <a:gd name="T6" fmla="*/ 6 w 16"/>
                  <a:gd name="T7" fmla="*/ 10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6" y="10"/>
                    </a:lnTo>
                    <a:lnTo>
                      <a:pt x="6" y="10"/>
                    </a:lnTo>
                    <a:lnTo>
                      <a:pt x="0" y="26"/>
                    </a:lnTo>
                    <a:lnTo>
                      <a:pt x="0" y="26"/>
                    </a:lnTo>
                    <a:lnTo>
                      <a:pt x="10" y="26"/>
                    </a:lnTo>
                    <a:lnTo>
                      <a:pt x="10" y="26"/>
                    </a:lnTo>
                    <a:lnTo>
                      <a:pt x="14" y="26"/>
                    </a:lnTo>
                    <a:lnTo>
                      <a:pt x="14" y="26"/>
                    </a:lnTo>
                    <a:lnTo>
                      <a:pt x="16" y="22"/>
                    </a:lnTo>
                    <a:lnTo>
                      <a:pt x="16" y="22"/>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6" name="Freeform 1635"/>
              <p:cNvSpPr>
                <a:spLocks/>
              </p:cNvSpPr>
              <p:nvPr/>
            </p:nvSpPr>
            <p:spPr bwMode="auto">
              <a:xfrm>
                <a:off x="4538" y="1264"/>
                <a:ext cx="16" cy="26"/>
              </a:xfrm>
              <a:custGeom>
                <a:avLst/>
                <a:gdLst>
                  <a:gd name="T0" fmla="*/ 12 w 16"/>
                  <a:gd name="T1" fmla="*/ 0 h 26"/>
                  <a:gd name="T2" fmla="*/ 12 w 16"/>
                  <a:gd name="T3" fmla="*/ 0 h 26"/>
                  <a:gd name="T4" fmla="*/ 6 w 16"/>
                  <a:gd name="T5" fmla="*/ 10 h 26"/>
                  <a:gd name="T6" fmla="*/ 6 w 16"/>
                  <a:gd name="T7" fmla="*/ 10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6" y="10"/>
                    </a:lnTo>
                    <a:lnTo>
                      <a:pt x="6" y="10"/>
                    </a:lnTo>
                    <a:lnTo>
                      <a:pt x="0" y="26"/>
                    </a:lnTo>
                    <a:lnTo>
                      <a:pt x="0" y="26"/>
                    </a:lnTo>
                    <a:lnTo>
                      <a:pt x="10" y="26"/>
                    </a:lnTo>
                    <a:lnTo>
                      <a:pt x="10"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7" name="Freeform 1636"/>
              <p:cNvSpPr>
                <a:spLocks/>
              </p:cNvSpPr>
              <p:nvPr/>
            </p:nvSpPr>
            <p:spPr bwMode="auto">
              <a:xfrm>
                <a:off x="4544" y="1264"/>
                <a:ext cx="6" cy="10"/>
              </a:xfrm>
              <a:custGeom>
                <a:avLst/>
                <a:gdLst>
                  <a:gd name="T0" fmla="*/ 6 w 6"/>
                  <a:gd name="T1" fmla="*/ 0 h 10"/>
                  <a:gd name="T2" fmla="*/ 6 w 6"/>
                  <a:gd name="T3" fmla="*/ 0 h 10"/>
                  <a:gd name="T4" fmla="*/ 0 w 6"/>
                  <a:gd name="T5" fmla="*/ 10 h 10"/>
                  <a:gd name="T6" fmla="*/ 0 w 6"/>
                  <a:gd name="T7" fmla="*/ 10 h 10"/>
                  <a:gd name="T8" fmla="*/ 6 w 6"/>
                  <a:gd name="T9" fmla="*/ 0 h 10"/>
                  <a:gd name="T10" fmla="*/ 6 w 6"/>
                  <a:gd name="T11" fmla="*/ 0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0" y="10"/>
                    </a:lnTo>
                    <a:lnTo>
                      <a:pt x="0" y="1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8" name="Freeform 1637"/>
              <p:cNvSpPr>
                <a:spLocks/>
              </p:cNvSpPr>
              <p:nvPr/>
            </p:nvSpPr>
            <p:spPr bwMode="auto">
              <a:xfrm>
                <a:off x="4544" y="1264"/>
                <a:ext cx="6" cy="10"/>
              </a:xfrm>
              <a:custGeom>
                <a:avLst/>
                <a:gdLst>
                  <a:gd name="T0" fmla="*/ 6 w 6"/>
                  <a:gd name="T1" fmla="*/ 0 h 10"/>
                  <a:gd name="T2" fmla="*/ 6 w 6"/>
                  <a:gd name="T3" fmla="*/ 0 h 10"/>
                  <a:gd name="T4" fmla="*/ 0 w 6"/>
                  <a:gd name="T5" fmla="*/ 10 h 10"/>
                  <a:gd name="T6" fmla="*/ 0 w 6"/>
                  <a:gd name="T7" fmla="*/ 10 h 10"/>
                  <a:gd name="T8" fmla="*/ 6 w 6"/>
                  <a:gd name="T9" fmla="*/ 0 h 10"/>
                  <a:gd name="T10" fmla="*/ 6 w 6"/>
                  <a:gd name="T11" fmla="*/ 0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0" y="10"/>
                    </a:lnTo>
                    <a:lnTo>
                      <a:pt x="0"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9" name="Freeform 1638"/>
              <p:cNvSpPr>
                <a:spLocks/>
              </p:cNvSpPr>
              <p:nvPr/>
            </p:nvSpPr>
            <p:spPr bwMode="auto">
              <a:xfrm>
                <a:off x="4436"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4 h 20"/>
                  <a:gd name="T16" fmla="*/ 2 w 12"/>
                  <a:gd name="T17" fmla="*/ 18 h 20"/>
                  <a:gd name="T18" fmla="*/ 4 w 12"/>
                  <a:gd name="T19" fmla="*/ 20 h 20"/>
                  <a:gd name="T20" fmla="*/ 4 w 12"/>
                  <a:gd name="T21" fmla="*/ 20 h 20"/>
                  <a:gd name="T22" fmla="*/ 8 w 12"/>
                  <a:gd name="T23" fmla="*/ 20 h 20"/>
                  <a:gd name="T24" fmla="*/ 8 w 12"/>
                  <a:gd name="T25" fmla="*/ 20 h 20"/>
                  <a:gd name="T26" fmla="*/ 10 w 12"/>
                  <a:gd name="T27" fmla="*/ 20 h 20"/>
                  <a:gd name="T28" fmla="*/ 10 w 12"/>
                  <a:gd name="T29" fmla="*/ 20 h 20"/>
                  <a:gd name="T30" fmla="*/ 12 w 12"/>
                  <a:gd name="T31" fmla="*/ 16 h 20"/>
                  <a:gd name="T32" fmla="*/ 12 w 12"/>
                  <a:gd name="T33" fmla="*/ 16 h 20"/>
                  <a:gd name="T34" fmla="*/ 8 w 12"/>
                  <a:gd name="T35" fmla="*/ 18 h 20"/>
                  <a:gd name="T36" fmla="*/ 8 w 12"/>
                  <a:gd name="T37" fmla="*/ 18 h 20"/>
                  <a:gd name="T38" fmla="*/ 4 w 12"/>
                  <a:gd name="T39" fmla="*/ 16 h 20"/>
                  <a:gd name="T40" fmla="*/ 4 w 12"/>
                  <a:gd name="T41" fmla="*/ 16 h 20"/>
                  <a:gd name="T42" fmla="*/ 2 w 12"/>
                  <a:gd name="T43" fmla="*/ 12 h 20"/>
                  <a:gd name="T44" fmla="*/ 2 w 12"/>
                  <a:gd name="T45" fmla="*/ 12 h 20"/>
                  <a:gd name="T46" fmla="*/ 6 w 12"/>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0">
                    <a:moveTo>
                      <a:pt x="6" y="0"/>
                    </a:moveTo>
                    <a:lnTo>
                      <a:pt x="6" y="0"/>
                    </a:lnTo>
                    <a:lnTo>
                      <a:pt x="6" y="0"/>
                    </a:lnTo>
                    <a:lnTo>
                      <a:pt x="6" y="0"/>
                    </a:lnTo>
                    <a:lnTo>
                      <a:pt x="0" y="6"/>
                    </a:lnTo>
                    <a:lnTo>
                      <a:pt x="0" y="6"/>
                    </a:lnTo>
                    <a:lnTo>
                      <a:pt x="0" y="8"/>
                    </a:lnTo>
                    <a:lnTo>
                      <a:pt x="0" y="14"/>
                    </a:lnTo>
                    <a:lnTo>
                      <a:pt x="2" y="18"/>
                    </a:lnTo>
                    <a:lnTo>
                      <a:pt x="4" y="20"/>
                    </a:lnTo>
                    <a:lnTo>
                      <a:pt x="4" y="20"/>
                    </a:lnTo>
                    <a:lnTo>
                      <a:pt x="8" y="20"/>
                    </a:lnTo>
                    <a:lnTo>
                      <a:pt x="8" y="20"/>
                    </a:lnTo>
                    <a:lnTo>
                      <a:pt x="10" y="20"/>
                    </a:lnTo>
                    <a:lnTo>
                      <a:pt x="10" y="20"/>
                    </a:lnTo>
                    <a:lnTo>
                      <a:pt x="12" y="16"/>
                    </a:lnTo>
                    <a:lnTo>
                      <a:pt x="12" y="16"/>
                    </a:lnTo>
                    <a:lnTo>
                      <a:pt x="8" y="18"/>
                    </a:lnTo>
                    <a:lnTo>
                      <a:pt x="8" y="18"/>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0" name="Freeform 1639"/>
              <p:cNvSpPr>
                <a:spLocks/>
              </p:cNvSpPr>
              <p:nvPr/>
            </p:nvSpPr>
            <p:spPr bwMode="auto">
              <a:xfrm>
                <a:off x="4436"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4 h 20"/>
                  <a:gd name="T16" fmla="*/ 2 w 12"/>
                  <a:gd name="T17" fmla="*/ 18 h 20"/>
                  <a:gd name="T18" fmla="*/ 4 w 12"/>
                  <a:gd name="T19" fmla="*/ 20 h 20"/>
                  <a:gd name="T20" fmla="*/ 4 w 12"/>
                  <a:gd name="T21" fmla="*/ 20 h 20"/>
                  <a:gd name="T22" fmla="*/ 8 w 12"/>
                  <a:gd name="T23" fmla="*/ 20 h 20"/>
                  <a:gd name="T24" fmla="*/ 8 w 12"/>
                  <a:gd name="T25" fmla="*/ 20 h 20"/>
                  <a:gd name="T26" fmla="*/ 10 w 12"/>
                  <a:gd name="T27" fmla="*/ 20 h 20"/>
                  <a:gd name="T28" fmla="*/ 10 w 12"/>
                  <a:gd name="T29" fmla="*/ 20 h 20"/>
                  <a:gd name="T30" fmla="*/ 12 w 12"/>
                  <a:gd name="T31" fmla="*/ 16 h 20"/>
                  <a:gd name="T32" fmla="*/ 12 w 12"/>
                  <a:gd name="T33" fmla="*/ 16 h 20"/>
                  <a:gd name="T34" fmla="*/ 8 w 12"/>
                  <a:gd name="T35" fmla="*/ 18 h 20"/>
                  <a:gd name="T36" fmla="*/ 8 w 12"/>
                  <a:gd name="T37" fmla="*/ 18 h 20"/>
                  <a:gd name="T38" fmla="*/ 4 w 12"/>
                  <a:gd name="T39" fmla="*/ 16 h 20"/>
                  <a:gd name="T40" fmla="*/ 4 w 12"/>
                  <a:gd name="T41" fmla="*/ 16 h 20"/>
                  <a:gd name="T42" fmla="*/ 2 w 12"/>
                  <a:gd name="T43" fmla="*/ 12 h 20"/>
                  <a:gd name="T44" fmla="*/ 2 w 12"/>
                  <a:gd name="T45" fmla="*/ 12 h 20"/>
                  <a:gd name="T46" fmla="*/ 6 w 12"/>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0">
                    <a:moveTo>
                      <a:pt x="6" y="0"/>
                    </a:moveTo>
                    <a:lnTo>
                      <a:pt x="6" y="0"/>
                    </a:lnTo>
                    <a:lnTo>
                      <a:pt x="6" y="0"/>
                    </a:lnTo>
                    <a:lnTo>
                      <a:pt x="6" y="0"/>
                    </a:lnTo>
                    <a:lnTo>
                      <a:pt x="0" y="6"/>
                    </a:lnTo>
                    <a:lnTo>
                      <a:pt x="0" y="6"/>
                    </a:lnTo>
                    <a:lnTo>
                      <a:pt x="0" y="8"/>
                    </a:lnTo>
                    <a:lnTo>
                      <a:pt x="0" y="14"/>
                    </a:lnTo>
                    <a:lnTo>
                      <a:pt x="2" y="18"/>
                    </a:lnTo>
                    <a:lnTo>
                      <a:pt x="4" y="20"/>
                    </a:lnTo>
                    <a:lnTo>
                      <a:pt x="4" y="20"/>
                    </a:lnTo>
                    <a:lnTo>
                      <a:pt x="8" y="20"/>
                    </a:lnTo>
                    <a:lnTo>
                      <a:pt x="8" y="20"/>
                    </a:lnTo>
                    <a:lnTo>
                      <a:pt x="10" y="20"/>
                    </a:lnTo>
                    <a:lnTo>
                      <a:pt x="10" y="20"/>
                    </a:lnTo>
                    <a:lnTo>
                      <a:pt x="12" y="16"/>
                    </a:lnTo>
                    <a:lnTo>
                      <a:pt x="12" y="16"/>
                    </a:lnTo>
                    <a:lnTo>
                      <a:pt x="8" y="18"/>
                    </a:lnTo>
                    <a:lnTo>
                      <a:pt x="8" y="18"/>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1" name="Freeform 1640"/>
              <p:cNvSpPr>
                <a:spLocks/>
              </p:cNvSpPr>
              <p:nvPr/>
            </p:nvSpPr>
            <p:spPr bwMode="auto">
              <a:xfrm>
                <a:off x="4436"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0 w 12"/>
                  <a:gd name="T13" fmla="*/ 6 h 20"/>
                  <a:gd name="T14" fmla="*/ 0 w 12"/>
                  <a:gd name="T15" fmla="*/ 6 h 20"/>
                  <a:gd name="T16" fmla="*/ 6 w 12"/>
                  <a:gd name="T17" fmla="*/ 0 h 20"/>
                  <a:gd name="T18" fmla="*/ 6 w 12"/>
                  <a:gd name="T19" fmla="*/ 0 h 20"/>
                  <a:gd name="T20" fmla="*/ 6 w 12"/>
                  <a:gd name="T21" fmla="*/ 0 h 20"/>
                  <a:gd name="T22" fmla="*/ 6 w 12"/>
                  <a:gd name="T23" fmla="*/ 0 h 20"/>
                  <a:gd name="T24" fmla="*/ 6 w 12"/>
                  <a:gd name="T25" fmla="*/ 0 h 20"/>
                  <a:gd name="T26" fmla="*/ 6 w 12"/>
                  <a:gd name="T27" fmla="*/ 0 h 20"/>
                  <a:gd name="T28" fmla="*/ 2 w 12"/>
                  <a:gd name="T29" fmla="*/ 12 h 20"/>
                  <a:gd name="T30" fmla="*/ 2 w 12"/>
                  <a:gd name="T31" fmla="*/ 12 h 20"/>
                  <a:gd name="T32" fmla="*/ 4 w 12"/>
                  <a:gd name="T33" fmla="*/ 16 h 20"/>
                  <a:gd name="T34" fmla="*/ 4 w 12"/>
                  <a:gd name="T35" fmla="*/ 16 h 20"/>
                  <a:gd name="T36" fmla="*/ 8 w 12"/>
                  <a:gd name="T37" fmla="*/ 18 h 20"/>
                  <a:gd name="T38" fmla="*/ 8 w 12"/>
                  <a:gd name="T39" fmla="*/ 18 h 20"/>
                  <a:gd name="T40" fmla="*/ 12 w 12"/>
                  <a:gd name="T41" fmla="*/ 16 h 20"/>
                  <a:gd name="T42" fmla="*/ 12 w 12"/>
                  <a:gd name="T43" fmla="*/ 16 h 20"/>
                  <a:gd name="T44" fmla="*/ 10 w 12"/>
                  <a:gd name="T45" fmla="*/ 20 h 20"/>
                  <a:gd name="T46" fmla="*/ 10 w 12"/>
                  <a:gd name="T47" fmla="*/ 20 h 20"/>
                  <a:gd name="T48" fmla="*/ 12 w 12"/>
                  <a:gd name="T49" fmla="*/ 18 h 20"/>
                  <a:gd name="T50" fmla="*/ 12 w 12"/>
                  <a:gd name="T51" fmla="*/ 16 h 20"/>
                  <a:gd name="T52" fmla="*/ 12 w 12"/>
                  <a:gd name="T53" fmla="*/ 16 h 20"/>
                  <a:gd name="T54" fmla="*/ 8 w 12"/>
                  <a:gd name="T55" fmla="*/ 16 h 20"/>
                  <a:gd name="T56" fmla="*/ 8 w 12"/>
                  <a:gd name="T57" fmla="*/ 16 h 20"/>
                  <a:gd name="T58" fmla="*/ 4 w 12"/>
                  <a:gd name="T59" fmla="*/ 16 h 20"/>
                  <a:gd name="T60" fmla="*/ 4 w 12"/>
                  <a:gd name="T61" fmla="*/ 16 h 20"/>
                  <a:gd name="T62" fmla="*/ 4 w 12"/>
                  <a:gd name="T63" fmla="*/ 12 h 20"/>
                  <a:gd name="T64" fmla="*/ 4 w 12"/>
                  <a:gd name="T65" fmla="*/ 12 h 20"/>
                  <a:gd name="T66" fmla="*/ 8 w 12"/>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0">
                    <a:moveTo>
                      <a:pt x="8" y="0"/>
                    </a:moveTo>
                    <a:lnTo>
                      <a:pt x="8" y="0"/>
                    </a:lnTo>
                    <a:lnTo>
                      <a:pt x="6" y="0"/>
                    </a:lnTo>
                    <a:lnTo>
                      <a:pt x="6" y="0"/>
                    </a:lnTo>
                    <a:lnTo>
                      <a:pt x="0" y="6"/>
                    </a:lnTo>
                    <a:lnTo>
                      <a:pt x="0" y="6"/>
                    </a:lnTo>
                    <a:lnTo>
                      <a:pt x="0" y="6"/>
                    </a:lnTo>
                    <a:lnTo>
                      <a:pt x="0" y="6"/>
                    </a:lnTo>
                    <a:lnTo>
                      <a:pt x="6" y="0"/>
                    </a:lnTo>
                    <a:lnTo>
                      <a:pt x="6" y="0"/>
                    </a:lnTo>
                    <a:lnTo>
                      <a:pt x="6" y="0"/>
                    </a:lnTo>
                    <a:lnTo>
                      <a:pt x="6" y="0"/>
                    </a:lnTo>
                    <a:lnTo>
                      <a:pt x="6" y="0"/>
                    </a:lnTo>
                    <a:lnTo>
                      <a:pt x="6" y="0"/>
                    </a:lnTo>
                    <a:lnTo>
                      <a:pt x="2" y="12"/>
                    </a:lnTo>
                    <a:lnTo>
                      <a:pt x="2" y="12"/>
                    </a:lnTo>
                    <a:lnTo>
                      <a:pt x="4" y="16"/>
                    </a:lnTo>
                    <a:lnTo>
                      <a:pt x="4" y="16"/>
                    </a:lnTo>
                    <a:lnTo>
                      <a:pt x="8" y="18"/>
                    </a:lnTo>
                    <a:lnTo>
                      <a:pt x="8" y="18"/>
                    </a:lnTo>
                    <a:lnTo>
                      <a:pt x="12" y="16"/>
                    </a:lnTo>
                    <a:lnTo>
                      <a:pt x="12" y="16"/>
                    </a:lnTo>
                    <a:lnTo>
                      <a:pt x="10" y="20"/>
                    </a:lnTo>
                    <a:lnTo>
                      <a:pt x="10" y="20"/>
                    </a:lnTo>
                    <a:lnTo>
                      <a:pt x="12" y="18"/>
                    </a:lnTo>
                    <a:lnTo>
                      <a:pt x="12" y="16"/>
                    </a:lnTo>
                    <a:lnTo>
                      <a:pt x="12" y="16"/>
                    </a:lnTo>
                    <a:lnTo>
                      <a:pt x="8" y="16"/>
                    </a:lnTo>
                    <a:lnTo>
                      <a:pt x="8" y="16"/>
                    </a:lnTo>
                    <a:lnTo>
                      <a:pt x="4" y="16"/>
                    </a:lnTo>
                    <a:lnTo>
                      <a:pt x="4" y="16"/>
                    </a:lnTo>
                    <a:lnTo>
                      <a:pt x="4" y="12"/>
                    </a:lnTo>
                    <a:lnTo>
                      <a:pt x="4" y="12"/>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2" name="Freeform 1641"/>
              <p:cNvSpPr>
                <a:spLocks/>
              </p:cNvSpPr>
              <p:nvPr/>
            </p:nvSpPr>
            <p:spPr bwMode="auto">
              <a:xfrm>
                <a:off x="4436"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0 w 12"/>
                  <a:gd name="T13" fmla="*/ 6 h 20"/>
                  <a:gd name="T14" fmla="*/ 0 w 12"/>
                  <a:gd name="T15" fmla="*/ 6 h 20"/>
                  <a:gd name="T16" fmla="*/ 6 w 12"/>
                  <a:gd name="T17" fmla="*/ 0 h 20"/>
                  <a:gd name="T18" fmla="*/ 6 w 12"/>
                  <a:gd name="T19" fmla="*/ 0 h 20"/>
                  <a:gd name="T20" fmla="*/ 6 w 12"/>
                  <a:gd name="T21" fmla="*/ 0 h 20"/>
                  <a:gd name="T22" fmla="*/ 6 w 12"/>
                  <a:gd name="T23" fmla="*/ 0 h 20"/>
                  <a:gd name="T24" fmla="*/ 6 w 12"/>
                  <a:gd name="T25" fmla="*/ 0 h 20"/>
                  <a:gd name="T26" fmla="*/ 6 w 12"/>
                  <a:gd name="T27" fmla="*/ 0 h 20"/>
                  <a:gd name="T28" fmla="*/ 2 w 12"/>
                  <a:gd name="T29" fmla="*/ 12 h 20"/>
                  <a:gd name="T30" fmla="*/ 2 w 12"/>
                  <a:gd name="T31" fmla="*/ 12 h 20"/>
                  <a:gd name="T32" fmla="*/ 4 w 12"/>
                  <a:gd name="T33" fmla="*/ 16 h 20"/>
                  <a:gd name="T34" fmla="*/ 4 w 12"/>
                  <a:gd name="T35" fmla="*/ 16 h 20"/>
                  <a:gd name="T36" fmla="*/ 8 w 12"/>
                  <a:gd name="T37" fmla="*/ 18 h 20"/>
                  <a:gd name="T38" fmla="*/ 8 w 12"/>
                  <a:gd name="T39" fmla="*/ 18 h 20"/>
                  <a:gd name="T40" fmla="*/ 12 w 12"/>
                  <a:gd name="T41" fmla="*/ 16 h 20"/>
                  <a:gd name="T42" fmla="*/ 12 w 12"/>
                  <a:gd name="T43" fmla="*/ 16 h 20"/>
                  <a:gd name="T44" fmla="*/ 10 w 12"/>
                  <a:gd name="T45" fmla="*/ 20 h 20"/>
                  <a:gd name="T46" fmla="*/ 10 w 12"/>
                  <a:gd name="T47" fmla="*/ 20 h 20"/>
                  <a:gd name="T48" fmla="*/ 12 w 12"/>
                  <a:gd name="T49" fmla="*/ 18 h 20"/>
                  <a:gd name="T50" fmla="*/ 12 w 12"/>
                  <a:gd name="T51" fmla="*/ 16 h 20"/>
                  <a:gd name="T52" fmla="*/ 12 w 12"/>
                  <a:gd name="T53" fmla="*/ 16 h 20"/>
                  <a:gd name="T54" fmla="*/ 8 w 12"/>
                  <a:gd name="T55" fmla="*/ 16 h 20"/>
                  <a:gd name="T56" fmla="*/ 8 w 12"/>
                  <a:gd name="T57" fmla="*/ 16 h 20"/>
                  <a:gd name="T58" fmla="*/ 4 w 12"/>
                  <a:gd name="T59" fmla="*/ 16 h 20"/>
                  <a:gd name="T60" fmla="*/ 4 w 12"/>
                  <a:gd name="T61" fmla="*/ 16 h 20"/>
                  <a:gd name="T62" fmla="*/ 4 w 12"/>
                  <a:gd name="T63" fmla="*/ 12 h 20"/>
                  <a:gd name="T64" fmla="*/ 4 w 12"/>
                  <a:gd name="T65" fmla="*/ 12 h 20"/>
                  <a:gd name="T66" fmla="*/ 8 w 12"/>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0">
                    <a:moveTo>
                      <a:pt x="8" y="0"/>
                    </a:moveTo>
                    <a:lnTo>
                      <a:pt x="8" y="0"/>
                    </a:lnTo>
                    <a:lnTo>
                      <a:pt x="6" y="0"/>
                    </a:lnTo>
                    <a:lnTo>
                      <a:pt x="6" y="0"/>
                    </a:lnTo>
                    <a:lnTo>
                      <a:pt x="0" y="6"/>
                    </a:lnTo>
                    <a:lnTo>
                      <a:pt x="0" y="6"/>
                    </a:lnTo>
                    <a:lnTo>
                      <a:pt x="0" y="6"/>
                    </a:lnTo>
                    <a:lnTo>
                      <a:pt x="0" y="6"/>
                    </a:lnTo>
                    <a:lnTo>
                      <a:pt x="6" y="0"/>
                    </a:lnTo>
                    <a:lnTo>
                      <a:pt x="6" y="0"/>
                    </a:lnTo>
                    <a:lnTo>
                      <a:pt x="6" y="0"/>
                    </a:lnTo>
                    <a:lnTo>
                      <a:pt x="6" y="0"/>
                    </a:lnTo>
                    <a:lnTo>
                      <a:pt x="6" y="0"/>
                    </a:lnTo>
                    <a:lnTo>
                      <a:pt x="6" y="0"/>
                    </a:lnTo>
                    <a:lnTo>
                      <a:pt x="2" y="12"/>
                    </a:lnTo>
                    <a:lnTo>
                      <a:pt x="2" y="12"/>
                    </a:lnTo>
                    <a:lnTo>
                      <a:pt x="4" y="16"/>
                    </a:lnTo>
                    <a:lnTo>
                      <a:pt x="4" y="16"/>
                    </a:lnTo>
                    <a:lnTo>
                      <a:pt x="8" y="18"/>
                    </a:lnTo>
                    <a:lnTo>
                      <a:pt x="8" y="18"/>
                    </a:lnTo>
                    <a:lnTo>
                      <a:pt x="12" y="16"/>
                    </a:lnTo>
                    <a:lnTo>
                      <a:pt x="12" y="16"/>
                    </a:lnTo>
                    <a:lnTo>
                      <a:pt x="10" y="20"/>
                    </a:lnTo>
                    <a:lnTo>
                      <a:pt x="10" y="20"/>
                    </a:lnTo>
                    <a:lnTo>
                      <a:pt x="12" y="18"/>
                    </a:lnTo>
                    <a:lnTo>
                      <a:pt x="12" y="16"/>
                    </a:lnTo>
                    <a:lnTo>
                      <a:pt x="12" y="16"/>
                    </a:lnTo>
                    <a:lnTo>
                      <a:pt x="8" y="16"/>
                    </a:lnTo>
                    <a:lnTo>
                      <a:pt x="8" y="16"/>
                    </a:lnTo>
                    <a:lnTo>
                      <a:pt x="4" y="16"/>
                    </a:lnTo>
                    <a:lnTo>
                      <a:pt x="4"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3" name="Freeform 1642"/>
              <p:cNvSpPr>
                <a:spLocks noEditPoints="1"/>
              </p:cNvSpPr>
              <p:nvPr/>
            </p:nvSpPr>
            <p:spPr bwMode="auto">
              <a:xfrm>
                <a:off x="4550" y="1198"/>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0 w 20"/>
                  <a:gd name="T13" fmla="*/ 8 h 14"/>
                  <a:gd name="T14" fmla="*/ 10 w 20"/>
                  <a:gd name="T15" fmla="*/ 8 h 14"/>
                  <a:gd name="T16" fmla="*/ 12 w 20"/>
                  <a:gd name="T17" fmla="*/ 8 h 14"/>
                  <a:gd name="T18" fmla="*/ 12 w 20"/>
                  <a:gd name="T19" fmla="*/ 8 h 14"/>
                  <a:gd name="T20" fmla="*/ 6 w 20"/>
                  <a:gd name="T21" fmla="*/ 12 h 14"/>
                  <a:gd name="T22" fmla="*/ 6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0" y="8"/>
                    </a:lnTo>
                    <a:lnTo>
                      <a:pt x="10" y="8"/>
                    </a:lnTo>
                    <a:lnTo>
                      <a:pt x="12" y="8"/>
                    </a:lnTo>
                    <a:lnTo>
                      <a:pt x="12" y="8"/>
                    </a:lnTo>
                    <a:lnTo>
                      <a:pt x="6" y="12"/>
                    </a:lnTo>
                    <a:lnTo>
                      <a:pt x="6" y="12"/>
                    </a:lnTo>
                    <a:lnTo>
                      <a:pt x="6" y="10"/>
                    </a:lnTo>
                    <a:lnTo>
                      <a:pt x="6"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4" name="Freeform 1643"/>
              <p:cNvSpPr>
                <a:spLocks/>
              </p:cNvSpPr>
              <p:nvPr/>
            </p:nvSpPr>
            <p:spPr bwMode="auto">
              <a:xfrm>
                <a:off x="4556" y="1204"/>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4 w 6"/>
                  <a:gd name="T13" fmla="*/ 2 h 6"/>
                  <a:gd name="T14" fmla="*/ 4 w 6"/>
                  <a:gd name="T15" fmla="*/ 2 h 6"/>
                  <a:gd name="T16" fmla="*/ 6 w 6"/>
                  <a:gd name="T17" fmla="*/ 2 h 6"/>
                  <a:gd name="T18" fmla="*/ 6 w 6"/>
                  <a:gd name="T19" fmla="*/ 2 h 6"/>
                  <a:gd name="T20" fmla="*/ 0 w 6"/>
                  <a:gd name="T21" fmla="*/ 6 h 6"/>
                  <a:gd name="T22" fmla="*/ 0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4" y="2"/>
                    </a:lnTo>
                    <a:lnTo>
                      <a:pt x="4" y="2"/>
                    </a:lnTo>
                    <a:lnTo>
                      <a:pt x="6" y="2"/>
                    </a:lnTo>
                    <a:lnTo>
                      <a:pt x="6" y="2"/>
                    </a:lnTo>
                    <a:lnTo>
                      <a:pt x="0" y="6"/>
                    </a:lnTo>
                    <a:lnTo>
                      <a:pt x="0"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5" name="Freeform 1644"/>
              <p:cNvSpPr>
                <a:spLocks/>
              </p:cNvSpPr>
              <p:nvPr/>
            </p:nvSpPr>
            <p:spPr bwMode="auto">
              <a:xfrm>
                <a:off x="4550" y="1198"/>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6" name="Freeform 1645"/>
              <p:cNvSpPr>
                <a:spLocks/>
              </p:cNvSpPr>
              <p:nvPr/>
            </p:nvSpPr>
            <p:spPr bwMode="auto">
              <a:xfrm>
                <a:off x="4504"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7" name="Freeform 1646"/>
              <p:cNvSpPr>
                <a:spLocks/>
              </p:cNvSpPr>
              <p:nvPr/>
            </p:nvSpPr>
            <p:spPr bwMode="auto">
              <a:xfrm>
                <a:off x="4504"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8" name="Freeform 1647"/>
              <p:cNvSpPr>
                <a:spLocks/>
              </p:cNvSpPr>
              <p:nvPr/>
            </p:nvSpPr>
            <p:spPr bwMode="auto">
              <a:xfrm>
                <a:off x="4600" y="1192"/>
                <a:ext cx="10" cy="8"/>
              </a:xfrm>
              <a:custGeom>
                <a:avLst/>
                <a:gdLst>
                  <a:gd name="T0" fmla="*/ 10 w 10"/>
                  <a:gd name="T1" fmla="*/ 0 h 8"/>
                  <a:gd name="T2" fmla="*/ 10 w 10"/>
                  <a:gd name="T3" fmla="*/ 0 h 8"/>
                  <a:gd name="T4" fmla="*/ 0 w 10"/>
                  <a:gd name="T5" fmla="*/ 6 h 8"/>
                  <a:gd name="T6" fmla="*/ 0 w 10"/>
                  <a:gd name="T7" fmla="*/ 6 h 8"/>
                  <a:gd name="T8" fmla="*/ 0 w 10"/>
                  <a:gd name="T9" fmla="*/ 8 h 8"/>
                  <a:gd name="T10" fmla="*/ 0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0" y="8"/>
                    </a:lnTo>
                    <a:lnTo>
                      <a:pt x="0" y="8"/>
                    </a:lnTo>
                    <a:lnTo>
                      <a:pt x="6" y="4"/>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9" name="Freeform 1648"/>
              <p:cNvSpPr>
                <a:spLocks/>
              </p:cNvSpPr>
              <p:nvPr/>
            </p:nvSpPr>
            <p:spPr bwMode="auto">
              <a:xfrm>
                <a:off x="4600" y="1192"/>
                <a:ext cx="10" cy="8"/>
              </a:xfrm>
              <a:custGeom>
                <a:avLst/>
                <a:gdLst>
                  <a:gd name="T0" fmla="*/ 10 w 10"/>
                  <a:gd name="T1" fmla="*/ 0 h 8"/>
                  <a:gd name="T2" fmla="*/ 10 w 10"/>
                  <a:gd name="T3" fmla="*/ 0 h 8"/>
                  <a:gd name="T4" fmla="*/ 0 w 10"/>
                  <a:gd name="T5" fmla="*/ 6 h 8"/>
                  <a:gd name="T6" fmla="*/ 0 w 10"/>
                  <a:gd name="T7" fmla="*/ 6 h 8"/>
                  <a:gd name="T8" fmla="*/ 0 w 10"/>
                  <a:gd name="T9" fmla="*/ 8 h 8"/>
                  <a:gd name="T10" fmla="*/ 0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0" y="8"/>
                    </a:lnTo>
                    <a:lnTo>
                      <a:pt x="0" y="8"/>
                    </a:lnTo>
                    <a:lnTo>
                      <a:pt x="6" y="4"/>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0" name="Freeform 1649"/>
              <p:cNvSpPr>
                <a:spLocks/>
              </p:cNvSpPr>
              <p:nvPr/>
            </p:nvSpPr>
            <p:spPr bwMode="auto">
              <a:xfrm>
                <a:off x="4544"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1" name="Freeform 1650"/>
              <p:cNvSpPr>
                <a:spLocks/>
              </p:cNvSpPr>
              <p:nvPr/>
            </p:nvSpPr>
            <p:spPr bwMode="auto">
              <a:xfrm>
                <a:off x="4544"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2" name="Freeform 1651"/>
              <p:cNvSpPr>
                <a:spLocks/>
              </p:cNvSpPr>
              <p:nvPr/>
            </p:nvSpPr>
            <p:spPr bwMode="auto">
              <a:xfrm>
                <a:off x="4560"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3" name="Freeform 1652"/>
              <p:cNvSpPr>
                <a:spLocks/>
              </p:cNvSpPr>
              <p:nvPr/>
            </p:nvSpPr>
            <p:spPr bwMode="auto">
              <a:xfrm>
                <a:off x="4560"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4" name="Freeform 1653"/>
              <p:cNvSpPr>
                <a:spLocks/>
              </p:cNvSpPr>
              <p:nvPr/>
            </p:nvSpPr>
            <p:spPr bwMode="auto">
              <a:xfrm>
                <a:off x="4556" y="1204"/>
                <a:ext cx="4" cy="6"/>
              </a:xfrm>
              <a:custGeom>
                <a:avLst/>
                <a:gdLst>
                  <a:gd name="T0" fmla="*/ 2 w 4"/>
                  <a:gd name="T1" fmla="*/ 0 h 6"/>
                  <a:gd name="T2" fmla="*/ 2 w 4"/>
                  <a:gd name="T3" fmla="*/ 0 h 6"/>
                  <a:gd name="T4" fmla="*/ 0 w 4"/>
                  <a:gd name="T5" fmla="*/ 2 h 6"/>
                  <a:gd name="T6" fmla="*/ 0 w 4"/>
                  <a:gd name="T7" fmla="*/ 2 h 6"/>
                  <a:gd name="T8" fmla="*/ 0 w 4"/>
                  <a:gd name="T9" fmla="*/ 2 h 6"/>
                  <a:gd name="T10" fmla="*/ 0 w 4"/>
                  <a:gd name="T11" fmla="*/ 2 h 6"/>
                  <a:gd name="T12" fmla="*/ 2 w 4"/>
                  <a:gd name="T13" fmla="*/ 6 h 6"/>
                  <a:gd name="T14" fmla="*/ 2 w 4"/>
                  <a:gd name="T15" fmla="*/ 6 h 6"/>
                  <a:gd name="T16" fmla="*/ 4 w 4"/>
                  <a:gd name="T17" fmla="*/ 2 h 6"/>
                  <a:gd name="T18" fmla="*/ 4 w 4"/>
                  <a:gd name="T19" fmla="*/ 2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lnTo>
                      <a:pt x="2" y="0"/>
                    </a:lnTo>
                    <a:lnTo>
                      <a:pt x="0" y="2"/>
                    </a:lnTo>
                    <a:lnTo>
                      <a:pt x="0" y="2"/>
                    </a:lnTo>
                    <a:lnTo>
                      <a:pt x="0" y="2"/>
                    </a:lnTo>
                    <a:lnTo>
                      <a:pt x="0" y="2"/>
                    </a:lnTo>
                    <a:lnTo>
                      <a:pt x="2" y="6"/>
                    </a:lnTo>
                    <a:lnTo>
                      <a:pt x="2" y="6"/>
                    </a:lnTo>
                    <a:lnTo>
                      <a:pt x="4" y="2"/>
                    </a:lnTo>
                    <a:lnTo>
                      <a:pt x="4"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5" name="Freeform 1654"/>
              <p:cNvSpPr>
                <a:spLocks/>
              </p:cNvSpPr>
              <p:nvPr/>
            </p:nvSpPr>
            <p:spPr bwMode="auto">
              <a:xfrm>
                <a:off x="4556" y="1204"/>
                <a:ext cx="4" cy="6"/>
              </a:xfrm>
              <a:custGeom>
                <a:avLst/>
                <a:gdLst>
                  <a:gd name="T0" fmla="*/ 2 w 4"/>
                  <a:gd name="T1" fmla="*/ 0 h 6"/>
                  <a:gd name="T2" fmla="*/ 2 w 4"/>
                  <a:gd name="T3" fmla="*/ 0 h 6"/>
                  <a:gd name="T4" fmla="*/ 0 w 4"/>
                  <a:gd name="T5" fmla="*/ 2 h 6"/>
                  <a:gd name="T6" fmla="*/ 0 w 4"/>
                  <a:gd name="T7" fmla="*/ 2 h 6"/>
                  <a:gd name="T8" fmla="*/ 0 w 4"/>
                  <a:gd name="T9" fmla="*/ 2 h 6"/>
                  <a:gd name="T10" fmla="*/ 0 w 4"/>
                  <a:gd name="T11" fmla="*/ 2 h 6"/>
                  <a:gd name="T12" fmla="*/ 2 w 4"/>
                  <a:gd name="T13" fmla="*/ 6 h 6"/>
                  <a:gd name="T14" fmla="*/ 2 w 4"/>
                  <a:gd name="T15" fmla="*/ 6 h 6"/>
                  <a:gd name="T16" fmla="*/ 4 w 4"/>
                  <a:gd name="T17" fmla="*/ 2 h 6"/>
                  <a:gd name="T18" fmla="*/ 4 w 4"/>
                  <a:gd name="T19" fmla="*/ 2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lnTo>
                      <a:pt x="2" y="0"/>
                    </a:lnTo>
                    <a:lnTo>
                      <a:pt x="0" y="2"/>
                    </a:lnTo>
                    <a:lnTo>
                      <a:pt x="0" y="2"/>
                    </a:lnTo>
                    <a:lnTo>
                      <a:pt x="0" y="2"/>
                    </a:lnTo>
                    <a:lnTo>
                      <a:pt x="0" y="2"/>
                    </a:lnTo>
                    <a:lnTo>
                      <a:pt x="2" y="6"/>
                    </a:lnTo>
                    <a:lnTo>
                      <a:pt x="2" y="6"/>
                    </a:lnTo>
                    <a:lnTo>
                      <a:pt x="4" y="2"/>
                    </a:lnTo>
                    <a:lnTo>
                      <a:pt x="4"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6" name="Freeform 1655"/>
              <p:cNvSpPr>
                <a:spLocks/>
              </p:cNvSpPr>
              <p:nvPr/>
            </p:nvSpPr>
            <p:spPr bwMode="auto">
              <a:xfrm>
                <a:off x="4556"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4 w 6"/>
                  <a:gd name="T13" fmla="*/ 2 h 2"/>
                  <a:gd name="T14" fmla="*/ 4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4" y="2"/>
                    </a:lnTo>
                    <a:lnTo>
                      <a:pt x="4"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7" name="Freeform 1656"/>
              <p:cNvSpPr>
                <a:spLocks/>
              </p:cNvSpPr>
              <p:nvPr/>
            </p:nvSpPr>
            <p:spPr bwMode="auto">
              <a:xfrm>
                <a:off x="4556"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4 w 6"/>
                  <a:gd name="T13" fmla="*/ 2 h 2"/>
                  <a:gd name="T14" fmla="*/ 4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4" y="2"/>
                    </a:lnTo>
                    <a:lnTo>
                      <a:pt x="4"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8" name="Freeform 1657"/>
              <p:cNvSpPr>
                <a:spLocks/>
              </p:cNvSpPr>
              <p:nvPr/>
            </p:nvSpPr>
            <p:spPr bwMode="auto">
              <a:xfrm>
                <a:off x="5080"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9" name="Freeform 1658"/>
              <p:cNvSpPr>
                <a:spLocks/>
              </p:cNvSpPr>
              <p:nvPr/>
            </p:nvSpPr>
            <p:spPr bwMode="auto">
              <a:xfrm>
                <a:off x="5316"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0" name="Freeform 1659"/>
              <p:cNvSpPr>
                <a:spLocks/>
              </p:cNvSpPr>
              <p:nvPr/>
            </p:nvSpPr>
            <p:spPr bwMode="auto">
              <a:xfrm>
                <a:off x="540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1" name="Freeform 1660"/>
              <p:cNvSpPr>
                <a:spLocks/>
              </p:cNvSpPr>
              <p:nvPr/>
            </p:nvSpPr>
            <p:spPr bwMode="auto">
              <a:xfrm>
                <a:off x="5500"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2" name="Freeform 1661"/>
              <p:cNvSpPr>
                <a:spLocks/>
              </p:cNvSpPr>
              <p:nvPr/>
            </p:nvSpPr>
            <p:spPr bwMode="auto">
              <a:xfrm>
                <a:off x="5170"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3" name="Freeform 1662"/>
              <p:cNvSpPr>
                <a:spLocks/>
              </p:cNvSpPr>
              <p:nvPr/>
            </p:nvSpPr>
            <p:spPr bwMode="auto">
              <a:xfrm>
                <a:off x="5170"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4" name="Freeform 1663"/>
              <p:cNvSpPr>
                <a:spLocks/>
              </p:cNvSpPr>
              <p:nvPr/>
            </p:nvSpPr>
            <p:spPr bwMode="auto">
              <a:xfrm>
                <a:off x="5230"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5" name="Freeform 1664"/>
              <p:cNvSpPr>
                <a:spLocks/>
              </p:cNvSpPr>
              <p:nvPr/>
            </p:nvSpPr>
            <p:spPr bwMode="auto">
              <a:xfrm>
                <a:off x="5230"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6" name="Freeform 1665"/>
              <p:cNvSpPr>
                <a:spLocks noEditPoints="1"/>
              </p:cNvSpPr>
              <p:nvPr/>
            </p:nvSpPr>
            <p:spPr bwMode="auto">
              <a:xfrm>
                <a:off x="5590" y="1158"/>
                <a:ext cx="98" cy="148"/>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7" name="Freeform 1666"/>
              <p:cNvSpPr>
                <a:spLocks noEditPoints="1"/>
              </p:cNvSpPr>
              <p:nvPr/>
            </p:nvSpPr>
            <p:spPr bwMode="auto">
              <a:xfrm>
                <a:off x="5726" y="1158"/>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8" name="Freeform 1667"/>
              <p:cNvSpPr>
                <a:spLocks/>
              </p:cNvSpPr>
              <p:nvPr/>
            </p:nvSpPr>
            <p:spPr bwMode="auto">
              <a:xfrm>
                <a:off x="5866"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9" name="Freeform 1668"/>
              <p:cNvSpPr>
                <a:spLocks/>
              </p:cNvSpPr>
              <p:nvPr/>
            </p:nvSpPr>
            <p:spPr bwMode="auto">
              <a:xfrm>
                <a:off x="595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0" name="Freeform 1669"/>
              <p:cNvSpPr>
                <a:spLocks/>
              </p:cNvSpPr>
              <p:nvPr/>
            </p:nvSpPr>
            <p:spPr bwMode="auto">
              <a:xfrm>
                <a:off x="604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1" name="Freeform 1670"/>
              <p:cNvSpPr>
                <a:spLocks noEditPoints="1"/>
              </p:cNvSpPr>
              <p:nvPr/>
            </p:nvSpPr>
            <p:spPr bwMode="auto">
              <a:xfrm>
                <a:off x="5678" y="964"/>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2" name="Freeform 1671"/>
              <p:cNvSpPr>
                <a:spLocks/>
              </p:cNvSpPr>
              <p:nvPr/>
            </p:nvSpPr>
            <p:spPr bwMode="auto">
              <a:xfrm>
                <a:off x="5818"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3" name="Freeform 1672"/>
              <p:cNvSpPr>
                <a:spLocks/>
              </p:cNvSpPr>
              <p:nvPr/>
            </p:nvSpPr>
            <p:spPr bwMode="auto">
              <a:xfrm>
                <a:off x="591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4" name="Freeform 1673"/>
              <p:cNvSpPr>
                <a:spLocks/>
              </p:cNvSpPr>
              <p:nvPr/>
            </p:nvSpPr>
            <p:spPr bwMode="auto">
              <a:xfrm>
                <a:off x="600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5" name="Freeform 1674"/>
              <p:cNvSpPr>
                <a:spLocks/>
              </p:cNvSpPr>
              <p:nvPr/>
            </p:nvSpPr>
            <p:spPr bwMode="auto">
              <a:xfrm>
                <a:off x="609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6" name="Freeform 1675"/>
              <p:cNvSpPr>
                <a:spLocks/>
              </p:cNvSpPr>
              <p:nvPr/>
            </p:nvSpPr>
            <p:spPr bwMode="auto">
              <a:xfrm>
                <a:off x="6336"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7" name="Freeform 1676"/>
              <p:cNvSpPr>
                <a:spLocks/>
              </p:cNvSpPr>
              <p:nvPr/>
            </p:nvSpPr>
            <p:spPr bwMode="auto">
              <a:xfrm>
                <a:off x="642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8" name="Freeform 1677"/>
              <p:cNvSpPr>
                <a:spLocks/>
              </p:cNvSpPr>
              <p:nvPr/>
            </p:nvSpPr>
            <p:spPr bwMode="auto">
              <a:xfrm>
                <a:off x="6522"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9" name="Freeform 1678"/>
              <p:cNvSpPr>
                <a:spLocks/>
              </p:cNvSpPr>
              <p:nvPr/>
            </p:nvSpPr>
            <p:spPr bwMode="auto">
              <a:xfrm>
                <a:off x="6614"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0" name="Freeform 1679"/>
              <p:cNvSpPr>
                <a:spLocks/>
              </p:cNvSpPr>
              <p:nvPr/>
            </p:nvSpPr>
            <p:spPr bwMode="auto">
              <a:xfrm>
                <a:off x="6188" y="968"/>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1" name="Freeform 1680"/>
              <p:cNvSpPr>
                <a:spLocks/>
              </p:cNvSpPr>
              <p:nvPr/>
            </p:nvSpPr>
            <p:spPr bwMode="auto">
              <a:xfrm>
                <a:off x="6188" y="968"/>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2" name="Freeform 1681"/>
              <p:cNvSpPr>
                <a:spLocks/>
              </p:cNvSpPr>
              <p:nvPr/>
            </p:nvSpPr>
            <p:spPr bwMode="auto">
              <a:xfrm>
                <a:off x="6248"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3" name="Freeform 1682"/>
              <p:cNvSpPr>
                <a:spLocks/>
              </p:cNvSpPr>
              <p:nvPr/>
            </p:nvSpPr>
            <p:spPr bwMode="auto">
              <a:xfrm>
                <a:off x="6248"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4" name="Freeform 1683"/>
              <p:cNvSpPr>
                <a:spLocks/>
              </p:cNvSpPr>
              <p:nvPr/>
            </p:nvSpPr>
            <p:spPr bwMode="auto">
              <a:xfrm>
                <a:off x="6936"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5" name="Freeform 1684"/>
              <p:cNvSpPr>
                <a:spLocks/>
              </p:cNvSpPr>
              <p:nvPr/>
            </p:nvSpPr>
            <p:spPr bwMode="auto">
              <a:xfrm>
                <a:off x="6936"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6" name="Freeform 1685"/>
              <p:cNvSpPr>
                <a:spLocks/>
              </p:cNvSpPr>
              <p:nvPr/>
            </p:nvSpPr>
            <p:spPr bwMode="auto">
              <a:xfrm>
                <a:off x="6996"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7" name="Freeform 1686"/>
              <p:cNvSpPr>
                <a:spLocks/>
              </p:cNvSpPr>
              <p:nvPr/>
            </p:nvSpPr>
            <p:spPr bwMode="auto">
              <a:xfrm>
                <a:off x="6996"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8" name="Freeform 1687"/>
              <p:cNvSpPr>
                <a:spLocks/>
              </p:cNvSpPr>
              <p:nvPr/>
            </p:nvSpPr>
            <p:spPr bwMode="auto">
              <a:xfrm>
                <a:off x="708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9" name="Freeform 1688"/>
              <p:cNvSpPr>
                <a:spLocks/>
              </p:cNvSpPr>
              <p:nvPr/>
            </p:nvSpPr>
            <p:spPr bwMode="auto">
              <a:xfrm>
                <a:off x="717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0" name="Freeform 1689"/>
              <p:cNvSpPr>
                <a:spLocks/>
              </p:cNvSpPr>
              <p:nvPr/>
            </p:nvSpPr>
            <p:spPr bwMode="auto">
              <a:xfrm>
                <a:off x="7270"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1" name="Freeform 1690"/>
              <p:cNvSpPr>
                <a:spLocks/>
              </p:cNvSpPr>
              <p:nvPr/>
            </p:nvSpPr>
            <p:spPr bwMode="auto">
              <a:xfrm>
                <a:off x="751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2" name="Freeform 1691"/>
              <p:cNvSpPr>
                <a:spLocks/>
              </p:cNvSpPr>
              <p:nvPr/>
            </p:nvSpPr>
            <p:spPr bwMode="auto">
              <a:xfrm>
                <a:off x="7360"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3" name="Freeform 1692"/>
              <p:cNvSpPr>
                <a:spLocks/>
              </p:cNvSpPr>
              <p:nvPr/>
            </p:nvSpPr>
            <p:spPr bwMode="auto">
              <a:xfrm>
                <a:off x="7360"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4" name="Freeform 1693"/>
              <p:cNvSpPr>
                <a:spLocks/>
              </p:cNvSpPr>
              <p:nvPr/>
            </p:nvSpPr>
            <p:spPr bwMode="auto">
              <a:xfrm>
                <a:off x="7422" y="968"/>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5" name="Freeform 1694"/>
              <p:cNvSpPr>
                <a:spLocks/>
              </p:cNvSpPr>
              <p:nvPr/>
            </p:nvSpPr>
            <p:spPr bwMode="auto">
              <a:xfrm>
                <a:off x="7422" y="968"/>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6" name="Freeform 1695"/>
              <p:cNvSpPr>
                <a:spLocks noEditPoints="1"/>
              </p:cNvSpPr>
              <p:nvPr/>
            </p:nvSpPr>
            <p:spPr bwMode="auto">
              <a:xfrm>
                <a:off x="5668" y="778"/>
                <a:ext cx="188" cy="146"/>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7" name="Freeform 1696"/>
              <p:cNvSpPr>
                <a:spLocks/>
              </p:cNvSpPr>
              <p:nvPr/>
            </p:nvSpPr>
            <p:spPr bwMode="auto">
              <a:xfrm>
                <a:off x="5772" y="882"/>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8" name="Freeform 1697"/>
              <p:cNvSpPr>
                <a:spLocks/>
              </p:cNvSpPr>
              <p:nvPr/>
            </p:nvSpPr>
            <p:spPr bwMode="auto">
              <a:xfrm>
                <a:off x="5674" y="878"/>
                <a:ext cx="18" cy="22"/>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9" name="Freeform 1698"/>
              <p:cNvSpPr>
                <a:spLocks/>
              </p:cNvSpPr>
              <p:nvPr/>
            </p:nvSpPr>
            <p:spPr bwMode="auto">
              <a:xfrm>
                <a:off x="5670" y="828"/>
                <a:ext cx="12" cy="2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0" name="Freeform 1699"/>
              <p:cNvSpPr>
                <a:spLocks/>
              </p:cNvSpPr>
              <p:nvPr/>
            </p:nvSpPr>
            <p:spPr bwMode="auto">
              <a:xfrm>
                <a:off x="5682" y="782"/>
                <a:ext cx="172" cy="138"/>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1" name="Freeform 1700"/>
              <p:cNvSpPr>
                <a:spLocks/>
              </p:cNvSpPr>
              <p:nvPr/>
            </p:nvSpPr>
            <p:spPr bwMode="auto">
              <a:xfrm>
                <a:off x="5668" y="778"/>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2" name="Freeform 1701"/>
              <p:cNvSpPr>
                <a:spLocks/>
              </p:cNvSpPr>
              <p:nvPr/>
            </p:nvSpPr>
            <p:spPr bwMode="auto">
              <a:xfrm>
                <a:off x="5674" y="878"/>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3" name="Freeform 1702"/>
              <p:cNvSpPr>
                <a:spLocks/>
              </p:cNvSpPr>
              <p:nvPr/>
            </p:nvSpPr>
            <p:spPr bwMode="auto">
              <a:xfrm>
                <a:off x="5674" y="878"/>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4" name="Freeform 1703"/>
              <p:cNvSpPr>
                <a:spLocks/>
              </p:cNvSpPr>
              <p:nvPr/>
            </p:nvSpPr>
            <p:spPr bwMode="auto">
              <a:xfrm>
                <a:off x="5676"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5" name="Freeform 1704"/>
              <p:cNvSpPr>
                <a:spLocks/>
              </p:cNvSpPr>
              <p:nvPr/>
            </p:nvSpPr>
            <p:spPr bwMode="auto">
              <a:xfrm>
                <a:off x="5676"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6" name="Freeform 1705"/>
              <p:cNvSpPr>
                <a:spLocks/>
              </p:cNvSpPr>
              <p:nvPr/>
            </p:nvSpPr>
            <p:spPr bwMode="auto">
              <a:xfrm>
                <a:off x="5772" y="882"/>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7" name="Freeform 1706"/>
              <p:cNvSpPr>
                <a:spLocks/>
              </p:cNvSpPr>
              <p:nvPr/>
            </p:nvSpPr>
            <p:spPr bwMode="auto">
              <a:xfrm>
                <a:off x="5772" y="882"/>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8" name="Freeform 1707"/>
              <p:cNvSpPr>
                <a:spLocks noEditPoints="1"/>
              </p:cNvSpPr>
              <p:nvPr/>
            </p:nvSpPr>
            <p:spPr bwMode="auto">
              <a:xfrm>
                <a:off x="5772" y="882"/>
                <a:ext cx="14" cy="26"/>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9" name="Freeform 1708"/>
              <p:cNvSpPr>
                <a:spLocks/>
              </p:cNvSpPr>
              <p:nvPr/>
            </p:nvSpPr>
            <p:spPr bwMode="auto">
              <a:xfrm>
                <a:off x="5780" y="908"/>
                <a:ext cx="2"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0" name="Freeform 1709"/>
              <p:cNvSpPr>
                <a:spLocks/>
              </p:cNvSpPr>
              <p:nvPr/>
            </p:nvSpPr>
            <p:spPr bwMode="auto">
              <a:xfrm>
                <a:off x="5772" y="90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1" name="Freeform 1710"/>
              <p:cNvSpPr>
                <a:spLocks/>
              </p:cNvSpPr>
              <p:nvPr/>
            </p:nvSpPr>
            <p:spPr bwMode="auto">
              <a:xfrm>
                <a:off x="5782" y="882"/>
                <a:ext cx="4" cy="4"/>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2" name="Freeform 1711"/>
              <p:cNvSpPr>
                <a:spLocks/>
              </p:cNvSpPr>
              <p:nvPr/>
            </p:nvSpPr>
            <p:spPr bwMode="auto">
              <a:xfrm>
                <a:off x="5670" y="8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3" name="Freeform 1712"/>
              <p:cNvSpPr>
                <a:spLocks/>
              </p:cNvSpPr>
              <p:nvPr/>
            </p:nvSpPr>
            <p:spPr bwMode="auto">
              <a:xfrm>
                <a:off x="5670" y="8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4" name="Freeform 1713"/>
              <p:cNvSpPr>
                <a:spLocks noEditPoints="1"/>
              </p:cNvSpPr>
              <p:nvPr/>
            </p:nvSpPr>
            <p:spPr bwMode="auto">
              <a:xfrm>
                <a:off x="5674" y="828"/>
                <a:ext cx="8" cy="2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5" name="Freeform 1714"/>
              <p:cNvSpPr>
                <a:spLocks/>
              </p:cNvSpPr>
              <p:nvPr/>
            </p:nvSpPr>
            <p:spPr bwMode="auto">
              <a:xfrm>
                <a:off x="5676" y="842"/>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6" name="Freeform 1715"/>
              <p:cNvSpPr>
                <a:spLocks/>
              </p:cNvSpPr>
              <p:nvPr/>
            </p:nvSpPr>
            <p:spPr bwMode="auto">
              <a:xfrm>
                <a:off x="5674" y="828"/>
                <a:ext cx="4" cy="16"/>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7" name="Freeform 1716"/>
              <p:cNvSpPr>
                <a:spLocks noEditPoints="1"/>
              </p:cNvSpPr>
              <p:nvPr/>
            </p:nvSpPr>
            <p:spPr bwMode="auto">
              <a:xfrm>
                <a:off x="5784" y="816"/>
                <a:ext cx="20" cy="14"/>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8" name="Freeform 1717"/>
              <p:cNvSpPr>
                <a:spLocks/>
              </p:cNvSpPr>
              <p:nvPr/>
            </p:nvSpPr>
            <p:spPr bwMode="auto">
              <a:xfrm>
                <a:off x="5790" y="824"/>
                <a:ext cx="6" cy="4"/>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9" name="Freeform 1718"/>
              <p:cNvSpPr>
                <a:spLocks/>
              </p:cNvSpPr>
              <p:nvPr/>
            </p:nvSpPr>
            <p:spPr bwMode="auto">
              <a:xfrm>
                <a:off x="5784" y="816"/>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0" name="Freeform 1719"/>
              <p:cNvSpPr>
                <a:spLocks/>
              </p:cNvSpPr>
              <p:nvPr/>
            </p:nvSpPr>
            <p:spPr bwMode="auto">
              <a:xfrm>
                <a:off x="5738" y="806"/>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1" name="Freeform 1720"/>
              <p:cNvSpPr>
                <a:spLocks/>
              </p:cNvSpPr>
              <p:nvPr/>
            </p:nvSpPr>
            <p:spPr bwMode="auto">
              <a:xfrm>
                <a:off x="5738" y="806"/>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2" name="Freeform 1721"/>
              <p:cNvSpPr>
                <a:spLocks/>
              </p:cNvSpPr>
              <p:nvPr/>
            </p:nvSpPr>
            <p:spPr bwMode="auto">
              <a:xfrm>
                <a:off x="5834"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3" name="Freeform 1722"/>
              <p:cNvSpPr>
                <a:spLocks/>
              </p:cNvSpPr>
              <p:nvPr/>
            </p:nvSpPr>
            <p:spPr bwMode="auto">
              <a:xfrm>
                <a:off x="5834"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4" name="Freeform 1723"/>
              <p:cNvSpPr>
                <a:spLocks/>
              </p:cNvSpPr>
              <p:nvPr/>
            </p:nvSpPr>
            <p:spPr bwMode="auto">
              <a:xfrm>
                <a:off x="5780"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5" name="Freeform 1724"/>
              <p:cNvSpPr>
                <a:spLocks/>
              </p:cNvSpPr>
              <p:nvPr/>
            </p:nvSpPr>
            <p:spPr bwMode="auto">
              <a:xfrm>
                <a:off x="5780"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6" name="Freeform 1725"/>
              <p:cNvSpPr>
                <a:spLocks/>
              </p:cNvSpPr>
              <p:nvPr/>
            </p:nvSpPr>
            <p:spPr bwMode="auto">
              <a:xfrm>
                <a:off x="5794"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7" name="Freeform 1726"/>
              <p:cNvSpPr>
                <a:spLocks/>
              </p:cNvSpPr>
              <p:nvPr/>
            </p:nvSpPr>
            <p:spPr bwMode="auto">
              <a:xfrm>
                <a:off x="5794"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8" name="Freeform 1727"/>
              <p:cNvSpPr>
                <a:spLocks/>
              </p:cNvSpPr>
              <p:nvPr/>
            </p:nvSpPr>
            <p:spPr bwMode="auto">
              <a:xfrm>
                <a:off x="5790"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9" name="Freeform 1728"/>
              <p:cNvSpPr>
                <a:spLocks/>
              </p:cNvSpPr>
              <p:nvPr/>
            </p:nvSpPr>
            <p:spPr bwMode="auto">
              <a:xfrm>
                <a:off x="5790"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0" name="Freeform 1729"/>
              <p:cNvSpPr>
                <a:spLocks/>
              </p:cNvSpPr>
              <p:nvPr/>
            </p:nvSpPr>
            <p:spPr bwMode="auto">
              <a:xfrm>
                <a:off x="5792"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1" name="Freeform 1730"/>
              <p:cNvSpPr>
                <a:spLocks/>
              </p:cNvSpPr>
              <p:nvPr/>
            </p:nvSpPr>
            <p:spPr bwMode="auto">
              <a:xfrm>
                <a:off x="5792"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2" name="Freeform 1731"/>
              <p:cNvSpPr>
                <a:spLocks noEditPoints="1"/>
              </p:cNvSpPr>
              <p:nvPr/>
            </p:nvSpPr>
            <p:spPr bwMode="auto">
              <a:xfrm>
                <a:off x="6708" y="966"/>
                <a:ext cx="188" cy="146"/>
              </a:xfrm>
              <a:custGeom>
                <a:avLst/>
                <a:gdLst>
                  <a:gd name="T0" fmla="*/ 120 w 188"/>
                  <a:gd name="T1" fmla="*/ 128 h 146"/>
                  <a:gd name="T2" fmla="*/ 112 w 188"/>
                  <a:gd name="T3" fmla="*/ 130 h 146"/>
                  <a:gd name="T4" fmla="*/ 14 w 188"/>
                  <a:gd name="T5" fmla="*/ 122 h 146"/>
                  <a:gd name="T6" fmla="*/ 14 w 188"/>
                  <a:gd name="T7" fmla="*/ 100 h 146"/>
                  <a:gd name="T8" fmla="*/ 20 w 188"/>
                  <a:gd name="T9" fmla="*/ 122 h 146"/>
                  <a:gd name="T10" fmla="*/ 8 w 188"/>
                  <a:gd name="T11" fmla="*/ 50 h 146"/>
                  <a:gd name="T12" fmla="*/ 6 w 188"/>
                  <a:gd name="T13" fmla="*/ 62 h 146"/>
                  <a:gd name="T14" fmla="*/ 14 w 188"/>
                  <a:gd name="T15" fmla="*/ 64 h 146"/>
                  <a:gd name="T16" fmla="*/ 8 w 188"/>
                  <a:gd name="T17" fmla="*/ 70 h 146"/>
                  <a:gd name="T18" fmla="*/ 2 w 188"/>
                  <a:gd name="T19" fmla="*/ 54 h 146"/>
                  <a:gd name="T20" fmla="*/ 96 w 188"/>
                  <a:gd name="T21" fmla="*/ 8 h 146"/>
                  <a:gd name="T22" fmla="*/ 144 w 188"/>
                  <a:gd name="T23" fmla="*/ 20 h 146"/>
                  <a:gd name="T24" fmla="*/ 148 w 188"/>
                  <a:gd name="T25" fmla="*/ 34 h 146"/>
                  <a:gd name="T26" fmla="*/ 148 w 188"/>
                  <a:gd name="T27" fmla="*/ 46 h 146"/>
                  <a:gd name="T28" fmla="*/ 150 w 188"/>
                  <a:gd name="T29" fmla="*/ 56 h 146"/>
                  <a:gd name="T30" fmla="*/ 158 w 188"/>
                  <a:gd name="T31" fmla="*/ 50 h 146"/>
                  <a:gd name="T32" fmla="*/ 162 w 188"/>
                  <a:gd name="T33" fmla="*/ 36 h 146"/>
                  <a:gd name="T34" fmla="*/ 178 w 188"/>
                  <a:gd name="T35" fmla="*/ 30 h 146"/>
                  <a:gd name="T36" fmla="*/ 172 w 188"/>
                  <a:gd name="T37" fmla="*/ 84 h 146"/>
                  <a:gd name="T38" fmla="*/ 130 w 188"/>
                  <a:gd name="T39" fmla="*/ 82 h 146"/>
                  <a:gd name="T40" fmla="*/ 138 w 188"/>
                  <a:gd name="T41" fmla="*/ 98 h 146"/>
                  <a:gd name="T42" fmla="*/ 142 w 188"/>
                  <a:gd name="T43" fmla="*/ 98 h 146"/>
                  <a:gd name="T44" fmla="*/ 126 w 188"/>
                  <a:gd name="T45" fmla="*/ 98 h 146"/>
                  <a:gd name="T46" fmla="*/ 108 w 188"/>
                  <a:gd name="T47" fmla="*/ 114 h 146"/>
                  <a:gd name="T48" fmla="*/ 82 w 188"/>
                  <a:gd name="T49" fmla="*/ 142 h 146"/>
                  <a:gd name="T50" fmla="*/ 70 w 188"/>
                  <a:gd name="T51" fmla="*/ 122 h 146"/>
                  <a:gd name="T52" fmla="*/ 70 w 188"/>
                  <a:gd name="T53" fmla="*/ 116 h 146"/>
                  <a:gd name="T54" fmla="*/ 52 w 188"/>
                  <a:gd name="T55" fmla="*/ 110 h 146"/>
                  <a:gd name="T56" fmla="*/ 48 w 188"/>
                  <a:gd name="T57" fmla="*/ 130 h 146"/>
                  <a:gd name="T58" fmla="*/ 26 w 188"/>
                  <a:gd name="T59" fmla="*/ 136 h 146"/>
                  <a:gd name="T60" fmla="*/ 26 w 188"/>
                  <a:gd name="T61" fmla="*/ 114 h 146"/>
                  <a:gd name="T62" fmla="*/ 18 w 188"/>
                  <a:gd name="T63" fmla="*/ 60 h 146"/>
                  <a:gd name="T64" fmla="*/ 58 w 188"/>
                  <a:gd name="T65" fmla="*/ 34 h 146"/>
                  <a:gd name="T66" fmla="*/ 46 w 188"/>
                  <a:gd name="T67" fmla="*/ 74 h 146"/>
                  <a:gd name="T68" fmla="*/ 56 w 188"/>
                  <a:gd name="T69" fmla="*/ 96 h 146"/>
                  <a:gd name="T70" fmla="*/ 92 w 188"/>
                  <a:gd name="T71" fmla="*/ 88 h 146"/>
                  <a:gd name="T72" fmla="*/ 92 w 188"/>
                  <a:gd name="T73" fmla="*/ 44 h 146"/>
                  <a:gd name="T74" fmla="*/ 86 w 188"/>
                  <a:gd name="T75" fmla="*/ 86 h 146"/>
                  <a:gd name="T76" fmla="*/ 52 w 188"/>
                  <a:gd name="T77" fmla="*/ 90 h 146"/>
                  <a:gd name="T78" fmla="*/ 52 w 188"/>
                  <a:gd name="T79" fmla="*/ 78 h 146"/>
                  <a:gd name="T80" fmla="*/ 50 w 188"/>
                  <a:gd name="T81" fmla="*/ 50 h 146"/>
                  <a:gd name="T82" fmla="*/ 90 w 188"/>
                  <a:gd name="T83" fmla="*/ 20 h 146"/>
                  <a:gd name="T84" fmla="*/ 84 w 188"/>
                  <a:gd name="T85" fmla="*/ 12 h 146"/>
                  <a:gd name="T86" fmla="*/ 52 w 188"/>
                  <a:gd name="T87" fmla="*/ 32 h 146"/>
                  <a:gd name="T88" fmla="*/ 12 w 188"/>
                  <a:gd name="T89" fmla="*/ 62 h 146"/>
                  <a:gd name="T90" fmla="*/ 12 w 188"/>
                  <a:gd name="T91" fmla="*/ 50 h 146"/>
                  <a:gd name="T92" fmla="*/ 4 w 188"/>
                  <a:gd name="T93" fmla="*/ 68 h 146"/>
                  <a:gd name="T94" fmla="*/ 12 w 188"/>
                  <a:gd name="T95" fmla="*/ 94 h 146"/>
                  <a:gd name="T96" fmla="*/ 8 w 188"/>
                  <a:gd name="T97" fmla="*/ 120 h 146"/>
                  <a:gd name="T98" fmla="*/ 22 w 188"/>
                  <a:gd name="T99" fmla="*/ 138 h 146"/>
                  <a:gd name="T100" fmla="*/ 48 w 188"/>
                  <a:gd name="T101" fmla="*/ 144 h 146"/>
                  <a:gd name="T102" fmla="*/ 68 w 188"/>
                  <a:gd name="T103" fmla="*/ 120 h 146"/>
                  <a:gd name="T104" fmla="*/ 80 w 188"/>
                  <a:gd name="T105" fmla="*/ 146 h 146"/>
                  <a:gd name="T106" fmla="*/ 100 w 188"/>
                  <a:gd name="T107" fmla="*/ 132 h 146"/>
                  <a:gd name="T108" fmla="*/ 122 w 188"/>
                  <a:gd name="T109" fmla="*/ 114 h 146"/>
                  <a:gd name="T110" fmla="*/ 124 w 188"/>
                  <a:gd name="T111" fmla="*/ 102 h 146"/>
                  <a:gd name="T112" fmla="*/ 146 w 188"/>
                  <a:gd name="T113" fmla="*/ 96 h 146"/>
                  <a:gd name="T114" fmla="*/ 166 w 188"/>
                  <a:gd name="T115" fmla="*/ 90 h 146"/>
                  <a:gd name="T116" fmla="*/ 184 w 188"/>
                  <a:gd name="T117" fmla="*/ 38 h 146"/>
                  <a:gd name="T118" fmla="*/ 170 w 188"/>
                  <a:gd name="T119" fmla="*/ 28 h 146"/>
                  <a:gd name="T120" fmla="*/ 152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2" y="130"/>
                    </a:lnTo>
                    <a:lnTo>
                      <a:pt x="112" y="130"/>
                    </a:lnTo>
                    <a:lnTo>
                      <a:pt x="112" y="130"/>
                    </a:lnTo>
                    <a:lnTo>
                      <a:pt x="112" y="130"/>
                    </a:lnTo>
                    <a:lnTo>
                      <a:pt x="112" y="130"/>
                    </a:lnTo>
                    <a:lnTo>
                      <a:pt x="112" y="130"/>
                    </a:lnTo>
                    <a:lnTo>
                      <a:pt x="102" y="130"/>
                    </a:lnTo>
                    <a:lnTo>
                      <a:pt x="102" y="130"/>
                    </a:lnTo>
                    <a:lnTo>
                      <a:pt x="116" y="104"/>
                    </a:lnTo>
                    <a:lnTo>
                      <a:pt x="116" y="104"/>
                    </a:lnTo>
                    <a:lnTo>
                      <a:pt x="116" y="104"/>
                    </a:lnTo>
                    <a:close/>
                    <a:moveTo>
                      <a:pt x="18" y="122"/>
                    </a:moveTo>
                    <a:lnTo>
                      <a:pt x="18" y="122"/>
                    </a:lnTo>
                    <a:lnTo>
                      <a:pt x="14" y="122"/>
                    </a:lnTo>
                    <a:lnTo>
                      <a:pt x="10" y="118"/>
                    </a:lnTo>
                    <a:lnTo>
                      <a:pt x="6" y="114"/>
                    </a:lnTo>
                    <a:lnTo>
                      <a:pt x="4" y="108"/>
                    </a:lnTo>
                    <a:lnTo>
                      <a:pt x="4" y="108"/>
                    </a:lnTo>
                    <a:lnTo>
                      <a:pt x="6" y="104"/>
                    </a:lnTo>
                    <a:lnTo>
                      <a:pt x="6" y="104"/>
                    </a:lnTo>
                    <a:lnTo>
                      <a:pt x="14" y="100"/>
                    </a:lnTo>
                    <a:lnTo>
                      <a:pt x="14" y="100"/>
                    </a:lnTo>
                    <a:lnTo>
                      <a:pt x="14" y="100"/>
                    </a:lnTo>
                    <a:lnTo>
                      <a:pt x="14" y="100"/>
                    </a:lnTo>
                    <a:lnTo>
                      <a:pt x="14" y="100"/>
                    </a:lnTo>
                    <a:lnTo>
                      <a:pt x="14" y="100"/>
                    </a:lnTo>
                    <a:lnTo>
                      <a:pt x="22" y="116"/>
                    </a:lnTo>
                    <a:lnTo>
                      <a:pt x="22" y="116"/>
                    </a:lnTo>
                    <a:lnTo>
                      <a:pt x="24" y="120"/>
                    </a:lnTo>
                    <a:lnTo>
                      <a:pt x="20" y="122"/>
                    </a:lnTo>
                    <a:lnTo>
                      <a:pt x="20" y="122"/>
                    </a:lnTo>
                    <a:lnTo>
                      <a:pt x="20" y="122"/>
                    </a:lnTo>
                    <a:lnTo>
                      <a:pt x="20"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6" y="62"/>
                    </a:lnTo>
                    <a:lnTo>
                      <a:pt x="6" y="62"/>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0"/>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2"/>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58" y="98"/>
                    </a:lnTo>
                    <a:lnTo>
                      <a:pt x="62" y="100"/>
                    </a:lnTo>
                    <a:lnTo>
                      <a:pt x="62"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8"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2"/>
                    </a:lnTo>
                    <a:lnTo>
                      <a:pt x="70" y="22"/>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4"/>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4"/>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3" name="Freeform 1732"/>
              <p:cNvSpPr>
                <a:spLocks/>
              </p:cNvSpPr>
              <p:nvPr/>
            </p:nvSpPr>
            <p:spPr bwMode="auto">
              <a:xfrm>
                <a:off x="6810" y="1070"/>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10 w 18"/>
                  <a:gd name="T29" fmla="*/ 26 h 26"/>
                  <a:gd name="T30" fmla="*/ 10 w 18"/>
                  <a:gd name="T31" fmla="*/ 26 h 26"/>
                  <a:gd name="T32" fmla="*/ 0 w 18"/>
                  <a:gd name="T33" fmla="*/ 26 h 26"/>
                  <a:gd name="T34" fmla="*/ 0 w 18"/>
                  <a:gd name="T35" fmla="*/ 26 h 26"/>
                  <a:gd name="T36" fmla="*/ 14 w 18"/>
                  <a:gd name="T37" fmla="*/ 0 h 26"/>
                  <a:gd name="T38" fmla="*/ 14 w 18"/>
                  <a:gd name="T39" fmla="*/ 0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4" name="Freeform 1733"/>
              <p:cNvSpPr>
                <a:spLocks/>
              </p:cNvSpPr>
              <p:nvPr/>
            </p:nvSpPr>
            <p:spPr bwMode="auto">
              <a:xfrm>
                <a:off x="6712" y="1066"/>
                <a:ext cx="20" cy="22"/>
              </a:xfrm>
              <a:custGeom>
                <a:avLst/>
                <a:gdLst>
                  <a:gd name="T0" fmla="*/ 14 w 20"/>
                  <a:gd name="T1" fmla="*/ 22 h 22"/>
                  <a:gd name="T2" fmla="*/ 14 w 20"/>
                  <a:gd name="T3" fmla="*/ 22 h 22"/>
                  <a:gd name="T4" fmla="*/ 10 w 20"/>
                  <a:gd name="T5" fmla="*/ 22 h 22"/>
                  <a:gd name="T6" fmla="*/ 6 w 20"/>
                  <a:gd name="T7" fmla="*/ 18 h 22"/>
                  <a:gd name="T8" fmla="*/ 2 w 20"/>
                  <a:gd name="T9" fmla="*/ 14 h 22"/>
                  <a:gd name="T10" fmla="*/ 0 w 20"/>
                  <a:gd name="T11" fmla="*/ 8 h 22"/>
                  <a:gd name="T12" fmla="*/ 0 w 20"/>
                  <a:gd name="T13" fmla="*/ 8 h 22"/>
                  <a:gd name="T14" fmla="*/ 2 w 20"/>
                  <a:gd name="T15" fmla="*/ 4 h 22"/>
                  <a:gd name="T16" fmla="*/ 2 w 20"/>
                  <a:gd name="T17" fmla="*/ 4 h 22"/>
                  <a:gd name="T18" fmla="*/ 10 w 20"/>
                  <a:gd name="T19" fmla="*/ 0 h 22"/>
                  <a:gd name="T20" fmla="*/ 10 w 20"/>
                  <a:gd name="T21" fmla="*/ 0 h 22"/>
                  <a:gd name="T22" fmla="*/ 10 w 20"/>
                  <a:gd name="T23" fmla="*/ 0 h 22"/>
                  <a:gd name="T24" fmla="*/ 10 w 20"/>
                  <a:gd name="T25" fmla="*/ 0 h 22"/>
                  <a:gd name="T26" fmla="*/ 10 w 20"/>
                  <a:gd name="T27" fmla="*/ 0 h 22"/>
                  <a:gd name="T28" fmla="*/ 10 w 20"/>
                  <a:gd name="T29" fmla="*/ 0 h 22"/>
                  <a:gd name="T30" fmla="*/ 18 w 20"/>
                  <a:gd name="T31" fmla="*/ 16 h 22"/>
                  <a:gd name="T32" fmla="*/ 18 w 20"/>
                  <a:gd name="T33" fmla="*/ 16 h 22"/>
                  <a:gd name="T34" fmla="*/ 20 w 20"/>
                  <a:gd name="T35" fmla="*/ 20 h 22"/>
                  <a:gd name="T36" fmla="*/ 16 w 20"/>
                  <a:gd name="T37" fmla="*/ 22 h 22"/>
                  <a:gd name="T38" fmla="*/ 16 w 20"/>
                  <a:gd name="T39" fmla="*/ 22 h 22"/>
                  <a:gd name="T40" fmla="*/ 16 w 20"/>
                  <a:gd name="T41" fmla="*/ 22 h 22"/>
                  <a:gd name="T42" fmla="*/ 16 w 20"/>
                  <a:gd name="T43" fmla="*/ 22 h 22"/>
                  <a:gd name="T44" fmla="*/ 14 w 20"/>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2">
                    <a:moveTo>
                      <a:pt x="14" y="22"/>
                    </a:moveTo>
                    <a:lnTo>
                      <a:pt x="14" y="22"/>
                    </a:lnTo>
                    <a:lnTo>
                      <a:pt x="10" y="22"/>
                    </a:lnTo>
                    <a:lnTo>
                      <a:pt x="6" y="18"/>
                    </a:lnTo>
                    <a:lnTo>
                      <a:pt x="2" y="14"/>
                    </a:lnTo>
                    <a:lnTo>
                      <a:pt x="0" y="8"/>
                    </a:lnTo>
                    <a:lnTo>
                      <a:pt x="0" y="8"/>
                    </a:lnTo>
                    <a:lnTo>
                      <a:pt x="2" y="4"/>
                    </a:lnTo>
                    <a:lnTo>
                      <a:pt x="2" y="4"/>
                    </a:lnTo>
                    <a:lnTo>
                      <a:pt x="10" y="0"/>
                    </a:lnTo>
                    <a:lnTo>
                      <a:pt x="10" y="0"/>
                    </a:lnTo>
                    <a:lnTo>
                      <a:pt x="10" y="0"/>
                    </a:lnTo>
                    <a:lnTo>
                      <a:pt x="10" y="0"/>
                    </a:lnTo>
                    <a:lnTo>
                      <a:pt x="10" y="0"/>
                    </a:lnTo>
                    <a:lnTo>
                      <a:pt x="10" y="0"/>
                    </a:lnTo>
                    <a:lnTo>
                      <a:pt x="18" y="16"/>
                    </a:lnTo>
                    <a:lnTo>
                      <a:pt x="18" y="16"/>
                    </a:lnTo>
                    <a:lnTo>
                      <a:pt x="20"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5" name="Freeform 1734"/>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4 w 12"/>
                  <a:gd name="T21" fmla="*/ 12 h 20"/>
                  <a:gd name="T22" fmla="*/ 4 w 12"/>
                  <a:gd name="T23" fmla="*/ 12 h 20"/>
                  <a:gd name="T24" fmla="*/ 4 w 12"/>
                  <a:gd name="T25" fmla="*/ 14 h 20"/>
                  <a:gd name="T26" fmla="*/ 4 w 12"/>
                  <a:gd name="T27" fmla="*/ 14 h 20"/>
                  <a:gd name="T28" fmla="*/ 8 w 12"/>
                  <a:gd name="T29" fmla="*/ 16 h 20"/>
                  <a:gd name="T30" fmla="*/ 8 w 12"/>
                  <a:gd name="T31" fmla="*/ 16 h 20"/>
                  <a:gd name="T32" fmla="*/ 8 w 12"/>
                  <a:gd name="T33" fmla="*/ 16 h 20"/>
                  <a:gd name="T34" fmla="*/ 8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0 w 12"/>
                  <a:gd name="T49" fmla="*/ 18 h 20"/>
                  <a:gd name="T50" fmla="*/ 8 w 12"/>
                  <a:gd name="T51" fmla="*/ 20 h 20"/>
                  <a:gd name="T52" fmla="*/ 8 w 12"/>
                  <a:gd name="T53" fmla="*/ 20 h 20"/>
                  <a:gd name="T54" fmla="*/ 6 w 12"/>
                  <a:gd name="T55" fmla="*/ 20 h 20"/>
                  <a:gd name="T56" fmla="*/ 6 w 12"/>
                  <a:gd name="T57" fmla="*/ 20 h 20"/>
                  <a:gd name="T58" fmla="*/ 4 w 12"/>
                  <a:gd name="T59" fmla="*/ 18 h 20"/>
                  <a:gd name="T60" fmla="*/ 4 w 12"/>
                  <a:gd name="T61" fmla="*/ 18 h 20"/>
                  <a:gd name="T62" fmla="*/ 2 w 12"/>
                  <a:gd name="T63" fmla="*/ 16 h 20"/>
                  <a:gd name="T64" fmla="*/ 0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6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4" y="12"/>
                    </a:lnTo>
                    <a:lnTo>
                      <a:pt x="4" y="12"/>
                    </a:lnTo>
                    <a:lnTo>
                      <a:pt x="4" y="14"/>
                    </a:lnTo>
                    <a:lnTo>
                      <a:pt x="4" y="14"/>
                    </a:lnTo>
                    <a:lnTo>
                      <a:pt x="8" y="16"/>
                    </a:lnTo>
                    <a:lnTo>
                      <a:pt x="8" y="16"/>
                    </a:lnTo>
                    <a:lnTo>
                      <a:pt x="8" y="16"/>
                    </a:lnTo>
                    <a:lnTo>
                      <a:pt x="8" y="16"/>
                    </a:lnTo>
                    <a:lnTo>
                      <a:pt x="12" y="14"/>
                    </a:lnTo>
                    <a:lnTo>
                      <a:pt x="12" y="14"/>
                    </a:lnTo>
                    <a:lnTo>
                      <a:pt x="12" y="14"/>
                    </a:lnTo>
                    <a:lnTo>
                      <a:pt x="12" y="14"/>
                    </a:lnTo>
                    <a:lnTo>
                      <a:pt x="12" y="14"/>
                    </a:lnTo>
                    <a:lnTo>
                      <a:pt x="12" y="14"/>
                    </a:lnTo>
                    <a:lnTo>
                      <a:pt x="10"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6" name="Freeform 1735"/>
              <p:cNvSpPr>
                <a:spLocks/>
              </p:cNvSpPr>
              <p:nvPr/>
            </p:nvSpPr>
            <p:spPr bwMode="auto">
              <a:xfrm>
                <a:off x="6722" y="970"/>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48 w 170"/>
                  <a:gd name="T99" fmla="*/ 96 h 138"/>
                  <a:gd name="T100" fmla="*/ 68 w 170"/>
                  <a:gd name="T101" fmla="*/ 88 h 138"/>
                  <a:gd name="T102" fmla="*/ 80 w 170"/>
                  <a:gd name="T103" fmla="*/ 82 h 138"/>
                  <a:gd name="T104" fmla="*/ 82 w 170"/>
                  <a:gd name="T105" fmla="*/ 54 h 138"/>
                  <a:gd name="T106" fmla="*/ 78 w 170"/>
                  <a:gd name="T107" fmla="*/ 58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6"/>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08"/>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2"/>
                    </a:lnTo>
                    <a:lnTo>
                      <a:pt x="0" y="84"/>
                    </a:lnTo>
                    <a:lnTo>
                      <a:pt x="0" y="74"/>
                    </a:lnTo>
                    <a:lnTo>
                      <a:pt x="0" y="74"/>
                    </a:lnTo>
                    <a:lnTo>
                      <a:pt x="2" y="64"/>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4" y="94"/>
                    </a:lnTo>
                    <a:lnTo>
                      <a:pt x="48" y="96"/>
                    </a:lnTo>
                    <a:lnTo>
                      <a:pt x="48"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4"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7" name="Freeform 1736"/>
              <p:cNvSpPr>
                <a:spLocks/>
              </p:cNvSpPr>
              <p:nvPr/>
            </p:nvSpPr>
            <p:spPr bwMode="auto">
              <a:xfrm>
                <a:off x="6708" y="966"/>
                <a:ext cx="188" cy="146"/>
              </a:xfrm>
              <a:custGeom>
                <a:avLst/>
                <a:gdLst>
                  <a:gd name="T0" fmla="*/ 104 w 188"/>
                  <a:gd name="T1" fmla="*/ 2 h 146"/>
                  <a:gd name="T2" fmla="*/ 84 w 188"/>
                  <a:gd name="T3" fmla="*/ 12 h 146"/>
                  <a:gd name="T4" fmla="*/ 76 w 188"/>
                  <a:gd name="T5" fmla="*/ 20 h 146"/>
                  <a:gd name="T6" fmla="*/ 70 w 188"/>
                  <a:gd name="T7" fmla="*/ 22 h 146"/>
                  <a:gd name="T8" fmla="*/ 52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48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2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4 w 188"/>
                  <a:gd name="T89" fmla="*/ 38 h 146"/>
                  <a:gd name="T90" fmla="*/ 180 w 188"/>
                  <a:gd name="T91" fmla="*/ 24 h 146"/>
                  <a:gd name="T92" fmla="*/ 172 w 188"/>
                  <a:gd name="T93" fmla="*/ 24 h 146"/>
                  <a:gd name="T94" fmla="*/ 164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2"/>
                    </a:lnTo>
                    <a:lnTo>
                      <a:pt x="70" y="22"/>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4"/>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4"/>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8" name="Freeform 1737"/>
              <p:cNvSpPr>
                <a:spLocks/>
              </p:cNvSpPr>
              <p:nvPr/>
            </p:nvSpPr>
            <p:spPr bwMode="auto">
              <a:xfrm>
                <a:off x="6714" y="1066"/>
                <a:ext cx="16" cy="22"/>
              </a:xfrm>
              <a:custGeom>
                <a:avLst/>
                <a:gdLst>
                  <a:gd name="T0" fmla="*/ 8 w 16"/>
                  <a:gd name="T1" fmla="*/ 0 h 22"/>
                  <a:gd name="T2" fmla="*/ 8 w 16"/>
                  <a:gd name="T3" fmla="*/ 0 h 22"/>
                  <a:gd name="T4" fmla="*/ 0 w 16"/>
                  <a:gd name="T5" fmla="*/ 6 h 22"/>
                  <a:gd name="T6" fmla="*/ 0 w 16"/>
                  <a:gd name="T7" fmla="*/ 6 h 22"/>
                  <a:gd name="T8" fmla="*/ 0 w 16"/>
                  <a:gd name="T9" fmla="*/ 10 h 22"/>
                  <a:gd name="T10" fmla="*/ 0 w 16"/>
                  <a:gd name="T11" fmla="*/ 10 h 22"/>
                  <a:gd name="T12" fmla="*/ 0 w 16"/>
                  <a:gd name="T13" fmla="*/ 14 h 22"/>
                  <a:gd name="T14" fmla="*/ 4 w 16"/>
                  <a:gd name="T15" fmla="*/ 18 h 22"/>
                  <a:gd name="T16" fmla="*/ 8 w 16"/>
                  <a:gd name="T17" fmla="*/ 22 h 22"/>
                  <a:gd name="T18" fmla="*/ 12 w 16"/>
                  <a:gd name="T19" fmla="*/ 22 h 22"/>
                  <a:gd name="T20" fmla="*/ 12 w 16"/>
                  <a:gd name="T21" fmla="*/ 22 h 22"/>
                  <a:gd name="T22" fmla="*/ 14 w 16"/>
                  <a:gd name="T23" fmla="*/ 22 h 22"/>
                  <a:gd name="T24" fmla="*/ 14 w 16"/>
                  <a:gd name="T25" fmla="*/ 22 h 22"/>
                  <a:gd name="T26" fmla="*/ 14 w 16"/>
                  <a:gd name="T27" fmla="*/ 22 h 22"/>
                  <a:gd name="T28" fmla="*/ 14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0" y="6"/>
                    </a:lnTo>
                    <a:lnTo>
                      <a:pt x="0" y="6"/>
                    </a:lnTo>
                    <a:lnTo>
                      <a:pt x="0" y="10"/>
                    </a:lnTo>
                    <a:lnTo>
                      <a:pt x="0" y="10"/>
                    </a:lnTo>
                    <a:lnTo>
                      <a:pt x="0" y="14"/>
                    </a:lnTo>
                    <a:lnTo>
                      <a:pt x="4" y="18"/>
                    </a:lnTo>
                    <a:lnTo>
                      <a:pt x="8" y="22"/>
                    </a:lnTo>
                    <a:lnTo>
                      <a:pt x="12" y="22"/>
                    </a:lnTo>
                    <a:lnTo>
                      <a:pt x="12" y="22"/>
                    </a:lnTo>
                    <a:lnTo>
                      <a:pt x="14" y="22"/>
                    </a:lnTo>
                    <a:lnTo>
                      <a:pt x="14" y="22"/>
                    </a:lnTo>
                    <a:lnTo>
                      <a:pt x="14" y="22"/>
                    </a:lnTo>
                    <a:lnTo>
                      <a:pt x="14"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9" name="Freeform 1738"/>
              <p:cNvSpPr>
                <a:spLocks/>
              </p:cNvSpPr>
              <p:nvPr/>
            </p:nvSpPr>
            <p:spPr bwMode="auto">
              <a:xfrm>
                <a:off x="6714" y="1066"/>
                <a:ext cx="16" cy="22"/>
              </a:xfrm>
              <a:custGeom>
                <a:avLst/>
                <a:gdLst>
                  <a:gd name="T0" fmla="*/ 8 w 16"/>
                  <a:gd name="T1" fmla="*/ 0 h 22"/>
                  <a:gd name="T2" fmla="*/ 8 w 16"/>
                  <a:gd name="T3" fmla="*/ 0 h 22"/>
                  <a:gd name="T4" fmla="*/ 0 w 16"/>
                  <a:gd name="T5" fmla="*/ 6 h 22"/>
                  <a:gd name="T6" fmla="*/ 0 w 16"/>
                  <a:gd name="T7" fmla="*/ 6 h 22"/>
                  <a:gd name="T8" fmla="*/ 0 w 16"/>
                  <a:gd name="T9" fmla="*/ 10 h 22"/>
                  <a:gd name="T10" fmla="*/ 0 w 16"/>
                  <a:gd name="T11" fmla="*/ 10 h 22"/>
                  <a:gd name="T12" fmla="*/ 0 w 16"/>
                  <a:gd name="T13" fmla="*/ 14 h 22"/>
                  <a:gd name="T14" fmla="*/ 4 w 16"/>
                  <a:gd name="T15" fmla="*/ 18 h 22"/>
                  <a:gd name="T16" fmla="*/ 8 w 16"/>
                  <a:gd name="T17" fmla="*/ 22 h 22"/>
                  <a:gd name="T18" fmla="*/ 12 w 16"/>
                  <a:gd name="T19" fmla="*/ 22 h 22"/>
                  <a:gd name="T20" fmla="*/ 12 w 16"/>
                  <a:gd name="T21" fmla="*/ 22 h 22"/>
                  <a:gd name="T22" fmla="*/ 14 w 16"/>
                  <a:gd name="T23" fmla="*/ 22 h 22"/>
                  <a:gd name="T24" fmla="*/ 14 w 16"/>
                  <a:gd name="T25" fmla="*/ 22 h 22"/>
                  <a:gd name="T26" fmla="*/ 14 w 16"/>
                  <a:gd name="T27" fmla="*/ 22 h 22"/>
                  <a:gd name="T28" fmla="*/ 14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0" y="6"/>
                    </a:lnTo>
                    <a:lnTo>
                      <a:pt x="0" y="6"/>
                    </a:lnTo>
                    <a:lnTo>
                      <a:pt x="0" y="10"/>
                    </a:lnTo>
                    <a:lnTo>
                      <a:pt x="0" y="10"/>
                    </a:lnTo>
                    <a:lnTo>
                      <a:pt x="0" y="14"/>
                    </a:lnTo>
                    <a:lnTo>
                      <a:pt x="4" y="18"/>
                    </a:lnTo>
                    <a:lnTo>
                      <a:pt x="8" y="22"/>
                    </a:lnTo>
                    <a:lnTo>
                      <a:pt x="12" y="22"/>
                    </a:lnTo>
                    <a:lnTo>
                      <a:pt x="12" y="22"/>
                    </a:lnTo>
                    <a:lnTo>
                      <a:pt x="14" y="22"/>
                    </a:lnTo>
                    <a:lnTo>
                      <a:pt x="14"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0" name="Freeform 1739"/>
              <p:cNvSpPr>
                <a:spLocks/>
              </p:cNvSpPr>
              <p:nvPr/>
            </p:nvSpPr>
            <p:spPr bwMode="auto">
              <a:xfrm>
                <a:off x="6712" y="1066"/>
                <a:ext cx="16" cy="22"/>
              </a:xfrm>
              <a:custGeom>
                <a:avLst/>
                <a:gdLst>
                  <a:gd name="T0" fmla="*/ 10 w 16"/>
                  <a:gd name="T1" fmla="*/ 0 h 22"/>
                  <a:gd name="T2" fmla="*/ 10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2 w 16"/>
                  <a:gd name="T45" fmla="*/ 10 h 22"/>
                  <a:gd name="T46" fmla="*/ 2 w 16"/>
                  <a:gd name="T47" fmla="*/ 10 h 22"/>
                  <a:gd name="T48" fmla="*/ 2 w 16"/>
                  <a:gd name="T49" fmla="*/ 6 h 22"/>
                  <a:gd name="T50" fmla="*/ 2 w 16"/>
                  <a:gd name="T51" fmla="*/ 6 h 22"/>
                  <a:gd name="T52" fmla="*/ 10 w 16"/>
                  <a:gd name="T53" fmla="*/ 0 h 22"/>
                  <a:gd name="T54" fmla="*/ 10 w 16"/>
                  <a:gd name="T55" fmla="*/ 0 h 22"/>
                  <a:gd name="T56" fmla="*/ 10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10" y="0"/>
                    </a:moveTo>
                    <a:lnTo>
                      <a:pt x="10" y="0"/>
                    </a:lnTo>
                    <a:lnTo>
                      <a:pt x="2" y="4"/>
                    </a:lnTo>
                    <a:lnTo>
                      <a:pt x="2" y="4"/>
                    </a:lnTo>
                    <a:lnTo>
                      <a:pt x="0" y="8"/>
                    </a:lnTo>
                    <a:lnTo>
                      <a:pt x="0" y="8"/>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2" y="10"/>
                    </a:lnTo>
                    <a:lnTo>
                      <a:pt x="2" y="10"/>
                    </a:lnTo>
                    <a:lnTo>
                      <a:pt x="2" y="6"/>
                    </a:lnTo>
                    <a:lnTo>
                      <a:pt x="2" y="6"/>
                    </a:lnTo>
                    <a:lnTo>
                      <a:pt x="10" y="0"/>
                    </a:lnTo>
                    <a:lnTo>
                      <a:pt x="10" y="0"/>
                    </a:lnTo>
                    <a:lnTo>
                      <a:pt x="1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1" name="Freeform 1740"/>
              <p:cNvSpPr>
                <a:spLocks/>
              </p:cNvSpPr>
              <p:nvPr/>
            </p:nvSpPr>
            <p:spPr bwMode="auto">
              <a:xfrm>
                <a:off x="6712" y="1066"/>
                <a:ext cx="16" cy="22"/>
              </a:xfrm>
              <a:custGeom>
                <a:avLst/>
                <a:gdLst>
                  <a:gd name="T0" fmla="*/ 10 w 16"/>
                  <a:gd name="T1" fmla="*/ 0 h 22"/>
                  <a:gd name="T2" fmla="*/ 10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2 w 16"/>
                  <a:gd name="T45" fmla="*/ 10 h 22"/>
                  <a:gd name="T46" fmla="*/ 2 w 16"/>
                  <a:gd name="T47" fmla="*/ 10 h 22"/>
                  <a:gd name="T48" fmla="*/ 2 w 16"/>
                  <a:gd name="T49" fmla="*/ 6 h 22"/>
                  <a:gd name="T50" fmla="*/ 2 w 16"/>
                  <a:gd name="T51" fmla="*/ 6 h 22"/>
                  <a:gd name="T52" fmla="*/ 10 w 16"/>
                  <a:gd name="T53" fmla="*/ 0 h 22"/>
                  <a:gd name="T54" fmla="*/ 10 w 16"/>
                  <a:gd name="T55" fmla="*/ 0 h 22"/>
                  <a:gd name="T56" fmla="*/ 10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10" y="0"/>
                    </a:moveTo>
                    <a:lnTo>
                      <a:pt x="10" y="0"/>
                    </a:lnTo>
                    <a:lnTo>
                      <a:pt x="2" y="4"/>
                    </a:lnTo>
                    <a:lnTo>
                      <a:pt x="2" y="4"/>
                    </a:lnTo>
                    <a:lnTo>
                      <a:pt x="0" y="8"/>
                    </a:lnTo>
                    <a:lnTo>
                      <a:pt x="0" y="8"/>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2" y="10"/>
                    </a:lnTo>
                    <a:lnTo>
                      <a:pt x="2" y="10"/>
                    </a:lnTo>
                    <a:lnTo>
                      <a:pt x="2" y="6"/>
                    </a:lnTo>
                    <a:lnTo>
                      <a:pt x="2" y="6"/>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2" name="Freeform 1741"/>
              <p:cNvSpPr>
                <a:spLocks/>
              </p:cNvSpPr>
              <p:nvPr/>
            </p:nvSpPr>
            <p:spPr bwMode="auto">
              <a:xfrm>
                <a:off x="6810" y="1070"/>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6 w 16"/>
                  <a:gd name="T13" fmla="*/ 26 h 26"/>
                  <a:gd name="T14" fmla="*/ 16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3" name="Freeform 1742"/>
              <p:cNvSpPr>
                <a:spLocks/>
              </p:cNvSpPr>
              <p:nvPr/>
            </p:nvSpPr>
            <p:spPr bwMode="auto">
              <a:xfrm>
                <a:off x="6810" y="1070"/>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6 w 16"/>
                  <a:gd name="T13" fmla="*/ 26 h 26"/>
                  <a:gd name="T14" fmla="*/ 16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4" name="Freeform 1743"/>
              <p:cNvSpPr>
                <a:spLocks/>
              </p:cNvSpPr>
              <p:nvPr/>
            </p:nvSpPr>
            <p:spPr bwMode="auto">
              <a:xfrm>
                <a:off x="6810" y="1070"/>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5" name="Freeform 1744"/>
              <p:cNvSpPr>
                <a:spLocks/>
              </p:cNvSpPr>
              <p:nvPr/>
            </p:nvSpPr>
            <p:spPr bwMode="auto">
              <a:xfrm>
                <a:off x="6810" y="1070"/>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6" name="Freeform 1745"/>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7" name="Freeform 1746"/>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8" name="Freeform 1747"/>
              <p:cNvSpPr>
                <a:spLocks noEditPoints="1"/>
              </p:cNvSpPr>
              <p:nvPr/>
            </p:nvSpPr>
            <p:spPr bwMode="auto">
              <a:xfrm>
                <a:off x="6710" y="1016"/>
                <a:ext cx="12" cy="20"/>
              </a:xfrm>
              <a:custGeom>
                <a:avLst/>
                <a:gdLst>
                  <a:gd name="T0" fmla="*/ 12 w 12"/>
                  <a:gd name="T1" fmla="*/ 14 h 20"/>
                  <a:gd name="T2" fmla="*/ 12 w 12"/>
                  <a:gd name="T3" fmla="*/ 14 h 20"/>
                  <a:gd name="T4" fmla="*/ 8 w 12"/>
                  <a:gd name="T5" fmla="*/ 16 h 20"/>
                  <a:gd name="T6" fmla="*/ 8 w 12"/>
                  <a:gd name="T7" fmla="*/ 16 h 20"/>
                  <a:gd name="T8" fmla="*/ 12 w 12"/>
                  <a:gd name="T9" fmla="*/ 14 h 20"/>
                  <a:gd name="T10" fmla="*/ 12 w 12"/>
                  <a:gd name="T11" fmla="*/ 14 h 20"/>
                  <a:gd name="T12" fmla="*/ 12 w 12"/>
                  <a:gd name="T13" fmla="*/ 14 h 20"/>
                  <a:gd name="T14" fmla="*/ 6 w 12"/>
                  <a:gd name="T15" fmla="*/ 0 h 20"/>
                  <a:gd name="T16" fmla="*/ 6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0 w 12"/>
                  <a:gd name="T29" fmla="*/ 12 h 20"/>
                  <a:gd name="T30" fmla="*/ 2 w 12"/>
                  <a:gd name="T31" fmla="*/ 16 h 20"/>
                  <a:gd name="T32" fmla="*/ 4 w 12"/>
                  <a:gd name="T33" fmla="*/ 18 h 20"/>
                  <a:gd name="T34" fmla="*/ 4 w 12"/>
                  <a:gd name="T35" fmla="*/ 18 h 20"/>
                  <a:gd name="T36" fmla="*/ 6 w 12"/>
                  <a:gd name="T37" fmla="*/ 20 h 20"/>
                  <a:gd name="T38" fmla="*/ 6 w 12"/>
                  <a:gd name="T39" fmla="*/ 20 h 20"/>
                  <a:gd name="T40" fmla="*/ 8 w 12"/>
                  <a:gd name="T41" fmla="*/ 20 h 20"/>
                  <a:gd name="T42" fmla="*/ 8 w 12"/>
                  <a:gd name="T43" fmla="*/ 20 h 20"/>
                  <a:gd name="T44" fmla="*/ 6 w 12"/>
                  <a:gd name="T45" fmla="*/ 20 h 20"/>
                  <a:gd name="T46" fmla="*/ 6 w 12"/>
                  <a:gd name="T47" fmla="*/ 20 h 20"/>
                  <a:gd name="T48" fmla="*/ 4 w 12"/>
                  <a:gd name="T49" fmla="*/ 18 h 20"/>
                  <a:gd name="T50" fmla="*/ 4 w 12"/>
                  <a:gd name="T51" fmla="*/ 18 h 20"/>
                  <a:gd name="T52" fmla="*/ 2 w 12"/>
                  <a:gd name="T53" fmla="*/ 16 h 20"/>
                  <a:gd name="T54" fmla="*/ 0 w 12"/>
                  <a:gd name="T55" fmla="*/ 12 h 20"/>
                  <a:gd name="T56" fmla="*/ 0 w 12"/>
                  <a:gd name="T57" fmla="*/ 8 h 20"/>
                  <a:gd name="T58" fmla="*/ 0 w 12"/>
                  <a:gd name="T59" fmla="*/ 4 h 20"/>
                  <a:gd name="T60" fmla="*/ 0 w 12"/>
                  <a:gd name="T61" fmla="*/ 4 h 20"/>
                  <a:gd name="T62" fmla="*/ 6 w 12"/>
                  <a:gd name="T63" fmla="*/ 0 h 20"/>
                  <a:gd name="T64" fmla="*/ 6 w 12"/>
                  <a:gd name="T65" fmla="*/ 0 h 20"/>
                  <a:gd name="T66" fmla="*/ 6 w 12"/>
                  <a:gd name="T67" fmla="*/ 0 h 20"/>
                  <a:gd name="T68" fmla="*/ 6 w 12"/>
                  <a:gd name="T69" fmla="*/ 0 h 20"/>
                  <a:gd name="T70" fmla="*/ 6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8" y="16"/>
                    </a:lnTo>
                    <a:lnTo>
                      <a:pt x="8" y="16"/>
                    </a:lnTo>
                    <a:lnTo>
                      <a:pt x="12" y="14"/>
                    </a:lnTo>
                    <a:lnTo>
                      <a:pt x="12" y="14"/>
                    </a:lnTo>
                    <a:lnTo>
                      <a:pt x="12" y="14"/>
                    </a:lnTo>
                    <a:close/>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9" name="Freeform 1748"/>
              <p:cNvSpPr>
                <a:spLocks/>
              </p:cNvSpPr>
              <p:nvPr/>
            </p:nvSpPr>
            <p:spPr bwMode="auto">
              <a:xfrm>
                <a:off x="6718" y="1030"/>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0" name="Freeform 1749"/>
              <p:cNvSpPr>
                <a:spLocks/>
              </p:cNvSpPr>
              <p:nvPr/>
            </p:nvSpPr>
            <p:spPr bwMode="auto">
              <a:xfrm>
                <a:off x="6710" y="1016"/>
                <a:ext cx="8" cy="20"/>
              </a:xfrm>
              <a:custGeom>
                <a:avLst/>
                <a:gdLst>
                  <a:gd name="T0" fmla="*/ 6 w 8"/>
                  <a:gd name="T1" fmla="*/ 0 h 20"/>
                  <a:gd name="T2" fmla="*/ 6 w 8"/>
                  <a:gd name="T3" fmla="*/ 0 h 20"/>
                  <a:gd name="T4" fmla="*/ 6 w 8"/>
                  <a:gd name="T5" fmla="*/ 0 h 20"/>
                  <a:gd name="T6" fmla="*/ 6 w 8"/>
                  <a:gd name="T7" fmla="*/ 0 h 20"/>
                  <a:gd name="T8" fmla="*/ 0 w 8"/>
                  <a:gd name="T9" fmla="*/ 4 h 20"/>
                  <a:gd name="T10" fmla="*/ 0 w 8"/>
                  <a:gd name="T11" fmla="*/ 4 h 20"/>
                  <a:gd name="T12" fmla="*/ 0 w 8"/>
                  <a:gd name="T13" fmla="*/ 8 h 20"/>
                  <a:gd name="T14" fmla="*/ 0 w 8"/>
                  <a:gd name="T15" fmla="*/ 12 h 20"/>
                  <a:gd name="T16" fmla="*/ 2 w 8"/>
                  <a:gd name="T17" fmla="*/ 16 h 20"/>
                  <a:gd name="T18" fmla="*/ 4 w 8"/>
                  <a:gd name="T19" fmla="*/ 18 h 20"/>
                  <a:gd name="T20" fmla="*/ 4 w 8"/>
                  <a:gd name="T21" fmla="*/ 18 h 20"/>
                  <a:gd name="T22" fmla="*/ 6 w 8"/>
                  <a:gd name="T23" fmla="*/ 20 h 20"/>
                  <a:gd name="T24" fmla="*/ 6 w 8"/>
                  <a:gd name="T25" fmla="*/ 20 h 20"/>
                  <a:gd name="T26" fmla="*/ 8 w 8"/>
                  <a:gd name="T27" fmla="*/ 20 h 20"/>
                  <a:gd name="T28" fmla="*/ 8 w 8"/>
                  <a:gd name="T29" fmla="*/ 20 h 20"/>
                  <a:gd name="T30" fmla="*/ 6 w 8"/>
                  <a:gd name="T31" fmla="*/ 20 h 20"/>
                  <a:gd name="T32" fmla="*/ 6 w 8"/>
                  <a:gd name="T33" fmla="*/ 20 h 20"/>
                  <a:gd name="T34" fmla="*/ 4 w 8"/>
                  <a:gd name="T35" fmla="*/ 18 h 20"/>
                  <a:gd name="T36" fmla="*/ 4 w 8"/>
                  <a:gd name="T37" fmla="*/ 18 h 20"/>
                  <a:gd name="T38" fmla="*/ 2 w 8"/>
                  <a:gd name="T39" fmla="*/ 16 h 20"/>
                  <a:gd name="T40" fmla="*/ 0 w 8"/>
                  <a:gd name="T41" fmla="*/ 12 h 20"/>
                  <a:gd name="T42" fmla="*/ 0 w 8"/>
                  <a:gd name="T43" fmla="*/ 8 h 20"/>
                  <a:gd name="T44" fmla="*/ 0 w 8"/>
                  <a:gd name="T45" fmla="*/ 4 h 20"/>
                  <a:gd name="T46" fmla="*/ 0 w 8"/>
                  <a:gd name="T47" fmla="*/ 4 h 20"/>
                  <a:gd name="T48" fmla="*/ 6 w 8"/>
                  <a:gd name="T49" fmla="*/ 0 h 20"/>
                  <a:gd name="T50" fmla="*/ 6 w 8"/>
                  <a:gd name="T51" fmla="*/ 0 h 20"/>
                  <a:gd name="T52" fmla="*/ 6 w 8"/>
                  <a:gd name="T53" fmla="*/ 0 h 20"/>
                  <a:gd name="T54" fmla="*/ 6 w 8"/>
                  <a:gd name="T55" fmla="*/ 0 h 20"/>
                  <a:gd name="T56" fmla="*/ 6 w 8"/>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1" name="Freeform 1750"/>
              <p:cNvSpPr>
                <a:spLocks noEditPoints="1"/>
              </p:cNvSpPr>
              <p:nvPr/>
            </p:nvSpPr>
            <p:spPr bwMode="auto">
              <a:xfrm>
                <a:off x="6824" y="1004"/>
                <a:ext cx="18" cy="14"/>
              </a:xfrm>
              <a:custGeom>
                <a:avLst/>
                <a:gdLst>
                  <a:gd name="T0" fmla="*/ 8 w 18"/>
                  <a:gd name="T1" fmla="*/ 8 h 14"/>
                  <a:gd name="T2" fmla="*/ 8 w 18"/>
                  <a:gd name="T3" fmla="*/ 8 h 14"/>
                  <a:gd name="T4" fmla="*/ 8 w 18"/>
                  <a:gd name="T5" fmla="*/ 8 h 14"/>
                  <a:gd name="T6" fmla="*/ 8 w 18"/>
                  <a:gd name="T7" fmla="*/ 8 h 14"/>
                  <a:gd name="T8" fmla="*/ 12 w 18"/>
                  <a:gd name="T9" fmla="*/ 10 h 14"/>
                  <a:gd name="T10" fmla="*/ 12 w 18"/>
                  <a:gd name="T11" fmla="*/ 10 h 14"/>
                  <a:gd name="T12" fmla="*/ 6 w 18"/>
                  <a:gd name="T13" fmla="*/ 12 h 14"/>
                  <a:gd name="T14" fmla="*/ 6 w 18"/>
                  <a:gd name="T15" fmla="*/ 12 h 14"/>
                  <a:gd name="T16" fmla="*/ 6 w 18"/>
                  <a:gd name="T17" fmla="*/ 12 h 14"/>
                  <a:gd name="T18" fmla="*/ 6 w 18"/>
                  <a:gd name="T19" fmla="*/ 12 h 14"/>
                  <a:gd name="T20" fmla="*/ 6 w 18"/>
                  <a:gd name="T21" fmla="*/ 12 h 14"/>
                  <a:gd name="T22" fmla="*/ 6 w 18"/>
                  <a:gd name="T23" fmla="*/ 12 h 14"/>
                  <a:gd name="T24" fmla="*/ 4 w 18"/>
                  <a:gd name="T25" fmla="*/ 10 h 14"/>
                  <a:gd name="T26" fmla="*/ 4 w 18"/>
                  <a:gd name="T27" fmla="*/ 10 h 14"/>
                  <a:gd name="T28" fmla="*/ 6 w 18"/>
                  <a:gd name="T29" fmla="*/ 8 h 14"/>
                  <a:gd name="T30" fmla="*/ 6 w 18"/>
                  <a:gd name="T31" fmla="*/ 8 h 14"/>
                  <a:gd name="T32" fmla="*/ 8 w 18"/>
                  <a:gd name="T33" fmla="*/ 8 h 14"/>
                  <a:gd name="T34" fmla="*/ 12 w 18"/>
                  <a:gd name="T35" fmla="*/ 0 h 14"/>
                  <a:gd name="T36" fmla="*/ 12 w 18"/>
                  <a:gd name="T37" fmla="*/ 0 h 14"/>
                  <a:gd name="T38" fmla="*/ 6 w 18"/>
                  <a:gd name="T39" fmla="*/ 4 h 14"/>
                  <a:gd name="T40" fmla="*/ 0 w 18"/>
                  <a:gd name="T41" fmla="*/ 10 h 14"/>
                  <a:gd name="T42" fmla="*/ 0 w 18"/>
                  <a:gd name="T43" fmla="*/ 10 h 14"/>
                  <a:gd name="T44" fmla="*/ 2 w 18"/>
                  <a:gd name="T45" fmla="*/ 10 h 14"/>
                  <a:gd name="T46" fmla="*/ 2 w 18"/>
                  <a:gd name="T47" fmla="*/ 10 h 14"/>
                  <a:gd name="T48" fmla="*/ 6 w 18"/>
                  <a:gd name="T49" fmla="*/ 14 h 14"/>
                  <a:gd name="T50" fmla="*/ 6 w 18"/>
                  <a:gd name="T51" fmla="*/ 14 h 14"/>
                  <a:gd name="T52" fmla="*/ 18 w 18"/>
                  <a:gd name="T53" fmla="*/ 6 h 14"/>
                  <a:gd name="T54" fmla="*/ 18 w 18"/>
                  <a:gd name="T55" fmla="*/ 6 h 14"/>
                  <a:gd name="T56" fmla="*/ 14 w 18"/>
                  <a:gd name="T57" fmla="*/ 6 h 14"/>
                  <a:gd name="T58" fmla="*/ 12 w 18"/>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8" y="8"/>
                    </a:moveTo>
                    <a:lnTo>
                      <a:pt x="8" y="8"/>
                    </a:lnTo>
                    <a:lnTo>
                      <a:pt x="8" y="8"/>
                    </a:lnTo>
                    <a:lnTo>
                      <a:pt x="8" y="8"/>
                    </a:lnTo>
                    <a:lnTo>
                      <a:pt x="12" y="10"/>
                    </a:lnTo>
                    <a:lnTo>
                      <a:pt x="12" y="10"/>
                    </a:lnTo>
                    <a:lnTo>
                      <a:pt x="6" y="12"/>
                    </a:lnTo>
                    <a:lnTo>
                      <a:pt x="6" y="12"/>
                    </a:lnTo>
                    <a:lnTo>
                      <a:pt x="6" y="12"/>
                    </a:lnTo>
                    <a:lnTo>
                      <a:pt x="6" y="12"/>
                    </a:lnTo>
                    <a:lnTo>
                      <a:pt x="6" y="12"/>
                    </a:lnTo>
                    <a:lnTo>
                      <a:pt x="6" y="12"/>
                    </a:lnTo>
                    <a:lnTo>
                      <a:pt x="4" y="10"/>
                    </a:lnTo>
                    <a:lnTo>
                      <a:pt x="4" y="10"/>
                    </a:lnTo>
                    <a:lnTo>
                      <a:pt x="6" y="8"/>
                    </a:lnTo>
                    <a:lnTo>
                      <a:pt x="6" y="8"/>
                    </a:lnTo>
                    <a:lnTo>
                      <a:pt x="8" y="8"/>
                    </a:lnTo>
                    <a:close/>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2" name="Freeform 1751"/>
              <p:cNvSpPr>
                <a:spLocks/>
              </p:cNvSpPr>
              <p:nvPr/>
            </p:nvSpPr>
            <p:spPr bwMode="auto">
              <a:xfrm>
                <a:off x="6828" y="1012"/>
                <a:ext cx="8" cy="4"/>
              </a:xfrm>
              <a:custGeom>
                <a:avLst/>
                <a:gdLst>
                  <a:gd name="T0" fmla="*/ 4 w 8"/>
                  <a:gd name="T1" fmla="*/ 0 h 4"/>
                  <a:gd name="T2" fmla="*/ 4 w 8"/>
                  <a:gd name="T3" fmla="*/ 0 h 4"/>
                  <a:gd name="T4" fmla="*/ 4 w 8"/>
                  <a:gd name="T5" fmla="*/ 0 h 4"/>
                  <a:gd name="T6" fmla="*/ 4 w 8"/>
                  <a:gd name="T7" fmla="*/ 0 h 4"/>
                  <a:gd name="T8" fmla="*/ 8 w 8"/>
                  <a:gd name="T9" fmla="*/ 2 h 4"/>
                  <a:gd name="T10" fmla="*/ 8 w 8"/>
                  <a:gd name="T11" fmla="*/ 2 h 4"/>
                  <a:gd name="T12" fmla="*/ 2 w 8"/>
                  <a:gd name="T13" fmla="*/ 4 h 4"/>
                  <a:gd name="T14" fmla="*/ 2 w 8"/>
                  <a:gd name="T15" fmla="*/ 4 h 4"/>
                  <a:gd name="T16" fmla="*/ 2 w 8"/>
                  <a:gd name="T17" fmla="*/ 4 h 4"/>
                  <a:gd name="T18" fmla="*/ 2 w 8"/>
                  <a:gd name="T19" fmla="*/ 4 h 4"/>
                  <a:gd name="T20" fmla="*/ 2 w 8"/>
                  <a:gd name="T21" fmla="*/ 4 h 4"/>
                  <a:gd name="T22" fmla="*/ 2 w 8"/>
                  <a:gd name="T23" fmla="*/ 4 h 4"/>
                  <a:gd name="T24" fmla="*/ 0 w 8"/>
                  <a:gd name="T25" fmla="*/ 2 h 4"/>
                  <a:gd name="T26" fmla="*/ 0 w 8"/>
                  <a:gd name="T27" fmla="*/ 2 h 4"/>
                  <a:gd name="T28" fmla="*/ 2 w 8"/>
                  <a:gd name="T29" fmla="*/ 0 h 4"/>
                  <a:gd name="T30" fmla="*/ 2 w 8"/>
                  <a:gd name="T31" fmla="*/ 0 h 4"/>
                  <a:gd name="T32" fmla="*/ 4 w 8"/>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4" y="0"/>
                    </a:moveTo>
                    <a:lnTo>
                      <a:pt x="4" y="0"/>
                    </a:lnTo>
                    <a:lnTo>
                      <a:pt x="4" y="0"/>
                    </a:lnTo>
                    <a:lnTo>
                      <a:pt x="4" y="0"/>
                    </a:lnTo>
                    <a:lnTo>
                      <a:pt x="8" y="2"/>
                    </a:lnTo>
                    <a:lnTo>
                      <a:pt x="8" y="2"/>
                    </a:lnTo>
                    <a:lnTo>
                      <a:pt x="2" y="4"/>
                    </a:lnTo>
                    <a:lnTo>
                      <a:pt x="2" y="4"/>
                    </a:lnTo>
                    <a:lnTo>
                      <a:pt x="2" y="4"/>
                    </a:lnTo>
                    <a:lnTo>
                      <a:pt x="2" y="4"/>
                    </a:lnTo>
                    <a:lnTo>
                      <a:pt x="2" y="4"/>
                    </a:lnTo>
                    <a:lnTo>
                      <a:pt x="2" y="4"/>
                    </a:lnTo>
                    <a:lnTo>
                      <a:pt x="0" y="2"/>
                    </a:lnTo>
                    <a:lnTo>
                      <a:pt x="0" y="2"/>
                    </a:lnTo>
                    <a:lnTo>
                      <a:pt x="2" y="0"/>
                    </a:lnTo>
                    <a:lnTo>
                      <a:pt x="2"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3" name="Freeform 1752"/>
              <p:cNvSpPr>
                <a:spLocks/>
              </p:cNvSpPr>
              <p:nvPr/>
            </p:nvSpPr>
            <p:spPr bwMode="auto">
              <a:xfrm>
                <a:off x="6824" y="1004"/>
                <a:ext cx="18" cy="14"/>
              </a:xfrm>
              <a:custGeom>
                <a:avLst/>
                <a:gdLst>
                  <a:gd name="T0" fmla="*/ 12 w 18"/>
                  <a:gd name="T1" fmla="*/ 0 h 14"/>
                  <a:gd name="T2" fmla="*/ 12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4" name="Freeform 1753"/>
              <p:cNvSpPr>
                <a:spLocks/>
              </p:cNvSpPr>
              <p:nvPr/>
            </p:nvSpPr>
            <p:spPr bwMode="auto">
              <a:xfrm>
                <a:off x="6778" y="99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5" name="Freeform 1754"/>
              <p:cNvSpPr>
                <a:spLocks/>
              </p:cNvSpPr>
              <p:nvPr/>
            </p:nvSpPr>
            <p:spPr bwMode="auto">
              <a:xfrm>
                <a:off x="6778" y="99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6" name="Freeform 1755"/>
              <p:cNvSpPr>
                <a:spLocks/>
              </p:cNvSpPr>
              <p:nvPr/>
            </p:nvSpPr>
            <p:spPr bwMode="auto">
              <a:xfrm>
                <a:off x="6874" y="9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7" name="Freeform 1756"/>
              <p:cNvSpPr>
                <a:spLocks/>
              </p:cNvSpPr>
              <p:nvPr/>
            </p:nvSpPr>
            <p:spPr bwMode="auto">
              <a:xfrm>
                <a:off x="6874" y="9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8" name="Freeform 1757"/>
              <p:cNvSpPr>
                <a:spLocks/>
              </p:cNvSpPr>
              <p:nvPr/>
            </p:nvSpPr>
            <p:spPr bwMode="auto">
              <a:xfrm>
                <a:off x="6818" y="994"/>
                <a:ext cx="8" cy="6"/>
              </a:xfrm>
              <a:custGeom>
                <a:avLst/>
                <a:gdLst>
                  <a:gd name="T0" fmla="*/ 8 w 8"/>
                  <a:gd name="T1" fmla="*/ 0 h 6"/>
                  <a:gd name="T2" fmla="*/ 8 w 8"/>
                  <a:gd name="T3" fmla="*/ 0 h 6"/>
                  <a:gd name="T4" fmla="*/ 0 w 8"/>
                  <a:gd name="T5" fmla="*/ 4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0" y="4"/>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9" name="Freeform 1758"/>
              <p:cNvSpPr>
                <a:spLocks/>
              </p:cNvSpPr>
              <p:nvPr/>
            </p:nvSpPr>
            <p:spPr bwMode="auto">
              <a:xfrm>
                <a:off x="6818" y="994"/>
                <a:ext cx="8" cy="6"/>
              </a:xfrm>
              <a:custGeom>
                <a:avLst/>
                <a:gdLst>
                  <a:gd name="T0" fmla="*/ 8 w 8"/>
                  <a:gd name="T1" fmla="*/ 0 h 6"/>
                  <a:gd name="T2" fmla="*/ 8 w 8"/>
                  <a:gd name="T3" fmla="*/ 0 h 6"/>
                  <a:gd name="T4" fmla="*/ 0 w 8"/>
                  <a:gd name="T5" fmla="*/ 4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0" y="4"/>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0" name="Freeform 1759"/>
              <p:cNvSpPr>
                <a:spLocks/>
              </p:cNvSpPr>
              <p:nvPr/>
            </p:nvSpPr>
            <p:spPr bwMode="auto">
              <a:xfrm>
                <a:off x="6832" y="1044"/>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1" name="Freeform 1760"/>
              <p:cNvSpPr>
                <a:spLocks/>
              </p:cNvSpPr>
              <p:nvPr/>
            </p:nvSpPr>
            <p:spPr bwMode="auto">
              <a:xfrm>
                <a:off x="6832" y="1044"/>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2" name="Freeform 1761"/>
              <p:cNvSpPr>
                <a:spLocks/>
              </p:cNvSpPr>
              <p:nvPr/>
            </p:nvSpPr>
            <p:spPr bwMode="auto">
              <a:xfrm>
                <a:off x="6828" y="1012"/>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0"/>
                    </a:moveTo>
                    <a:lnTo>
                      <a:pt x="4" y="0"/>
                    </a:lnTo>
                    <a:lnTo>
                      <a:pt x="0" y="2"/>
                    </a:lnTo>
                    <a:lnTo>
                      <a:pt x="0" y="2"/>
                    </a:lnTo>
                    <a:lnTo>
                      <a:pt x="2" y="4"/>
                    </a:lnTo>
                    <a:lnTo>
                      <a:pt x="2" y="4"/>
                    </a:lnTo>
                    <a:lnTo>
                      <a:pt x="6" y="2"/>
                    </a:lnTo>
                    <a:lnTo>
                      <a:pt x="6"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3" name="Freeform 1762"/>
              <p:cNvSpPr>
                <a:spLocks/>
              </p:cNvSpPr>
              <p:nvPr/>
            </p:nvSpPr>
            <p:spPr bwMode="auto">
              <a:xfrm>
                <a:off x="6828" y="1012"/>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0"/>
                    </a:moveTo>
                    <a:lnTo>
                      <a:pt x="4" y="0"/>
                    </a:lnTo>
                    <a:lnTo>
                      <a:pt x="0" y="2"/>
                    </a:lnTo>
                    <a:lnTo>
                      <a:pt x="0" y="2"/>
                    </a:lnTo>
                    <a:lnTo>
                      <a:pt x="2" y="4"/>
                    </a:lnTo>
                    <a:lnTo>
                      <a:pt x="2" y="4"/>
                    </a:lnTo>
                    <a:lnTo>
                      <a:pt x="6" y="2"/>
                    </a:lnTo>
                    <a:lnTo>
                      <a:pt x="6"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4" name="Freeform 1763"/>
              <p:cNvSpPr>
                <a:spLocks/>
              </p:cNvSpPr>
              <p:nvPr/>
            </p:nvSpPr>
            <p:spPr bwMode="auto">
              <a:xfrm>
                <a:off x="6830" y="1012"/>
                <a:ext cx="6" cy="4"/>
              </a:xfrm>
              <a:custGeom>
                <a:avLst/>
                <a:gdLst>
                  <a:gd name="T0" fmla="*/ 2 w 6"/>
                  <a:gd name="T1" fmla="*/ 0 h 4"/>
                  <a:gd name="T2" fmla="*/ 2 w 6"/>
                  <a:gd name="T3" fmla="*/ 0 h 4"/>
                  <a:gd name="T4" fmla="*/ 2 w 6"/>
                  <a:gd name="T5" fmla="*/ 0 h 4"/>
                  <a:gd name="T6" fmla="*/ 2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2" y="0"/>
                    </a:lnTo>
                    <a:lnTo>
                      <a:pt x="2" y="0"/>
                    </a:lnTo>
                    <a:lnTo>
                      <a:pt x="4" y="2"/>
                    </a:lnTo>
                    <a:lnTo>
                      <a:pt x="4" y="2"/>
                    </a:lnTo>
                    <a:lnTo>
                      <a:pt x="0" y="4"/>
                    </a:lnTo>
                    <a:lnTo>
                      <a:pt x="0" y="4"/>
                    </a:lnTo>
                    <a:lnTo>
                      <a:pt x="0" y="4"/>
                    </a:lnTo>
                    <a:lnTo>
                      <a:pt x="0" y="4"/>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5" name="Freeform 1764"/>
              <p:cNvSpPr>
                <a:spLocks/>
              </p:cNvSpPr>
              <p:nvPr/>
            </p:nvSpPr>
            <p:spPr bwMode="auto">
              <a:xfrm>
                <a:off x="6830" y="1012"/>
                <a:ext cx="6" cy="4"/>
              </a:xfrm>
              <a:custGeom>
                <a:avLst/>
                <a:gdLst>
                  <a:gd name="T0" fmla="*/ 2 w 6"/>
                  <a:gd name="T1" fmla="*/ 0 h 4"/>
                  <a:gd name="T2" fmla="*/ 2 w 6"/>
                  <a:gd name="T3" fmla="*/ 0 h 4"/>
                  <a:gd name="T4" fmla="*/ 2 w 6"/>
                  <a:gd name="T5" fmla="*/ 0 h 4"/>
                  <a:gd name="T6" fmla="*/ 2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2" y="0"/>
                    </a:lnTo>
                    <a:lnTo>
                      <a:pt x="2" y="0"/>
                    </a:lnTo>
                    <a:lnTo>
                      <a:pt x="4" y="2"/>
                    </a:lnTo>
                    <a:lnTo>
                      <a:pt x="4" y="2"/>
                    </a:lnTo>
                    <a:lnTo>
                      <a:pt x="0" y="4"/>
                    </a:lnTo>
                    <a:lnTo>
                      <a:pt x="0" y="4"/>
                    </a:lnTo>
                    <a:lnTo>
                      <a:pt x="0" y="4"/>
                    </a:lnTo>
                    <a:lnTo>
                      <a:pt x="0"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6" name="Freeform 1765"/>
              <p:cNvSpPr>
                <a:spLocks/>
              </p:cNvSpPr>
              <p:nvPr/>
            </p:nvSpPr>
            <p:spPr bwMode="auto">
              <a:xfrm>
                <a:off x="589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7" name="Freeform 1766"/>
              <p:cNvSpPr>
                <a:spLocks/>
              </p:cNvSpPr>
              <p:nvPr/>
            </p:nvSpPr>
            <p:spPr bwMode="auto">
              <a:xfrm>
                <a:off x="598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8" name="Freeform 1767"/>
              <p:cNvSpPr>
                <a:spLocks/>
              </p:cNvSpPr>
              <p:nvPr/>
            </p:nvSpPr>
            <p:spPr bwMode="auto">
              <a:xfrm>
                <a:off x="6080"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9" name="Freeform 1768"/>
              <p:cNvSpPr>
                <a:spLocks/>
              </p:cNvSpPr>
              <p:nvPr/>
            </p:nvSpPr>
            <p:spPr bwMode="auto">
              <a:xfrm>
                <a:off x="639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0" name="Freeform 1769"/>
              <p:cNvSpPr>
                <a:spLocks/>
              </p:cNvSpPr>
              <p:nvPr/>
            </p:nvSpPr>
            <p:spPr bwMode="auto">
              <a:xfrm>
                <a:off x="639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1" name="Freeform 1770"/>
              <p:cNvSpPr>
                <a:spLocks/>
              </p:cNvSpPr>
              <p:nvPr/>
            </p:nvSpPr>
            <p:spPr bwMode="auto">
              <a:xfrm>
                <a:off x="6460"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2" name="Freeform 1771"/>
              <p:cNvSpPr>
                <a:spLocks/>
              </p:cNvSpPr>
              <p:nvPr/>
            </p:nvSpPr>
            <p:spPr bwMode="auto">
              <a:xfrm>
                <a:off x="6460"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3" name="Freeform 1772"/>
              <p:cNvSpPr>
                <a:spLocks/>
              </p:cNvSpPr>
              <p:nvPr/>
            </p:nvSpPr>
            <p:spPr bwMode="auto">
              <a:xfrm>
                <a:off x="6544" y="7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4" name="Freeform 1773"/>
              <p:cNvSpPr>
                <a:spLocks/>
              </p:cNvSpPr>
              <p:nvPr/>
            </p:nvSpPr>
            <p:spPr bwMode="auto">
              <a:xfrm>
                <a:off x="663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5" name="Freeform 1774"/>
              <p:cNvSpPr>
                <a:spLocks/>
              </p:cNvSpPr>
              <p:nvPr/>
            </p:nvSpPr>
            <p:spPr bwMode="auto">
              <a:xfrm>
                <a:off x="6728"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6" name="Freeform 1775"/>
              <p:cNvSpPr>
                <a:spLocks noEditPoints="1"/>
              </p:cNvSpPr>
              <p:nvPr/>
            </p:nvSpPr>
            <p:spPr bwMode="auto">
              <a:xfrm>
                <a:off x="6172" y="778"/>
                <a:ext cx="186" cy="146"/>
              </a:xfrm>
              <a:custGeom>
                <a:avLst/>
                <a:gdLst>
                  <a:gd name="T0" fmla="*/ 116 w 186"/>
                  <a:gd name="T1" fmla="*/ 104 h 146"/>
                  <a:gd name="T2" fmla="*/ 112 w 186"/>
                  <a:gd name="T3" fmla="*/ 130 h 146"/>
                  <a:gd name="T4" fmla="*/ 18 w 186"/>
                  <a:gd name="T5" fmla="*/ 122 h 146"/>
                  <a:gd name="T6" fmla="*/ 6 w 186"/>
                  <a:gd name="T7" fmla="*/ 104 h 146"/>
                  <a:gd name="T8" fmla="*/ 22 w 186"/>
                  <a:gd name="T9" fmla="*/ 116 h 146"/>
                  <a:gd name="T10" fmla="*/ 8 w 186"/>
                  <a:gd name="T11" fmla="*/ 50 h 146"/>
                  <a:gd name="T12" fmla="*/ 8 w 186"/>
                  <a:gd name="T13" fmla="*/ 50 h 146"/>
                  <a:gd name="T14" fmla="*/ 10 w 186"/>
                  <a:gd name="T15" fmla="*/ 66 h 146"/>
                  <a:gd name="T16" fmla="*/ 10 w 186"/>
                  <a:gd name="T17" fmla="*/ 68 h 146"/>
                  <a:gd name="T18" fmla="*/ 0 w 186"/>
                  <a:gd name="T19" fmla="*/ 58 h 146"/>
                  <a:gd name="T20" fmla="*/ 84 w 186"/>
                  <a:gd name="T21" fmla="*/ 16 h 146"/>
                  <a:gd name="T22" fmla="*/ 128 w 186"/>
                  <a:gd name="T23" fmla="*/ 8 h 146"/>
                  <a:gd name="T24" fmla="*/ 156 w 186"/>
                  <a:gd name="T25" fmla="*/ 32 h 146"/>
                  <a:gd name="T26" fmla="*/ 158 w 186"/>
                  <a:gd name="T27" fmla="*/ 44 h 146"/>
                  <a:gd name="T28" fmla="*/ 152 w 186"/>
                  <a:gd name="T29" fmla="*/ 44 h 146"/>
                  <a:gd name="T30" fmla="*/ 156 w 186"/>
                  <a:gd name="T31" fmla="*/ 46 h 146"/>
                  <a:gd name="T32" fmla="*/ 160 w 186"/>
                  <a:gd name="T33" fmla="*/ 42 h 146"/>
                  <a:gd name="T34" fmla="*/ 176 w 186"/>
                  <a:gd name="T35" fmla="*/ 28 h 146"/>
                  <a:gd name="T36" fmla="*/ 182 w 186"/>
                  <a:gd name="T37" fmla="*/ 70 h 146"/>
                  <a:gd name="T38" fmla="*/ 140 w 186"/>
                  <a:gd name="T39" fmla="*/ 86 h 146"/>
                  <a:gd name="T40" fmla="*/ 134 w 186"/>
                  <a:gd name="T41" fmla="*/ 100 h 146"/>
                  <a:gd name="T42" fmla="*/ 144 w 186"/>
                  <a:gd name="T43" fmla="*/ 90 h 146"/>
                  <a:gd name="T44" fmla="*/ 128 w 186"/>
                  <a:gd name="T45" fmla="*/ 100 h 146"/>
                  <a:gd name="T46" fmla="*/ 114 w 186"/>
                  <a:gd name="T47" fmla="*/ 96 h 146"/>
                  <a:gd name="T48" fmla="*/ 86 w 186"/>
                  <a:gd name="T49" fmla="*/ 140 h 146"/>
                  <a:gd name="T50" fmla="*/ 68 w 186"/>
                  <a:gd name="T51" fmla="*/ 128 h 146"/>
                  <a:gd name="T52" fmla="*/ 76 w 186"/>
                  <a:gd name="T53" fmla="*/ 112 h 146"/>
                  <a:gd name="T54" fmla="*/ 54 w 186"/>
                  <a:gd name="T55" fmla="*/ 116 h 146"/>
                  <a:gd name="T56" fmla="*/ 52 w 186"/>
                  <a:gd name="T57" fmla="*/ 122 h 146"/>
                  <a:gd name="T58" fmla="*/ 42 w 186"/>
                  <a:gd name="T59" fmla="*/ 140 h 146"/>
                  <a:gd name="T60" fmla="*/ 26 w 186"/>
                  <a:gd name="T61" fmla="*/ 122 h 146"/>
                  <a:gd name="T62" fmla="*/ 14 w 186"/>
                  <a:gd name="T63" fmla="*/ 78 h 146"/>
                  <a:gd name="T64" fmla="*/ 56 w 186"/>
                  <a:gd name="T65" fmla="*/ 34 h 146"/>
                  <a:gd name="T66" fmla="*/ 40 w 186"/>
                  <a:gd name="T67" fmla="*/ 64 h 146"/>
                  <a:gd name="T68" fmla="*/ 48 w 186"/>
                  <a:gd name="T69" fmla="*/ 90 h 146"/>
                  <a:gd name="T70" fmla="*/ 72 w 186"/>
                  <a:gd name="T71" fmla="*/ 96 h 146"/>
                  <a:gd name="T72" fmla="*/ 94 w 186"/>
                  <a:gd name="T73" fmla="*/ 58 h 146"/>
                  <a:gd name="T74" fmla="*/ 90 w 186"/>
                  <a:gd name="T75" fmla="*/ 84 h 146"/>
                  <a:gd name="T76" fmla="*/ 56 w 186"/>
                  <a:gd name="T77" fmla="*/ 94 h 146"/>
                  <a:gd name="T78" fmla="*/ 58 w 186"/>
                  <a:gd name="T79" fmla="*/ 68 h 146"/>
                  <a:gd name="T80" fmla="*/ 46 w 186"/>
                  <a:gd name="T81" fmla="*/ 56 h 146"/>
                  <a:gd name="T82" fmla="*/ 86 w 186"/>
                  <a:gd name="T83" fmla="*/ 22 h 146"/>
                  <a:gd name="T84" fmla="*/ 90 w 186"/>
                  <a:gd name="T85" fmla="*/ 6 h 146"/>
                  <a:gd name="T86" fmla="*/ 70 w 186"/>
                  <a:gd name="T87" fmla="*/ 22 h 146"/>
                  <a:gd name="T88" fmla="*/ 16 w 186"/>
                  <a:gd name="T89" fmla="*/ 56 h 146"/>
                  <a:gd name="T90" fmla="*/ 12 w 186"/>
                  <a:gd name="T91" fmla="*/ 56 h 146"/>
                  <a:gd name="T92" fmla="*/ 0 w 186"/>
                  <a:gd name="T93" fmla="*/ 58 h 146"/>
                  <a:gd name="T94" fmla="*/ 10 w 186"/>
                  <a:gd name="T95" fmla="*/ 84 h 146"/>
                  <a:gd name="T96" fmla="*/ 2 w 186"/>
                  <a:gd name="T97" fmla="*/ 112 h 146"/>
                  <a:gd name="T98" fmla="*/ 20 w 186"/>
                  <a:gd name="T99" fmla="*/ 130 h 146"/>
                  <a:gd name="T100" fmla="*/ 44 w 186"/>
                  <a:gd name="T101" fmla="*/ 144 h 146"/>
                  <a:gd name="T102" fmla="*/ 56 w 186"/>
                  <a:gd name="T103" fmla="*/ 120 h 146"/>
                  <a:gd name="T104" fmla="*/ 72 w 186"/>
                  <a:gd name="T105" fmla="*/ 144 h 146"/>
                  <a:gd name="T106" fmla="*/ 96 w 186"/>
                  <a:gd name="T107" fmla="*/ 134 h 146"/>
                  <a:gd name="T108" fmla="*/ 122 w 186"/>
                  <a:gd name="T109" fmla="*/ 124 h 146"/>
                  <a:gd name="T110" fmla="*/ 118 w 186"/>
                  <a:gd name="T111" fmla="*/ 96 h 146"/>
                  <a:gd name="T112" fmla="*/ 142 w 186"/>
                  <a:gd name="T113" fmla="*/ 100 h 146"/>
                  <a:gd name="T114" fmla="*/ 156 w 186"/>
                  <a:gd name="T115" fmla="*/ 92 h 146"/>
                  <a:gd name="T116" fmla="*/ 186 w 186"/>
                  <a:gd name="T117" fmla="*/ 46 h 146"/>
                  <a:gd name="T118" fmla="*/ 172 w 186"/>
                  <a:gd name="T119" fmla="*/ 24 h 146"/>
                  <a:gd name="T120" fmla="*/ 158 w 186"/>
                  <a:gd name="T121" fmla="*/ 30 h 146"/>
                  <a:gd name="T122" fmla="*/ 112 w 186"/>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18" y="122"/>
                    </a:moveTo>
                    <a:lnTo>
                      <a:pt x="18" y="122"/>
                    </a:lnTo>
                    <a:lnTo>
                      <a:pt x="14" y="122"/>
                    </a:lnTo>
                    <a:lnTo>
                      <a:pt x="8" y="118"/>
                    </a:lnTo>
                    <a:lnTo>
                      <a:pt x="6" y="114"/>
                    </a:lnTo>
                    <a:lnTo>
                      <a:pt x="4" y="108"/>
                    </a:lnTo>
                    <a:lnTo>
                      <a:pt x="4" y="108"/>
                    </a:lnTo>
                    <a:lnTo>
                      <a:pt x="6" y="104"/>
                    </a:lnTo>
                    <a:lnTo>
                      <a:pt x="6" y="104"/>
                    </a:lnTo>
                    <a:lnTo>
                      <a:pt x="12" y="100"/>
                    </a:lnTo>
                    <a:lnTo>
                      <a:pt x="12" y="100"/>
                    </a:lnTo>
                    <a:lnTo>
                      <a:pt x="12" y="100"/>
                    </a:lnTo>
                    <a:lnTo>
                      <a:pt x="12" y="100"/>
                    </a:lnTo>
                    <a:lnTo>
                      <a:pt x="12" y="100"/>
                    </a:lnTo>
                    <a:lnTo>
                      <a:pt x="12" y="100"/>
                    </a:lnTo>
                    <a:lnTo>
                      <a:pt x="22" y="116"/>
                    </a:lnTo>
                    <a:lnTo>
                      <a:pt x="22" y="116"/>
                    </a:lnTo>
                    <a:lnTo>
                      <a:pt x="22" y="120"/>
                    </a:lnTo>
                    <a:lnTo>
                      <a:pt x="20" y="122"/>
                    </a:lnTo>
                    <a:lnTo>
                      <a:pt x="20" y="122"/>
                    </a:lnTo>
                    <a:lnTo>
                      <a:pt x="18" y="122"/>
                    </a:lnTo>
                    <a:lnTo>
                      <a:pt x="18"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2" y="64"/>
                    </a:lnTo>
                    <a:lnTo>
                      <a:pt x="12" y="64"/>
                    </a:lnTo>
                    <a:lnTo>
                      <a:pt x="12" y="64"/>
                    </a:lnTo>
                    <a:lnTo>
                      <a:pt x="12" y="64"/>
                    </a:lnTo>
                    <a:lnTo>
                      <a:pt x="12" y="64"/>
                    </a:lnTo>
                    <a:lnTo>
                      <a:pt x="12" y="64"/>
                    </a:lnTo>
                    <a:lnTo>
                      <a:pt x="12" y="68"/>
                    </a:lnTo>
                    <a:lnTo>
                      <a:pt x="10" y="68"/>
                    </a:lnTo>
                    <a:lnTo>
                      <a:pt x="10" y="68"/>
                    </a:lnTo>
                    <a:lnTo>
                      <a:pt x="8" y="70"/>
                    </a:lnTo>
                    <a:lnTo>
                      <a:pt x="8" y="70"/>
                    </a:lnTo>
                    <a:lnTo>
                      <a:pt x="6" y="68"/>
                    </a:lnTo>
                    <a:lnTo>
                      <a:pt x="6" y="68"/>
                    </a:lnTo>
                    <a:lnTo>
                      <a:pt x="4" y="66"/>
                    </a:lnTo>
                    <a:lnTo>
                      <a:pt x="2" y="62"/>
                    </a:lnTo>
                    <a:lnTo>
                      <a:pt x="0" y="58"/>
                    </a:lnTo>
                    <a:lnTo>
                      <a:pt x="0" y="54"/>
                    </a:lnTo>
                    <a:lnTo>
                      <a:pt x="0"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0"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48" y="40"/>
                    </a:lnTo>
                    <a:lnTo>
                      <a:pt x="152" y="42"/>
                    </a:lnTo>
                    <a:lnTo>
                      <a:pt x="152" y="42"/>
                    </a:lnTo>
                    <a:lnTo>
                      <a:pt x="156" y="40"/>
                    </a:lnTo>
                    <a:lnTo>
                      <a:pt x="156" y="40"/>
                    </a:lnTo>
                    <a:lnTo>
                      <a:pt x="158" y="44"/>
                    </a:lnTo>
                    <a:lnTo>
                      <a:pt x="158" y="44"/>
                    </a:lnTo>
                    <a:lnTo>
                      <a:pt x="146" y="46"/>
                    </a:lnTo>
                    <a:lnTo>
                      <a:pt x="146" y="48"/>
                    </a:lnTo>
                    <a:lnTo>
                      <a:pt x="144" y="52"/>
                    </a:lnTo>
                    <a:lnTo>
                      <a:pt x="144" y="52"/>
                    </a:lnTo>
                    <a:lnTo>
                      <a:pt x="146" y="48"/>
                    </a:lnTo>
                    <a:lnTo>
                      <a:pt x="146" y="48"/>
                    </a:lnTo>
                    <a:lnTo>
                      <a:pt x="152" y="44"/>
                    </a:lnTo>
                    <a:lnTo>
                      <a:pt x="152" y="44"/>
                    </a:lnTo>
                    <a:lnTo>
                      <a:pt x="148" y="56"/>
                    </a:lnTo>
                    <a:lnTo>
                      <a:pt x="148"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2" y="62"/>
                    </a:lnTo>
                    <a:lnTo>
                      <a:pt x="182" y="70"/>
                    </a:lnTo>
                    <a:lnTo>
                      <a:pt x="182" y="70"/>
                    </a:lnTo>
                    <a:lnTo>
                      <a:pt x="176" y="78"/>
                    </a:lnTo>
                    <a:lnTo>
                      <a:pt x="172" y="84"/>
                    </a:lnTo>
                    <a:lnTo>
                      <a:pt x="164" y="88"/>
                    </a:lnTo>
                    <a:lnTo>
                      <a:pt x="156" y="88"/>
                    </a:lnTo>
                    <a:lnTo>
                      <a:pt x="156" y="88"/>
                    </a:lnTo>
                    <a:lnTo>
                      <a:pt x="148" y="88"/>
                    </a:lnTo>
                    <a:lnTo>
                      <a:pt x="148"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6"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4" y="138"/>
                    </a:lnTo>
                    <a:lnTo>
                      <a:pt x="42" y="140"/>
                    </a:lnTo>
                    <a:lnTo>
                      <a:pt x="42"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2"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2" y="62"/>
                    </a:lnTo>
                    <a:lnTo>
                      <a:pt x="42"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4"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2"/>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4"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2" y="144"/>
                    </a:lnTo>
                    <a:lnTo>
                      <a:pt x="72"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18" y="104"/>
                    </a:lnTo>
                    <a:lnTo>
                      <a:pt x="118"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68" y="28"/>
                    </a:lnTo>
                    <a:lnTo>
                      <a:pt x="168" y="28"/>
                    </a:lnTo>
                    <a:lnTo>
                      <a:pt x="164" y="32"/>
                    </a:lnTo>
                    <a:lnTo>
                      <a:pt x="164" y="32"/>
                    </a:lnTo>
                    <a:lnTo>
                      <a:pt x="162" y="34"/>
                    </a:lnTo>
                    <a:lnTo>
                      <a:pt x="162" y="34"/>
                    </a:lnTo>
                    <a:lnTo>
                      <a:pt x="158" y="30"/>
                    </a:lnTo>
                    <a:lnTo>
                      <a:pt x="158" y="30"/>
                    </a:lnTo>
                    <a:lnTo>
                      <a:pt x="156" y="26"/>
                    </a:lnTo>
                    <a:lnTo>
                      <a:pt x="152" y="22"/>
                    </a:lnTo>
                    <a:lnTo>
                      <a:pt x="152" y="22"/>
                    </a:lnTo>
                    <a:lnTo>
                      <a:pt x="136" y="10"/>
                    </a:lnTo>
                    <a:lnTo>
                      <a:pt x="136" y="10"/>
                    </a:lnTo>
                    <a:lnTo>
                      <a:pt x="130" y="6"/>
                    </a:lnTo>
                    <a:lnTo>
                      <a:pt x="124"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7" name="Freeform 1776"/>
              <p:cNvSpPr>
                <a:spLocks/>
              </p:cNvSpPr>
              <p:nvPr/>
            </p:nvSpPr>
            <p:spPr bwMode="auto">
              <a:xfrm>
                <a:off x="6274" y="882"/>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8" name="Freeform 1777"/>
              <p:cNvSpPr>
                <a:spLocks/>
              </p:cNvSpPr>
              <p:nvPr/>
            </p:nvSpPr>
            <p:spPr bwMode="auto">
              <a:xfrm>
                <a:off x="6176" y="878"/>
                <a:ext cx="18" cy="22"/>
              </a:xfrm>
              <a:custGeom>
                <a:avLst/>
                <a:gdLst>
                  <a:gd name="T0" fmla="*/ 14 w 18"/>
                  <a:gd name="T1" fmla="*/ 22 h 22"/>
                  <a:gd name="T2" fmla="*/ 14 w 18"/>
                  <a:gd name="T3" fmla="*/ 22 h 22"/>
                  <a:gd name="T4" fmla="*/ 10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6 h 22"/>
                  <a:gd name="T32" fmla="*/ 18 w 18"/>
                  <a:gd name="T33" fmla="*/ 16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10"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9" name="Freeform 1778"/>
              <p:cNvSpPr>
                <a:spLocks/>
              </p:cNvSpPr>
              <p:nvPr/>
            </p:nvSpPr>
            <p:spPr bwMode="auto">
              <a:xfrm>
                <a:off x="6172" y="8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10 w 12"/>
                  <a:gd name="T29" fmla="*/ 16 h 20"/>
                  <a:gd name="T30" fmla="*/ 10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0" name="Freeform 1779"/>
              <p:cNvSpPr>
                <a:spLocks/>
              </p:cNvSpPr>
              <p:nvPr/>
            </p:nvSpPr>
            <p:spPr bwMode="auto">
              <a:xfrm>
                <a:off x="6186" y="7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1" name="Freeform 1780"/>
              <p:cNvSpPr>
                <a:spLocks/>
              </p:cNvSpPr>
              <p:nvPr/>
            </p:nvSpPr>
            <p:spPr bwMode="auto">
              <a:xfrm>
                <a:off x="6172" y="778"/>
                <a:ext cx="186" cy="146"/>
              </a:xfrm>
              <a:custGeom>
                <a:avLst/>
                <a:gdLst>
                  <a:gd name="T0" fmla="*/ 104 w 186"/>
                  <a:gd name="T1" fmla="*/ 0 h 146"/>
                  <a:gd name="T2" fmla="*/ 84 w 186"/>
                  <a:gd name="T3" fmla="*/ 12 h 146"/>
                  <a:gd name="T4" fmla="*/ 74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2 w 186"/>
                  <a:gd name="T25" fmla="*/ 68 h 146"/>
                  <a:gd name="T26" fmla="*/ 10 w 186"/>
                  <a:gd name="T27" fmla="*/ 72 h 146"/>
                  <a:gd name="T28" fmla="*/ 10 w 186"/>
                  <a:gd name="T29" fmla="*/ 84 h 146"/>
                  <a:gd name="T30" fmla="*/ 8 w 186"/>
                  <a:gd name="T31" fmla="*/ 98 h 146"/>
                  <a:gd name="T32" fmla="*/ 2 w 186"/>
                  <a:gd name="T33" fmla="*/ 106 h 146"/>
                  <a:gd name="T34" fmla="*/ 4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2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18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4"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2"/>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4"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2" y="144"/>
                    </a:lnTo>
                    <a:lnTo>
                      <a:pt x="72"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18" y="104"/>
                    </a:lnTo>
                    <a:lnTo>
                      <a:pt x="118"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68" y="28"/>
                    </a:lnTo>
                    <a:lnTo>
                      <a:pt x="168" y="28"/>
                    </a:lnTo>
                    <a:lnTo>
                      <a:pt x="164" y="32"/>
                    </a:lnTo>
                    <a:lnTo>
                      <a:pt x="164" y="32"/>
                    </a:lnTo>
                    <a:lnTo>
                      <a:pt x="162" y="34"/>
                    </a:lnTo>
                    <a:lnTo>
                      <a:pt x="162" y="34"/>
                    </a:lnTo>
                    <a:lnTo>
                      <a:pt x="158" y="30"/>
                    </a:lnTo>
                    <a:lnTo>
                      <a:pt x="158" y="30"/>
                    </a:lnTo>
                    <a:lnTo>
                      <a:pt x="156" y="26"/>
                    </a:lnTo>
                    <a:lnTo>
                      <a:pt x="152" y="22"/>
                    </a:lnTo>
                    <a:lnTo>
                      <a:pt x="152" y="22"/>
                    </a:lnTo>
                    <a:lnTo>
                      <a:pt x="136" y="10"/>
                    </a:lnTo>
                    <a:lnTo>
                      <a:pt x="136" y="10"/>
                    </a:lnTo>
                    <a:lnTo>
                      <a:pt x="130"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2" name="Freeform 1781"/>
              <p:cNvSpPr>
                <a:spLocks/>
              </p:cNvSpPr>
              <p:nvPr/>
            </p:nvSpPr>
            <p:spPr bwMode="auto">
              <a:xfrm>
                <a:off x="6176" y="8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0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6" y="18"/>
                    </a:lnTo>
                    <a:lnTo>
                      <a:pt x="10" y="20"/>
                    </a:lnTo>
                    <a:lnTo>
                      <a:pt x="14" y="22"/>
                    </a:lnTo>
                    <a:lnTo>
                      <a:pt x="14" y="22"/>
                    </a:lnTo>
                    <a:lnTo>
                      <a:pt x="16" y="22"/>
                    </a:lnTo>
                    <a:lnTo>
                      <a:pt x="16" y="22"/>
                    </a:lnTo>
                    <a:lnTo>
                      <a:pt x="16" y="22"/>
                    </a:lnTo>
                    <a:lnTo>
                      <a:pt x="16"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3" name="Freeform 1782"/>
              <p:cNvSpPr>
                <a:spLocks/>
              </p:cNvSpPr>
              <p:nvPr/>
            </p:nvSpPr>
            <p:spPr bwMode="auto">
              <a:xfrm>
                <a:off x="6176" y="8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0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6" y="18"/>
                    </a:lnTo>
                    <a:lnTo>
                      <a:pt x="10" y="20"/>
                    </a:lnTo>
                    <a:lnTo>
                      <a:pt x="14" y="22"/>
                    </a:lnTo>
                    <a:lnTo>
                      <a:pt x="14" y="22"/>
                    </a:lnTo>
                    <a:lnTo>
                      <a:pt x="16" y="22"/>
                    </a:lnTo>
                    <a:lnTo>
                      <a:pt x="16"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4" name="Freeform 1783"/>
              <p:cNvSpPr>
                <a:spLocks/>
              </p:cNvSpPr>
              <p:nvPr/>
            </p:nvSpPr>
            <p:spPr bwMode="auto">
              <a:xfrm>
                <a:off x="6176" y="878"/>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10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0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10" y="22"/>
                    </a:lnTo>
                    <a:lnTo>
                      <a:pt x="14" y="22"/>
                    </a:lnTo>
                    <a:lnTo>
                      <a:pt x="14" y="22"/>
                    </a:lnTo>
                    <a:lnTo>
                      <a:pt x="14" y="22"/>
                    </a:lnTo>
                    <a:lnTo>
                      <a:pt x="14" y="22"/>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5" name="Freeform 1784"/>
              <p:cNvSpPr>
                <a:spLocks/>
              </p:cNvSpPr>
              <p:nvPr/>
            </p:nvSpPr>
            <p:spPr bwMode="auto">
              <a:xfrm>
                <a:off x="6176" y="878"/>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10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0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10" y="22"/>
                    </a:lnTo>
                    <a:lnTo>
                      <a:pt x="14" y="22"/>
                    </a:lnTo>
                    <a:lnTo>
                      <a:pt x="14" y="22"/>
                    </a:lnTo>
                    <a:lnTo>
                      <a:pt x="14" y="22"/>
                    </a:lnTo>
                    <a:lnTo>
                      <a:pt x="14" y="22"/>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6" name="Freeform 1785"/>
              <p:cNvSpPr>
                <a:spLocks/>
              </p:cNvSpPr>
              <p:nvPr/>
            </p:nvSpPr>
            <p:spPr bwMode="auto">
              <a:xfrm>
                <a:off x="6274" y="882"/>
                <a:ext cx="16" cy="26"/>
              </a:xfrm>
              <a:custGeom>
                <a:avLst/>
                <a:gdLst>
                  <a:gd name="T0" fmla="*/ 14 w 16"/>
                  <a:gd name="T1" fmla="*/ 0 h 26"/>
                  <a:gd name="T2" fmla="*/ 14 w 16"/>
                  <a:gd name="T3" fmla="*/ 0 h 26"/>
                  <a:gd name="T4" fmla="*/ 4 w 16"/>
                  <a:gd name="T5" fmla="*/ 20 h 26"/>
                  <a:gd name="T6" fmla="*/ 4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2 h 26"/>
                  <a:gd name="T30" fmla="*/ 16 w 16"/>
                  <a:gd name="T31" fmla="*/ 22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7" name="Freeform 1786"/>
              <p:cNvSpPr>
                <a:spLocks/>
              </p:cNvSpPr>
              <p:nvPr/>
            </p:nvSpPr>
            <p:spPr bwMode="auto">
              <a:xfrm>
                <a:off x="6274" y="882"/>
                <a:ext cx="16" cy="26"/>
              </a:xfrm>
              <a:custGeom>
                <a:avLst/>
                <a:gdLst>
                  <a:gd name="T0" fmla="*/ 14 w 16"/>
                  <a:gd name="T1" fmla="*/ 0 h 26"/>
                  <a:gd name="T2" fmla="*/ 14 w 16"/>
                  <a:gd name="T3" fmla="*/ 0 h 26"/>
                  <a:gd name="T4" fmla="*/ 4 w 16"/>
                  <a:gd name="T5" fmla="*/ 20 h 26"/>
                  <a:gd name="T6" fmla="*/ 4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2 h 26"/>
                  <a:gd name="T30" fmla="*/ 16 w 16"/>
                  <a:gd name="T31" fmla="*/ 22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8" name="Freeform 1787"/>
              <p:cNvSpPr>
                <a:spLocks noEditPoints="1"/>
              </p:cNvSpPr>
              <p:nvPr/>
            </p:nvSpPr>
            <p:spPr bwMode="auto">
              <a:xfrm>
                <a:off x="6274" y="882"/>
                <a:ext cx="18" cy="26"/>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6 w 18"/>
                  <a:gd name="T31" fmla="*/ 22 h 26"/>
                  <a:gd name="T32" fmla="*/ 16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9" name="Freeform 1788"/>
              <p:cNvSpPr>
                <a:spLocks/>
              </p:cNvSpPr>
              <p:nvPr/>
            </p:nvSpPr>
            <p:spPr bwMode="auto">
              <a:xfrm>
                <a:off x="6274" y="902"/>
                <a:ext cx="6" cy="6"/>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0" name="Freeform 1789"/>
              <p:cNvSpPr>
                <a:spLocks/>
              </p:cNvSpPr>
              <p:nvPr/>
            </p:nvSpPr>
            <p:spPr bwMode="auto">
              <a:xfrm>
                <a:off x="6284" y="882"/>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6 w 8"/>
                  <a:gd name="T13" fmla="*/ 22 h 26"/>
                  <a:gd name="T14" fmla="*/ 6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6" y="22"/>
                    </a:lnTo>
                    <a:lnTo>
                      <a:pt x="6"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1" name="Freeform 1790"/>
              <p:cNvSpPr>
                <a:spLocks/>
              </p:cNvSpPr>
              <p:nvPr/>
            </p:nvSpPr>
            <p:spPr bwMode="auto">
              <a:xfrm>
                <a:off x="61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8 h 20"/>
                  <a:gd name="T14" fmla="*/ 0 w 10"/>
                  <a:gd name="T15" fmla="*/ 12 h 20"/>
                  <a:gd name="T16" fmla="*/ 2 w 10"/>
                  <a:gd name="T17" fmla="*/ 16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8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4 h 20"/>
                  <a:gd name="T46" fmla="*/ 4 w 10"/>
                  <a:gd name="T47" fmla="*/ 14 h 20"/>
                  <a:gd name="T48" fmla="*/ 2 w 10"/>
                  <a:gd name="T49" fmla="*/ 10 h 20"/>
                  <a:gd name="T50" fmla="*/ 2 w 10"/>
                  <a:gd name="T51" fmla="*/ 10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4" y="0"/>
                    </a:lnTo>
                    <a:lnTo>
                      <a:pt x="4"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0" y="14"/>
                    </a:lnTo>
                    <a:lnTo>
                      <a:pt x="10" y="14"/>
                    </a:lnTo>
                    <a:lnTo>
                      <a:pt x="8" y="16"/>
                    </a:lnTo>
                    <a:lnTo>
                      <a:pt x="8" y="16"/>
                    </a:lnTo>
                    <a:lnTo>
                      <a:pt x="6" y="16"/>
                    </a:lnTo>
                    <a:lnTo>
                      <a:pt x="6" y="16"/>
                    </a:lnTo>
                    <a:lnTo>
                      <a:pt x="4" y="14"/>
                    </a:lnTo>
                    <a:lnTo>
                      <a:pt x="4" y="14"/>
                    </a:lnTo>
                    <a:lnTo>
                      <a:pt x="2" y="10"/>
                    </a:lnTo>
                    <a:lnTo>
                      <a:pt x="2" y="1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2" name="Freeform 1791"/>
              <p:cNvSpPr>
                <a:spLocks/>
              </p:cNvSpPr>
              <p:nvPr/>
            </p:nvSpPr>
            <p:spPr bwMode="auto">
              <a:xfrm>
                <a:off x="61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8 h 20"/>
                  <a:gd name="T14" fmla="*/ 0 w 10"/>
                  <a:gd name="T15" fmla="*/ 12 h 20"/>
                  <a:gd name="T16" fmla="*/ 2 w 10"/>
                  <a:gd name="T17" fmla="*/ 16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8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4 h 20"/>
                  <a:gd name="T46" fmla="*/ 4 w 10"/>
                  <a:gd name="T47" fmla="*/ 14 h 20"/>
                  <a:gd name="T48" fmla="*/ 2 w 10"/>
                  <a:gd name="T49" fmla="*/ 10 h 20"/>
                  <a:gd name="T50" fmla="*/ 2 w 10"/>
                  <a:gd name="T51" fmla="*/ 10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4" y="0"/>
                    </a:lnTo>
                    <a:lnTo>
                      <a:pt x="4"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0" y="14"/>
                    </a:lnTo>
                    <a:lnTo>
                      <a:pt x="10" y="14"/>
                    </a:lnTo>
                    <a:lnTo>
                      <a:pt x="8" y="16"/>
                    </a:lnTo>
                    <a:lnTo>
                      <a:pt x="8" y="16"/>
                    </a:lnTo>
                    <a:lnTo>
                      <a:pt x="6" y="16"/>
                    </a:lnTo>
                    <a:lnTo>
                      <a:pt x="6"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3" name="Freeform 1792"/>
              <p:cNvSpPr>
                <a:spLocks noEditPoints="1"/>
              </p:cNvSpPr>
              <p:nvPr/>
            </p:nvSpPr>
            <p:spPr bwMode="auto">
              <a:xfrm>
                <a:off x="6172" y="828"/>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2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4" name="Freeform 1793"/>
              <p:cNvSpPr>
                <a:spLocks/>
              </p:cNvSpPr>
              <p:nvPr/>
            </p:nvSpPr>
            <p:spPr bwMode="auto">
              <a:xfrm>
                <a:off x="6182" y="8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5" name="Freeform 1794"/>
              <p:cNvSpPr>
                <a:spLocks/>
              </p:cNvSpPr>
              <p:nvPr/>
            </p:nvSpPr>
            <p:spPr bwMode="auto">
              <a:xfrm>
                <a:off x="6172" y="828"/>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6" name="Freeform 1795"/>
              <p:cNvSpPr>
                <a:spLocks noEditPoints="1"/>
              </p:cNvSpPr>
              <p:nvPr/>
            </p:nvSpPr>
            <p:spPr bwMode="auto">
              <a:xfrm>
                <a:off x="6286" y="816"/>
                <a:ext cx="20" cy="14"/>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7" name="Freeform 1796"/>
              <p:cNvSpPr>
                <a:spLocks/>
              </p:cNvSpPr>
              <p:nvPr/>
            </p:nvSpPr>
            <p:spPr bwMode="auto">
              <a:xfrm>
                <a:off x="6292" y="824"/>
                <a:ext cx="6" cy="4"/>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8" name="Freeform 1797"/>
              <p:cNvSpPr>
                <a:spLocks/>
              </p:cNvSpPr>
              <p:nvPr/>
            </p:nvSpPr>
            <p:spPr bwMode="auto">
              <a:xfrm>
                <a:off x="6286" y="816"/>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9" name="Freeform 1798"/>
              <p:cNvSpPr>
                <a:spLocks/>
              </p:cNvSpPr>
              <p:nvPr/>
            </p:nvSpPr>
            <p:spPr bwMode="auto">
              <a:xfrm>
                <a:off x="6240" y="806"/>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0" name="Freeform 1799"/>
              <p:cNvSpPr>
                <a:spLocks/>
              </p:cNvSpPr>
              <p:nvPr/>
            </p:nvSpPr>
            <p:spPr bwMode="auto">
              <a:xfrm>
                <a:off x="6240" y="806"/>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1" name="Freeform 1800"/>
              <p:cNvSpPr>
                <a:spLocks/>
              </p:cNvSpPr>
              <p:nvPr/>
            </p:nvSpPr>
            <p:spPr bwMode="auto">
              <a:xfrm>
                <a:off x="6336"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2" name="Freeform 1801"/>
              <p:cNvSpPr>
                <a:spLocks/>
              </p:cNvSpPr>
              <p:nvPr/>
            </p:nvSpPr>
            <p:spPr bwMode="auto">
              <a:xfrm>
                <a:off x="6336"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3" name="Freeform 1802"/>
              <p:cNvSpPr>
                <a:spLocks/>
              </p:cNvSpPr>
              <p:nvPr/>
            </p:nvSpPr>
            <p:spPr bwMode="auto">
              <a:xfrm>
                <a:off x="6282"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4" name="Freeform 1803"/>
              <p:cNvSpPr>
                <a:spLocks/>
              </p:cNvSpPr>
              <p:nvPr/>
            </p:nvSpPr>
            <p:spPr bwMode="auto">
              <a:xfrm>
                <a:off x="6282"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5" name="Freeform 1804"/>
              <p:cNvSpPr>
                <a:spLocks/>
              </p:cNvSpPr>
              <p:nvPr/>
            </p:nvSpPr>
            <p:spPr bwMode="auto">
              <a:xfrm>
                <a:off x="6296"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6" name="Freeform 1805"/>
              <p:cNvSpPr>
                <a:spLocks/>
              </p:cNvSpPr>
              <p:nvPr/>
            </p:nvSpPr>
            <p:spPr bwMode="auto">
              <a:xfrm>
                <a:off x="6296"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7" name="Freeform 1806"/>
              <p:cNvSpPr>
                <a:spLocks/>
              </p:cNvSpPr>
              <p:nvPr/>
            </p:nvSpPr>
            <p:spPr bwMode="auto">
              <a:xfrm>
                <a:off x="6292"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8" name="Freeform 1807"/>
              <p:cNvSpPr>
                <a:spLocks/>
              </p:cNvSpPr>
              <p:nvPr/>
            </p:nvSpPr>
            <p:spPr bwMode="auto">
              <a:xfrm>
                <a:off x="6292"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9" name="Freeform 1808"/>
              <p:cNvSpPr>
                <a:spLocks/>
              </p:cNvSpPr>
              <p:nvPr/>
            </p:nvSpPr>
            <p:spPr bwMode="auto">
              <a:xfrm>
                <a:off x="6294"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0" name="Freeform 1809"/>
              <p:cNvSpPr>
                <a:spLocks/>
              </p:cNvSpPr>
              <p:nvPr/>
            </p:nvSpPr>
            <p:spPr bwMode="auto">
              <a:xfrm>
                <a:off x="6294"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1" name="Freeform 1810"/>
              <p:cNvSpPr>
                <a:spLocks/>
              </p:cNvSpPr>
              <p:nvPr/>
            </p:nvSpPr>
            <p:spPr bwMode="auto">
              <a:xfrm>
                <a:off x="6818"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2" name="Freeform 1811"/>
              <p:cNvSpPr>
                <a:spLocks/>
              </p:cNvSpPr>
              <p:nvPr/>
            </p:nvSpPr>
            <p:spPr bwMode="auto">
              <a:xfrm>
                <a:off x="705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3" name="Freeform 1812"/>
              <p:cNvSpPr>
                <a:spLocks/>
              </p:cNvSpPr>
              <p:nvPr/>
            </p:nvSpPr>
            <p:spPr bwMode="auto">
              <a:xfrm>
                <a:off x="714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2" name="Group 2014"/>
            <p:cNvGrpSpPr>
              <a:grpSpLocks/>
            </p:cNvGrpSpPr>
            <p:nvPr/>
          </p:nvGrpSpPr>
          <p:grpSpPr bwMode="auto">
            <a:xfrm>
              <a:off x="6042003" y="333375"/>
              <a:ext cx="5975328" cy="1746250"/>
              <a:chOff x="3806" y="410"/>
              <a:chExt cx="3764" cy="1100"/>
            </a:xfrm>
          </p:grpSpPr>
          <p:sp>
            <p:nvSpPr>
              <p:cNvPr id="994" name="Freeform 1814"/>
              <p:cNvSpPr>
                <a:spLocks/>
              </p:cNvSpPr>
              <p:nvPr/>
            </p:nvSpPr>
            <p:spPr bwMode="auto">
              <a:xfrm>
                <a:off x="723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5" name="Freeform 1815"/>
              <p:cNvSpPr>
                <a:spLocks/>
              </p:cNvSpPr>
              <p:nvPr/>
            </p:nvSpPr>
            <p:spPr bwMode="auto">
              <a:xfrm>
                <a:off x="690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6" name="Freeform 1816"/>
              <p:cNvSpPr>
                <a:spLocks/>
              </p:cNvSpPr>
              <p:nvPr/>
            </p:nvSpPr>
            <p:spPr bwMode="auto">
              <a:xfrm>
                <a:off x="690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7" name="Freeform 1817"/>
              <p:cNvSpPr>
                <a:spLocks/>
              </p:cNvSpPr>
              <p:nvPr/>
            </p:nvSpPr>
            <p:spPr bwMode="auto">
              <a:xfrm>
                <a:off x="6968" y="780"/>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8" name="Freeform 1818"/>
              <p:cNvSpPr>
                <a:spLocks/>
              </p:cNvSpPr>
              <p:nvPr/>
            </p:nvSpPr>
            <p:spPr bwMode="auto">
              <a:xfrm>
                <a:off x="6968" y="780"/>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9" name="Freeform 1819"/>
              <p:cNvSpPr>
                <a:spLocks noEditPoints="1"/>
              </p:cNvSpPr>
              <p:nvPr/>
            </p:nvSpPr>
            <p:spPr bwMode="auto">
              <a:xfrm>
                <a:off x="7328" y="7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0" name="Freeform 1820"/>
              <p:cNvSpPr>
                <a:spLocks noEditPoints="1"/>
              </p:cNvSpPr>
              <p:nvPr/>
            </p:nvSpPr>
            <p:spPr bwMode="auto">
              <a:xfrm>
                <a:off x="7466" y="7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1" name="Freeform 1821"/>
              <p:cNvSpPr>
                <a:spLocks/>
              </p:cNvSpPr>
              <p:nvPr/>
            </p:nvSpPr>
            <p:spPr bwMode="auto">
              <a:xfrm>
                <a:off x="3826"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2" name="Freeform 1822"/>
              <p:cNvSpPr>
                <a:spLocks/>
              </p:cNvSpPr>
              <p:nvPr/>
            </p:nvSpPr>
            <p:spPr bwMode="auto">
              <a:xfrm>
                <a:off x="391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3" name="Freeform 1823"/>
              <p:cNvSpPr>
                <a:spLocks/>
              </p:cNvSpPr>
              <p:nvPr/>
            </p:nvSpPr>
            <p:spPr bwMode="auto">
              <a:xfrm>
                <a:off x="401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4" name="Freeform 1824"/>
              <p:cNvSpPr>
                <a:spLocks noEditPoints="1"/>
              </p:cNvSpPr>
              <p:nvPr/>
            </p:nvSpPr>
            <p:spPr bwMode="auto">
              <a:xfrm>
                <a:off x="4104" y="96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5" name="Freeform 1825"/>
              <p:cNvSpPr>
                <a:spLocks noEditPoints="1"/>
              </p:cNvSpPr>
              <p:nvPr/>
            </p:nvSpPr>
            <p:spPr bwMode="auto">
              <a:xfrm>
                <a:off x="4242" y="96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6" name="Freeform 1826"/>
              <p:cNvSpPr>
                <a:spLocks noEditPoints="1"/>
              </p:cNvSpPr>
              <p:nvPr/>
            </p:nvSpPr>
            <p:spPr bwMode="auto">
              <a:xfrm>
                <a:off x="4660" y="964"/>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7" name="Freeform 1827"/>
              <p:cNvSpPr>
                <a:spLocks noEditPoints="1"/>
              </p:cNvSpPr>
              <p:nvPr/>
            </p:nvSpPr>
            <p:spPr bwMode="auto">
              <a:xfrm>
                <a:off x="4890" y="964"/>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8" name="Freeform 1828"/>
              <p:cNvSpPr>
                <a:spLocks/>
              </p:cNvSpPr>
              <p:nvPr/>
            </p:nvSpPr>
            <p:spPr bwMode="auto">
              <a:xfrm>
                <a:off x="479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9" name="Freeform 1829"/>
              <p:cNvSpPr>
                <a:spLocks noEditPoints="1"/>
              </p:cNvSpPr>
              <p:nvPr/>
            </p:nvSpPr>
            <p:spPr bwMode="auto">
              <a:xfrm>
                <a:off x="5030" y="964"/>
                <a:ext cx="98" cy="150"/>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0" name="Freeform 1830"/>
              <p:cNvSpPr>
                <a:spLocks/>
              </p:cNvSpPr>
              <p:nvPr/>
            </p:nvSpPr>
            <p:spPr bwMode="auto">
              <a:xfrm>
                <a:off x="5170" y="968"/>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1" name="Freeform 1831"/>
              <p:cNvSpPr>
                <a:spLocks/>
              </p:cNvSpPr>
              <p:nvPr/>
            </p:nvSpPr>
            <p:spPr bwMode="auto">
              <a:xfrm>
                <a:off x="5170" y="968"/>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2" name="Freeform 1832"/>
              <p:cNvSpPr>
                <a:spLocks/>
              </p:cNvSpPr>
              <p:nvPr/>
            </p:nvSpPr>
            <p:spPr bwMode="auto">
              <a:xfrm>
                <a:off x="5230" y="968"/>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3" name="Freeform 1833"/>
              <p:cNvSpPr>
                <a:spLocks/>
              </p:cNvSpPr>
              <p:nvPr/>
            </p:nvSpPr>
            <p:spPr bwMode="auto">
              <a:xfrm>
                <a:off x="5230" y="968"/>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4" name="Freeform 1834"/>
              <p:cNvSpPr>
                <a:spLocks noEditPoints="1"/>
              </p:cNvSpPr>
              <p:nvPr/>
            </p:nvSpPr>
            <p:spPr bwMode="auto">
              <a:xfrm>
                <a:off x="5466"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5" name="Freeform 1835"/>
              <p:cNvSpPr>
                <a:spLocks/>
              </p:cNvSpPr>
              <p:nvPr/>
            </p:nvSpPr>
            <p:spPr bwMode="auto">
              <a:xfrm>
                <a:off x="560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6" name="Freeform 1836"/>
              <p:cNvSpPr>
                <a:spLocks noEditPoints="1"/>
              </p:cNvSpPr>
              <p:nvPr/>
            </p:nvSpPr>
            <p:spPr bwMode="auto">
              <a:xfrm>
                <a:off x="5318" y="972"/>
                <a:ext cx="108" cy="142"/>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7" name="Freeform 1837"/>
              <p:cNvSpPr>
                <a:spLocks/>
              </p:cNvSpPr>
              <p:nvPr/>
            </p:nvSpPr>
            <p:spPr bwMode="auto">
              <a:xfrm>
                <a:off x="5360" y="1030"/>
                <a:ext cx="22" cy="22"/>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8" name="Freeform 1838"/>
              <p:cNvSpPr>
                <a:spLocks/>
              </p:cNvSpPr>
              <p:nvPr/>
            </p:nvSpPr>
            <p:spPr bwMode="auto">
              <a:xfrm>
                <a:off x="5318" y="972"/>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9" name="Freeform 1839"/>
              <p:cNvSpPr>
                <a:spLocks/>
              </p:cNvSpPr>
              <p:nvPr/>
            </p:nvSpPr>
            <p:spPr bwMode="auto">
              <a:xfrm>
                <a:off x="438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0" name="Freeform 1840"/>
              <p:cNvSpPr>
                <a:spLocks/>
              </p:cNvSpPr>
              <p:nvPr/>
            </p:nvSpPr>
            <p:spPr bwMode="auto">
              <a:xfrm>
                <a:off x="447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1" name="Freeform 1841"/>
              <p:cNvSpPr>
                <a:spLocks/>
              </p:cNvSpPr>
              <p:nvPr/>
            </p:nvSpPr>
            <p:spPr bwMode="auto">
              <a:xfrm>
                <a:off x="4568"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2" name="Freeform 1842"/>
              <p:cNvSpPr>
                <a:spLocks/>
              </p:cNvSpPr>
              <p:nvPr/>
            </p:nvSpPr>
            <p:spPr bwMode="auto">
              <a:xfrm>
                <a:off x="497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3" name="Freeform 1843"/>
              <p:cNvSpPr>
                <a:spLocks/>
              </p:cNvSpPr>
              <p:nvPr/>
            </p:nvSpPr>
            <p:spPr bwMode="auto">
              <a:xfrm>
                <a:off x="506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4" name="Freeform 1844"/>
              <p:cNvSpPr>
                <a:spLocks/>
              </p:cNvSpPr>
              <p:nvPr/>
            </p:nvSpPr>
            <p:spPr bwMode="auto">
              <a:xfrm>
                <a:off x="5156"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5" name="Freeform 1845"/>
              <p:cNvSpPr>
                <a:spLocks/>
              </p:cNvSpPr>
              <p:nvPr/>
            </p:nvSpPr>
            <p:spPr bwMode="auto">
              <a:xfrm>
                <a:off x="524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6" name="Freeform 1846"/>
              <p:cNvSpPr>
                <a:spLocks/>
              </p:cNvSpPr>
              <p:nvPr/>
            </p:nvSpPr>
            <p:spPr bwMode="auto">
              <a:xfrm>
                <a:off x="548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7" name="Freeform 1847"/>
              <p:cNvSpPr>
                <a:spLocks/>
              </p:cNvSpPr>
              <p:nvPr/>
            </p:nvSpPr>
            <p:spPr bwMode="auto">
              <a:xfrm>
                <a:off x="557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8" name="Freeform 1848"/>
              <p:cNvSpPr>
                <a:spLocks/>
              </p:cNvSpPr>
              <p:nvPr/>
            </p:nvSpPr>
            <p:spPr bwMode="auto">
              <a:xfrm>
                <a:off x="5338"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9" name="Freeform 1849"/>
              <p:cNvSpPr>
                <a:spLocks/>
              </p:cNvSpPr>
              <p:nvPr/>
            </p:nvSpPr>
            <p:spPr bwMode="auto">
              <a:xfrm>
                <a:off x="5338"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0" name="Freeform 1850"/>
              <p:cNvSpPr>
                <a:spLocks/>
              </p:cNvSpPr>
              <p:nvPr/>
            </p:nvSpPr>
            <p:spPr bwMode="auto">
              <a:xfrm>
                <a:off x="5398"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1" name="Freeform 1851"/>
              <p:cNvSpPr>
                <a:spLocks/>
              </p:cNvSpPr>
              <p:nvPr/>
            </p:nvSpPr>
            <p:spPr bwMode="auto">
              <a:xfrm>
                <a:off x="5398"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2" name="Freeform 1852"/>
              <p:cNvSpPr>
                <a:spLocks noEditPoints="1"/>
              </p:cNvSpPr>
              <p:nvPr/>
            </p:nvSpPr>
            <p:spPr bwMode="auto">
              <a:xfrm>
                <a:off x="4194"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3" name="Freeform 1853"/>
              <p:cNvSpPr>
                <a:spLocks noEditPoints="1"/>
              </p:cNvSpPr>
              <p:nvPr/>
            </p:nvSpPr>
            <p:spPr bwMode="auto">
              <a:xfrm>
                <a:off x="4332" y="7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4" name="Freeform 1854"/>
              <p:cNvSpPr>
                <a:spLocks noEditPoints="1"/>
              </p:cNvSpPr>
              <p:nvPr/>
            </p:nvSpPr>
            <p:spPr bwMode="auto">
              <a:xfrm>
                <a:off x="4744" y="776"/>
                <a:ext cx="98" cy="150"/>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5" name="Freeform 1855"/>
              <p:cNvSpPr>
                <a:spLocks/>
              </p:cNvSpPr>
              <p:nvPr/>
            </p:nvSpPr>
            <p:spPr bwMode="auto">
              <a:xfrm>
                <a:off x="488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6" name="Freeform 1856"/>
              <p:cNvSpPr>
                <a:spLocks/>
              </p:cNvSpPr>
              <p:nvPr/>
            </p:nvSpPr>
            <p:spPr bwMode="auto">
              <a:xfrm>
                <a:off x="447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7" name="Freeform 1857"/>
              <p:cNvSpPr>
                <a:spLocks/>
              </p:cNvSpPr>
              <p:nvPr/>
            </p:nvSpPr>
            <p:spPr bwMode="auto">
              <a:xfrm>
                <a:off x="4562"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8" name="Freeform 1858"/>
              <p:cNvSpPr>
                <a:spLocks/>
              </p:cNvSpPr>
              <p:nvPr/>
            </p:nvSpPr>
            <p:spPr bwMode="auto">
              <a:xfrm>
                <a:off x="4654"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9" name="Freeform 1859"/>
              <p:cNvSpPr>
                <a:spLocks noEditPoints="1"/>
              </p:cNvSpPr>
              <p:nvPr/>
            </p:nvSpPr>
            <p:spPr bwMode="auto">
              <a:xfrm>
                <a:off x="3806" y="7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0" name="Freeform 1860"/>
              <p:cNvSpPr>
                <a:spLocks/>
              </p:cNvSpPr>
              <p:nvPr/>
            </p:nvSpPr>
            <p:spPr bwMode="auto">
              <a:xfrm>
                <a:off x="392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1" name="Freeform 1861"/>
              <p:cNvSpPr>
                <a:spLocks/>
              </p:cNvSpPr>
              <p:nvPr/>
            </p:nvSpPr>
            <p:spPr bwMode="auto">
              <a:xfrm>
                <a:off x="401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2" name="Freeform 1862"/>
              <p:cNvSpPr>
                <a:spLocks/>
              </p:cNvSpPr>
              <p:nvPr/>
            </p:nvSpPr>
            <p:spPr bwMode="auto">
              <a:xfrm>
                <a:off x="4104"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3" name="Freeform 1863"/>
              <p:cNvSpPr>
                <a:spLocks/>
              </p:cNvSpPr>
              <p:nvPr/>
            </p:nvSpPr>
            <p:spPr bwMode="auto">
              <a:xfrm>
                <a:off x="3826" y="136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4" name="Freeform 1864"/>
              <p:cNvSpPr>
                <a:spLocks/>
              </p:cNvSpPr>
              <p:nvPr/>
            </p:nvSpPr>
            <p:spPr bwMode="auto">
              <a:xfrm>
                <a:off x="382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5" name="Freeform 1865"/>
              <p:cNvSpPr>
                <a:spLocks noEditPoints="1"/>
              </p:cNvSpPr>
              <p:nvPr/>
            </p:nvSpPr>
            <p:spPr bwMode="auto">
              <a:xfrm>
                <a:off x="5682" y="598"/>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6" name="Freeform 1866"/>
              <p:cNvSpPr>
                <a:spLocks/>
              </p:cNvSpPr>
              <p:nvPr/>
            </p:nvSpPr>
            <p:spPr bwMode="auto">
              <a:xfrm>
                <a:off x="5820"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7" name="Freeform 1867"/>
              <p:cNvSpPr>
                <a:spLocks/>
              </p:cNvSpPr>
              <p:nvPr/>
            </p:nvSpPr>
            <p:spPr bwMode="auto">
              <a:xfrm>
                <a:off x="591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8" name="Freeform 1868"/>
              <p:cNvSpPr>
                <a:spLocks/>
              </p:cNvSpPr>
              <p:nvPr/>
            </p:nvSpPr>
            <p:spPr bwMode="auto">
              <a:xfrm>
                <a:off x="600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9" name="Freeform 1869"/>
              <p:cNvSpPr>
                <a:spLocks/>
              </p:cNvSpPr>
              <p:nvPr/>
            </p:nvSpPr>
            <p:spPr bwMode="auto">
              <a:xfrm>
                <a:off x="609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0" name="Freeform 1870"/>
              <p:cNvSpPr>
                <a:spLocks/>
              </p:cNvSpPr>
              <p:nvPr/>
            </p:nvSpPr>
            <p:spPr bwMode="auto">
              <a:xfrm>
                <a:off x="6340"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1" name="Freeform 1871"/>
              <p:cNvSpPr>
                <a:spLocks/>
              </p:cNvSpPr>
              <p:nvPr/>
            </p:nvSpPr>
            <p:spPr bwMode="auto">
              <a:xfrm>
                <a:off x="6432"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2" name="Freeform 1872"/>
              <p:cNvSpPr>
                <a:spLocks/>
              </p:cNvSpPr>
              <p:nvPr/>
            </p:nvSpPr>
            <p:spPr bwMode="auto">
              <a:xfrm>
                <a:off x="6526"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3" name="Freeform 1873"/>
              <p:cNvSpPr>
                <a:spLocks/>
              </p:cNvSpPr>
              <p:nvPr/>
            </p:nvSpPr>
            <p:spPr bwMode="auto">
              <a:xfrm>
                <a:off x="6620"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4" name="Freeform 1874"/>
              <p:cNvSpPr>
                <a:spLocks/>
              </p:cNvSpPr>
              <p:nvPr/>
            </p:nvSpPr>
            <p:spPr bwMode="auto">
              <a:xfrm>
                <a:off x="6192"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5" name="Freeform 1875"/>
              <p:cNvSpPr>
                <a:spLocks/>
              </p:cNvSpPr>
              <p:nvPr/>
            </p:nvSpPr>
            <p:spPr bwMode="auto">
              <a:xfrm>
                <a:off x="6192"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6" name="Freeform 1876"/>
              <p:cNvSpPr>
                <a:spLocks/>
              </p:cNvSpPr>
              <p:nvPr/>
            </p:nvSpPr>
            <p:spPr bwMode="auto">
              <a:xfrm>
                <a:off x="6252"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7" name="Freeform 1877"/>
              <p:cNvSpPr>
                <a:spLocks/>
              </p:cNvSpPr>
              <p:nvPr/>
            </p:nvSpPr>
            <p:spPr bwMode="auto">
              <a:xfrm>
                <a:off x="6252"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8" name="Freeform 1878"/>
              <p:cNvSpPr>
                <a:spLocks/>
              </p:cNvSpPr>
              <p:nvPr/>
            </p:nvSpPr>
            <p:spPr bwMode="auto">
              <a:xfrm>
                <a:off x="6940"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9" name="Freeform 1879"/>
              <p:cNvSpPr>
                <a:spLocks/>
              </p:cNvSpPr>
              <p:nvPr/>
            </p:nvSpPr>
            <p:spPr bwMode="auto">
              <a:xfrm>
                <a:off x="6940"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0" name="Freeform 1880"/>
              <p:cNvSpPr>
                <a:spLocks/>
              </p:cNvSpPr>
              <p:nvPr/>
            </p:nvSpPr>
            <p:spPr bwMode="auto">
              <a:xfrm>
                <a:off x="7000"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1" name="Freeform 1881"/>
              <p:cNvSpPr>
                <a:spLocks/>
              </p:cNvSpPr>
              <p:nvPr/>
            </p:nvSpPr>
            <p:spPr bwMode="auto">
              <a:xfrm>
                <a:off x="7000"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2" name="Freeform 1882"/>
              <p:cNvSpPr>
                <a:spLocks/>
              </p:cNvSpPr>
              <p:nvPr/>
            </p:nvSpPr>
            <p:spPr bwMode="auto">
              <a:xfrm>
                <a:off x="7088"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3" name="Freeform 1883"/>
              <p:cNvSpPr>
                <a:spLocks/>
              </p:cNvSpPr>
              <p:nvPr/>
            </p:nvSpPr>
            <p:spPr bwMode="auto">
              <a:xfrm>
                <a:off x="718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4" name="Freeform 1884"/>
              <p:cNvSpPr>
                <a:spLocks/>
              </p:cNvSpPr>
              <p:nvPr/>
            </p:nvSpPr>
            <p:spPr bwMode="auto">
              <a:xfrm>
                <a:off x="7274"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5" name="Freeform 1885"/>
              <p:cNvSpPr>
                <a:spLocks/>
              </p:cNvSpPr>
              <p:nvPr/>
            </p:nvSpPr>
            <p:spPr bwMode="auto">
              <a:xfrm>
                <a:off x="751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6" name="Freeform 1886"/>
              <p:cNvSpPr>
                <a:spLocks/>
              </p:cNvSpPr>
              <p:nvPr/>
            </p:nvSpPr>
            <p:spPr bwMode="auto">
              <a:xfrm>
                <a:off x="7366" y="602"/>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7" name="Freeform 1887"/>
              <p:cNvSpPr>
                <a:spLocks/>
              </p:cNvSpPr>
              <p:nvPr/>
            </p:nvSpPr>
            <p:spPr bwMode="auto">
              <a:xfrm>
                <a:off x="7366" y="602"/>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8" name="Freeform 1888"/>
              <p:cNvSpPr>
                <a:spLocks/>
              </p:cNvSpPr>
              <p:nvPr/>
            </p:nvSpPr>
            <p:spPr bwMode="auto">
              <a:xfrm>
                <a:off x="7426" y="602"/>
                <a:ext cx="48" cy="146"/>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9" name="Freeform 1889"/>
              <p:cNvSpPr>
                <a:spLocks/>
              </p:cNvSpPr>
              <p:nvPr/>
            </p:nvSpPr>
            <p:spPr bwMode="auto">
              <a:xfrm>
                <a:off x="7426" y="602"/>
                <a:ext cx="48" cy="146"/>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0" name="Freeform 1890"/>
              <p:cNvSpPr>
                <a:spLocks noEditPoints="1"/>
              </p:cNvSpPr>
              <p:nvPr/>
            </p:nvSpPr>
            <p:spPr bwMode="auto">
              <a:xfrm>
                <a:off x="5672" y="412"/>
                <a:ext cx="188" cy="146"/>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1" name="Freeform 1891"/>
              <p:cNvSpPr>
                <a:spLocks/>
              </p:cNvSpPr>
              <p:nvPr/>
            </p:nvSpPr>
            <p:spPr bwMode="auto">
              <a:xfrm>
                <a:off x="5776" y="516"/>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2" name="Freeform 1892"/>
              <p:cNvSpPr>
                <a:spLocks/>
              </p:cNvSpPr>
              <p:nvPr/>
            </p:nvSpPr>
            <p:spPr bwMode="auto">
              <a:xfrm>
                <a:off x="5678" y="512"/>
                <a:ext cx="18" cy="22"/>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3" name="Freeform 1893"/>
              <p:cNvSpPr>
                <a:spLocks/>
              </p:cNvSpPr>
              <p:nvPr/>
            </p:nvSpPr>
            <p:spPr bwMode="auto">
              <a:xfrm>
                <a:off x="5674" y="462"/>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4" name="Freeform 1894"/>
              <p:cNvSpPr>
                <a:spLocks/>
              </p:cNvSpPr>
              <p:nvPr/>
            </p:nvSpPr>
            <p:spPr bwMode="auto">
              <a:xfrm>
                <a:off x="5688" y="416"/>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5" name="Freeform 1895"/>
              <p:cNvSpPr>
                <a:spLocks/>
              </p:cNvSpPr>
              <p:nvPr/>
            </p:nvSpPr>
            <p:spPr bwMode="auto">
              <a:xfrm>
                <a:off x="5672" y="412"/>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6" name="Freeform 1896"/>
              <p:cNvSpPr>
                <a:spLocks/>
              </p:cNvSpPr>
              <p:nvPr/>
            </p:nvSpPr>
            <p:spPr bwMode="auto">
              <a:xfrm>
                <a:off x="5678"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7" name="Freeform 1897"/>
              <p:cNvSpPr>
                <a:spLocks/>
              </p:cNvSpPr>
              <p:nvPr/>
            </p:nvSpPr>
            <p:spPr bwMode="auto">
              <a:xfrm>
                <a:off x="5678"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8" name="Freeform 1898"/>
              <p:cNvSpPr>
                <a:spLocks/>
              </p:cNvSpPr>
              <p:nvPr/>
            </p:nvSpPr>
            <p:spPr bwMode="auto">
              <a:xfrm>
                <a:off x="5678"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9" name="Freeform 1899"/>
              <p:cNvSpPr>
                <a:spLocks/>
              </p:cNvSpPr>
              <p:nvPr/>
            </p:nvSpPr>
            <p:spPr bwMode="auto">
              <a:xfrm>
                <a:off x="5678"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0" name="Freeform 1900"/>
              <p:cNvSpPr>
                <a:spLocks/>
              </p:cNvSpPr>
              <p:nvPr/>
            </p:nvSpPr>
            <p:spPr bwMode="auto">
              <a:xfrm>
                <a:off x="5776" y="516"/>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1" name="Freeform 1901"/>
              <p:cNvSpPr>
                <a:spLocks/>
              </p:cNvSpPr>
              <p:nvPr/>
            </p:nvSpPr>
            <p:spPr bwMode="auto">
              <a:xfrm>
                <a:off x="5776" y="516"/>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2" name="Freeform 1902"/>
              <p:cNvSpPr>
                <a:spLocks/>
              </p:cNvSpPr>
              <p:nvPr/>
            </p:nvSpPr>
            <p:spPr bwMode="auto">
              <a:xfrm>
                <a:off x="5776" y="516"/>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3" name="Freeform 1903"/>
              <p:cNvSpPr>
                <a:spLocks/>
              </p:cNvSpPr>
              <p:nvPr/>
            </p:nvSpPr>
            <p:spPr bwMode="auto">
              <a:xfrm>
                <a:off x="5776" y="516"/>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4" name="Freeform 1904"/>
              <p:cNvSpPr>
                <a:spLocks/>
              </p:cNvSpPr>
              <p:nvPr/>
            </p:nvSpPr>
            <p:spPr bwMode="auto">
              <a:xfrm>
                <a:off x="5674"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5" name="Freeform 1905"/>
              <p:cNvSpPr>
                <a:spLocks/>
              </p:cNvSpPr>
              <p:nvPr/>
            </p:nvSpPr>
            <p:spPr bwMode="auto">
              <a:xfrm>
                <a:off x="5674"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6" name="Freeform 1906"/>
              <p:cNvSpPr>
                <a:spLocks noEditPoints="1"/>
              </p:cNvSpPr>
              <p:nvPr/>
            </p:nvSpPr>
            <p:spPr bwMode="auto">
              <a:xfrm>
                <a:off x="5674" y="462"/>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7" name="Freeform 1907"/>
              <p:cNvSpPr>
                <a:spLocks/>
              </p:cNvSpPr>
              <p:nvPr/>
            </p:nvSpPr>
            <p:spPr bwMode="auto">
              <a:xfrm>
                <a:off x="5684"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8" name="Freeform 1908"/>
              <p:cNvSpPr>
                <a:spLocks/>
              </p:cNvSpPr>
              <p:nvPr/>
            </p:nvSpPr>
            <p:spPr bwMode="auto">
              <a:xfrm>
                <a:off x="5674" y="462"/>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9" name="Freeform 1909"/>
              <p:cNvSpPr>
                <a:spLocks noEditPoints="1"/>
              </p:cNvSpPr>
              <p:nvPr/>
            </p:nvSpPr>
            <p:spPr bwMode="auto">
              <a:xfrm>
                <a:off x="5788" y="450"/>
                <a:ext cx="20" cy="14"/>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0" name="Freeform 1910"/>
              <p:cNvSpPr>
                <a:spLocks/>
              </p:cNvSpPr>
              <p:nvPr/>
            </p:nvSpPr>
            <p:spPr bwMode="auto">
              <a:xfrm>
                <a:off x="5794" y="458"/>
                <a:ext cx="6" cy="4"/>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1" name="Freeform 1911"/>
              <p:cNvSpPr>
                <a:spLocks/>
              </p:cNvSpPr>
              <p:nvPr/>
            </p:nvSpPr>
            <p:spPr bwMode="auto">
              <a:xfrm>
                <a:off x="5788" y="450"/>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2" name="Freeform 1912"/>
              <p:cNvSpPr>
                <a:spLocks/>
              </p:cNvSpPr>
              <p:nvPr/>
            </p:nvSpPr>
            <p:spPr bwMode="auto">
              <a:xfrm>
                <a:off x="5742"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3" name="Freeform 1913"/>
              <p:cNvSpPr>
                <a:spLocks/>
              </p:cNvSpPr>
              <p:nvPr/>
            </p:nvSpPr>
            <p:spPr bwMode="auto">
              <a:xfrm>
                <a:off x="5742"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4" name="Freeform 1914"/>
              <p:cNvSpPr>
                <a:spLocks/>
              </p:cNvSpPr>
              <p:nvPr/>
            </p:nvSpPr>
            <p:spPr bwMode="auto">
              <a:xfrm>
                <a:off x="5838"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5" name="Freeform 1915"/>
              <p:cNvSpPr>
                <a:spLocks/>
              </p:cNvSpPr>
              <p:nvPr/>
            </p:nvSpPr>
            <p:spPr bwMode="auto">
              <a:xfrm>
                <a:off x="5838"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6" name="Freeform 1916"/>
              <p:cNvSpPr>
                <a:spLocks/>
              </p:cNvSpPr>
              <p:nvPr/>
            </p:nvSpPr>
            <p:spPr bwMode="auto">
              <a:xfrm>
                <a:off x="5784"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7" name="Freeform 1917"/>
              <p:cNvSpPr>
                <a:spLocks/>
              </p:cNvSpPr>
              <p:nvPr/>
            </p:nvSpPr>
            <p:spPr bwMode="auto">
              <a:xfrm>
                <a:off x="5784"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8" name="Freeform 1918"/>
              <p:cNvSpPr>
                <a:spLocks/>
              </p:cNvSpPr>
              <p:nvPr/>
            </p:nvSpPr>
            <p:spPr bwMode="auto">
              <a:xfrm>
                <a:off x="5798"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9" name="Freeform 1919"/>
              <p:cNvSpPr>
                <a:spLocks/>
              </p:cNvSpPr>
              <p:nvPr/>
            </p:nvSpPr>
            <p:spPr bwMode="auto">
              <a:xfrm>
                <a:off x="5798"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0" name="Freeform 1920"/>
              <p:cNvSpPr>
                <a:spLocks/>
              </p:cNvSpPr>
              <p:nvPr/>
            </p:nvSpPr>
            <p:spPr bwMode="auto">
              <a:xfrm>
                <a:off x="5794"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1" name="Freeform 1921"/>
              <p:cNvSpPr>
                <a:spLocks/>
              </p:cNvSpPr>
              <p:nvPr/>
            </p:nvSpPr>
            <p:spPr bwMode="auto">
              <a:xfrm>
                <a:off x="5794"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2" name="Freeform 1922"/>
              <p:cNvSpPr>
                <a:spLocks/>
              </p:cNvSpPr>
              <p:nvPr/>
            </p:nvSpPr>
            <p:spPr bwMode="auto">
              <a:xfrm>
                <a:off x="5796" y="458"/>
                <a:ext cx="4" cy="4"/>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3" name="Freeform 1923"/>
              <p:cNvSpPr>
                <a:spLocks/>
              </p:cNvSpPr>
              <p:nvPr/>
            </p:nvSpPr>
            <p:spPr bwMode="auto">
              <a:xfrm>
                <a:off x="5796" y="458"/>
                <a:ext cx="4" cy="4"/>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4" name="Freeform 1924"/>
              <p:cNvSpPr>
                <a:spLocks noEditPoints="1"/>
              </p:cNvSpPr>
              <p:nvPr/>
            </p:nvSpPr>
            <p:spPr bwMode="auto">
              <a:xfrm>
                <a:off x="6712" y="600"/>
                <a:ext cx="186" cy="146"/>
              </a:xfrm>
              <a:custGeom>
                <a:avLst/>
                <a:gdLst>
                  <a:gd name="T0" fmla="*/ 116 w 186"/>
                  <a:gd name="T1" fmla="*/ 104 h 146"/>
                  <a:gd name="T2" fmla="*/ 112 w 186"/>
                  <a:gd name="T3" fmla="*/ 130 h 146"/>
                  <a:gd name="T4" fmla="*/ 18 w 186"/>
                  <a:gd name="T5" fmla="*/ 122 h 146"/>
                  <a:gd name="T6" fmla="*/ 6 w 186"/>
                  <a:gd name="T7" fmla="*/ 106 h 146"/>
                  <a:gd name="T8" fmla="*/ 22 w 186"/>
                  <a:gd name="T9" fmla="*/ 118 h 146"/>
                  <a:gd name="T10" fmla="*/ 8 w 186"/>
                  <a:gd name="T11" fmla="*/ 50 h 146"/>
                  <a:gd name="T12" fmla="*/ 8 w 186"/>
                  <a:gd name="T13" fmla="*/ 50 h 146"/>
                  <a:gd name="T14" fmla="*/ 10 w 186"/>
                  <a:gd name="T15" fmla="*/ 66 h 146"/>
                  <a:gd name="T16" fmla="*/ 10 w 186"/>
                  <a:gd name="T17" fmla="*/ 70 h 146"/>
                  <a:gd name="T18" fmla="*/ 0 w 186"/>
                  <a:gd name="T19" fmla="*/ 58 h 146"/>
                  <a:gd name="T20" fmla="*/ 84 w 186"/>
                  <a:gd name="T21" fmla="*/ 16 h 146"/>
                  <a:gd name="T22" fmla="*/ 128 w 186"/>
                  <a:gd name="T23" fmla="*/ 8 h 146"/>
                  <a:gd name="T24" fmla="*/ 158 w 186"/>
                  <a:gd name="T25" fmla="*/ 32 h 146"/>
                  <a:gd name="T26" fmla="*/ 158 w 186"/>
                  <a:gd name="T27" fmla="*/ 44 h 146"/>
                  <a:gd name="T28" fmla="*/ 152 w 186"/>
                  <a:gd name="T29" fmla="*/ 44 h 146"/>
                  <a:gd name="T30" fmla="*/ 158 w 186"/>
                  <a:gd name="T31" fmla="*/ 46 h 146"/>
                  <a:gd name="T32" fmla="*/ 160 w 186"/>
                  <a:gd name="T33" fmla="*/ 42 h 146"/>
                  <a:gd name="T34" fmla="*/ 176 w 186"/>
                  <a:gd name="T35" fmla="*/ 28 h 146"/>
                  <a:gd name="T36" fmla="*/ 182 w 186"/>
                  <a:gd name="T37" fmla="*/ 70 h 146"/>
                  <a:gd name="T38" fmla="*/ 140 w 186"/>
                  <a:gd name="T39" fmla="*/ 86 h 146"/>
                  <a:gd name="T40" fmla="*/ 134 w 186"/>
                  <a:gd name="T41" fmla="*/ 100 h 146"/>
                  <a:gd name="T42" fmla="*/ 144 w 186"/>
                  <a:gd name="T43" fmla="*/ 90 h 146"/>
                  <a:gd name="T44" fmla="*/ 128 w 186"/>
                  <a:gd name="T45" fmla="*/ 102 h 146"/>
                  <a:gd name="T46" fmla="*/ 114 w 186"/>
                  <a:gd name="T47" fmla="*/ 96 h 146"/>
                  <a:gd name="T48" fmla="*/ 86 w 186"/>
                  <a:gd name="T49" fmla="*/ 140 h 146"/>
                  <a:gd name="T50" fmla="*/ 68 w 186"/>
                  <a:gd name="T51" fmla="*/ 128 h 146"/>
                  <a:gd name="T52" fmla="*/ 76 w 186"/>
                  <a:gd name="T53" fmla="*/ 114 h 146"/>
                  <a:gd name="T54" fmla="*/ 56 w 186"/>
                  <a:gd name="T55" fmla="*/ 116 h 146"/>
                  <a:gd name="T56" fmla="*/ 52 w 186"/>
                  <a:gd name="T57" fmla="*/ 122 h 146"/>
                  <a:gd name="T58" fmla="*/ 44 w 186"/>
                  <a:gd name="T59" fmla="*/ 140 h 146"/>
                  <a:gd name="T60" fmla="*/ 26 w 186"/>
                  <a:gd name="T61" fmla="*/ 122 h 146"/>
                  <a:gd name="T62" fmla="*/ 14 w 186"/>
                  <a:gd name="T63" fmla="*/ 78 h 146"/>
                  <a:gd name="T64" fmla="*/ 56 w 186"/>
                  <a:gd name="T65" fmla="*/ 34 h 146"/>
                  <a:gd name="T66" fmla="*/ 40 w 186"/>
                  <a:gd name="T67" fmla="*/ 64 h 146"/>
                  <a:gd name="T68" fmla="*/ 48 w 186"/>
                  <a:gd name="T69" fmla="*/ 90 h 146"/>
                  <a:gd name="T70" fmla="*/ 72 w 186"/>
                  <a:gd name="T71" fmla="*/ 96 h 146"/>
                  <a:gd name="T72" fmla="*/ 94 w 186"/>
                  <a:gd name="T73" fmla="*/ 58 h 146"/>
                  <a:gd name="T74" fmla="*/ 90 w 186"/>
                  <a:gd name="T75" fmla="*/ 84 h 146"/>
                  <a:gd name="T76" fmla="*/ 56 w 186"/>
                  <a:gd name="T77" fmla="*/ 94 h 146"/>
                  <a:gd name="T78" fmla="*/ 58 w 186"/>
                  <a:gd name="T79" fmla="*/ 70 h 146"/>
                  <a:gd name="T80" fmla="*/ 46 w 186"/>
                  <a:gd name="T81" fmla="*/ 56 h 146"/>
                  <a:gd name="T82" fmla="*/ 86 w 186"/>
                  <a:gd name="T83" fmla="*/ 22 h 146"/>
                  <a:gd name="T84" fmla="*/ 90 w 186"/>
                  <a:gd name="T85" fmla="*/ 8 h 146"/>
                  <a:gd name="T86" fmla="*/ 70 w 186"/>
                  <a:gd name="T87" fmla="*/ 24 h 146"/>
                  <a:gd name="T88" fmla="*/ 18 w 186"/>
                  <a:gd name="T89" fmla="*/ 56 h 146"/>
                  <a:gd name="T90" fmla="*/ 14 w 186"/>
                  <a:gd name="T91" fmla="*/ 56 h 146"/>
                  <a:gd name="T92" fmla="*/ 0 w 186"/>
                  <a:gd name="T93" fmla="*/ 58 h 146"/>
                  <a:gd name="T94" fmla="*/ 12 w 186"/>
                  <a:gd name="T95" fmla="*/ 84 h 146"/>
                  <a:gd name="T96" fmla="*/ 2 w 186"/>
                  <a:gd name="T97" fmla="*/ 112 h 146"/>
                  <a:gd name="T98" fmla="*/ 20 w 186"/>
                  <a:gd name="T99" fmla="*/ 132 h 146"/>
                  <a:gd name="T100" fmla="*/ 44 w 186"/>
                  <a:gd name="T101" fmla="*/ 144 h 146"/>
                  <a:gd name="T102" fmla="*/ 56 w 186"/>
                  <a:gd name="T103" fmla="*/ 120 h 146"/>
                  <a:gd name="T104" fmla="*/ 74 w 186"/>
                  <a:gd name="T105" fmla="*/ 144 h 146"/>
                  <a:gd name="T106" fmla="*/ 96 w 186"/>
                  <a:gd name="T107" fmla="*/ 134 h 146"/>
                  <a:gd name="T108" fmla="*/ 122 w 186"/>
                  <a:gd name="T109" fmla="*/ 124 h 146"/>
                  <a:gd name="T110" fmla="*/ 118 w 186"/>
                  <a:gd name="T111" fmla="*/ 96 h 146"/>
                  <a:gd name="T112" fmla="*/ 142 w 186"/>
                  <a:gd name="T113" fmla="*/ 100 h 146"/>
                  <a:gd name="T114" fmla="*/ 158 w 186"/>
                  <a:gd name="T115" fmla="*/ 92 h 146"/>
                  <a:gd name="T116" fmla="*/ 186 w 186"/>
                  <a:gd name="T117" fmla="*/ 46 h 146"/>
                  <a:gd name="T118" fmla="*/ 172 w 186"/>
                  <a:gd name="T119" fmla="*/ 24 h 146"/>
                  <a:gd name="T120" fmla="*/ 160 w 186"/>
                  <a:gd name="T121" fmla="*/ 30 h 146"/>
                  <a:gd name="T122" fmla="*/ 112 w 186"/>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8"/>
                    </a:lnTo>
                    <a:lnTo>
                      <a:pt x="120" y="128"/>
                    </a:lnTo>
                    <a:lnTo>
                      <a:pt x="118" y="130"/>
                    </a:lnTo>
                    <a:lnTo>
                      <a:pt x="118" y="130"/>
                    </a:lnTo>
                    <a:lnTo>
                      <a:pt x="112" y="130"/>
                    </a:lnTo>
                    <a:lnTo>
                      <a:pt x="112" y="130"/>
                    </a:lnTo>
                    <a:lnTo>
                      <a:pt x="112" y="130"/>
                    </a:lnTo>
                    <a:lnTo>
                      <a:pt x="112" y="130"/>
                    </a:lnTo>
                    <a:lnTo>
                      <a:pt x="110" y="130"/>
                    </a:lnTo>
                    <a:lnTo>
                      <a:pt x="110" y="130"/>
                    </a:lnTo>
                    <a:lnTo>
                      <a:pt x="102" y="130"/>
                    </a:lnTo>
                    <a:lnTo>
                      <a:pt x="102" y="130"/>
                    </a:lnTo>
                    <a:lnTo>
                      <a:pt x="106" y="124"/>
                    </a:lnTo>
                    <a:close/>
                    <a:moveTo>
                      <a:pt x="18" y="122"/>
                    </a:moveTo>
                    <a:lnTo>
                      <a:pt x="18" y="122"/>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0"/>
                    </a:lnTo>
                    <a:lnTo>
                      <a:pt x="20" y="122"/>
                    </a:lnTo>
                    <a:lnTo>
                      <a:pt x="20" y="122"/>
                    </a:lnTo>
                    <a:lnTo>
                      <a:pt x="20" y="122"/>
                    </a:lnTo>
                    <a:lnTo>
                      <a:pt x="20"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4" y="62"/>
                    </a:lnTo>
                    <a:lnTo>
                      <a:pt x="4" y="62"/>
                    </a:lnTo>
                    <a:lnTo>
                      <a:pt x="6" y="66"/>
                    </a:lnTo>
                    <a:lnTo>
                      <a:pt x="6" y="66"/>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70"/>
                    </a:lnTo>
                    <a:lnTo>
                      <a:pt x="10" y="70"/>
                    </a:lnTo>
                    <a:lnTo>
                      <a:pt x="8" y="70"/>
                    </a:lnTo>
                    <a:lnTo>
                      <a:pt x="8" y="70"/>
                    </a:lnTo>
                    <a:lnTo>
                      <a:pt x="6" y="70"/>
                    </a:lnTo>
                    <a:lnTo>
                      <a:pt x="6" y="70"/>
                    </a:lnTo>
                    <a:lnTo>
                      <a:pt x="4" y="66"/>
                    </a:lnTo>
                    <a:lnTo>
                      <a:pt x="2" y="62"/>
                    </a:lnTo>
                    <a:lnTo>
                      <a:pt x="0" y="58"/>
                    </a:lnTo>
                    <a:lnTo>
                      <a:pt x="2" y="56"/>
                    </a:lnTo>
                    <a:lnTo>
                      <a:pt x="2" y="56"/>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4"/>
                    </a:lnTo>
                    <a:lnTo>
                      <a:pt x="152" y="26"/>
                    </a:lnTo>
                    <a:lnTo>
                      <a:pt x="158" y="32"/>
                    </a:lnTo>
                    <a:lnTo>
                      <a:pt x="158" y="32"/>
                    </a:lnTo>
                    <a:lnTo>
                      <a:pt x="148" y="34"/>
                    </a:lnTo>
                    <a:lnTo>
                      <a:pt x="148" y="34"/>
                    </a:lnTo>
                    <a:lnTo>
                      <a:pt x="150" y="40"/>
                    </a:lnTo>
                    <a:lnTo>
                      <a:pt x="154" y="42"/>
                    </a:lnTo>
                    <a:lnTo>
                      <a:pt x="154" y="42"/>
                    </a:lnTo>
                    <a:lnTo>
                      <a:pt x="156" y="42"/>
                    </a:lnTo>
                    <a:lnTo>
                      <a:pt x="156" y="42"/>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70"/>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6"/>
                    </a:lnTo>
                    <a:lnTo>
                      <a:pt x="56" y="76"/>
                    </a:lnTo>
                    <a:lnTo>
                      <a:pt x="58" y="70"/>
                    </a:lnTo>
                    <a:lnTo>
                      <a:pt x="58" y="70"/>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8"/>
                    </a:lnTo>
                    <a:lnTo>
                      <a:pt x="2" y="112"/>
                    </a:lnTo>
                    <a:lnTo>
                      <a:pt x="2" y="112"/>
                    </a:lnTo>
                    <a:lnTo>
                      <a:pt x="6" y="118"/>
                    </a:lnTo>
                    <a:lnTo>
                      <a:pt x="8" y="122"/>
                    </a:lnTo>
                    <a:lnTo>
                      <a:pt x="8" y="122"/>
                    </a:lnTo>
                    <a:lnTo>
                      <a:pt x="16"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6"/>
                    </a:lnTo>
                    <a:lnTo>
                      <a:pt x="88" y="142"/>
                    </a:lnTo>
                    <a:lnTo>
                      <a:pt x="88" y="142"/>
                    </a:lnTo>
                    <a:lnTo>
                      <a:pt x="96" y="134"/>
                    </a:lnTo>
                    <a:lnTo>
                      <a:pt x="96" y="134"/>
                    </a:lnTo>
                    <a:lnTo>
                      <a:pt x="100" y="132"/>
                    </a:lnTo>
                    <a:lnTo>
                      <a:pt x="100" y="132"/>
                    </a:lnTo>
                    <a:lnTo>
                      <a:pt x="116" y="134"/>
                    </a:lnTo>
                    <a:lnTo>
                      <a:pt x="116" y="134"/>
                    </a:lnTo>
                    <a:lnTo>
                      <a:pt x="120" y="132"/>
                    </a:lnTo>
                    <a:lnTo>
                      <a:pt x="122" y="132"/>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5" name="Freeform 1925"/>
              <p:cNvSpPr>
                <a:spLocks/>
              </p:cNvSpPr>
              <p:nvPr/>
            </p:nvSpPr>
            <p:spPr bwMode="auto">
              <a:xfrm>
                <a:off x="6814" y="704"/>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8 w 18"/>
                  <a:gd name="T37" fmla="*/ 26 h 26"/>
                  <a:gd name="T38" fmla="*/ 8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6" name="Freeform 1926"/>
              <p:cNvSpPr>
                <a:spLocks/>
              </p:cNvSpPr>
              <p:nvPr/>
            </p:nvSpPr>
            <p:spPr bwMode="auto">
              <a:xfrm>
                <a:off x="6716" y="700"/>
                <a:ext cx="18" cy="22"/>
              </a:xfrm>
              <a:custGeom>
                <a:avLst/>
                <a:gdLst>
                  <a:gd name="T0" fmla="*/ 14 w 18"/>
                  <a:gd name="T1" fmla="*/ 22 h 22"/>
                  <a:gd name="T2" fmla="*/ 14 w 18"/>
                  <a:gd name="T3" fmla="*/ 22 h 22"/>
                  <a:gd name="T4" fmla="*/ 10 w 18"/>
                  <a:gd name="T5" fmla="*/ 22 h 22"/>
                  <a:gd name="T6" fmla="*/ 6 w 18"/>
                  <a:gd name="T7" fmla="*/ 18 h 22"/>
                  <a:gd name="T8" fmla="*/ 2 w 18"/>
                  <a:gd name="T9" fmla="*/ 14 h 22"/>
                  <a:gd name="T10" fmla="*/ 0 w 18"/>
                  <a:gd name="T11" fmla="*/ 10 h 22"/>
                  <a:gd name="T12" fmla="*/ 0 w 18"/>
                  <a:gd name="T13" fmla="*/ 10 h 22"/>
                  <a:gd name="T14" fmla="*/ 2 w 18"/>
                  <a:gd name="T15" fmla="*/ 6 h 22"/>
                  <a:gd name="T16" fmla="*/ 2 w 18"/>
                  <a:gd name="T17" fmla="*/ 6 h 22"/>
                  <a:gd name="T18" fmla="*/ 8 w 18"/>
                  <a:gd name="T19" fmla="*/ 0 h 22"/>
                  <a:gd name="T20" fmla="*/ 8 w 18"/>
                  <a:gd name="T21" fmla="*/ 0 h 22"/>
                  <a:gd name="T22" fmla="*/ 10 w 18"/>
                  <a:gd name="T23" fmla="*/ 0 h 22"/>
                  <a:gd name="T24" fmla="*/ 10 w 18"/>
                  <a:gd name="T25" fmla="*/ 0 h 22"/>
                  <a:gd name="T26" fmla="*/ 10 w 18"/>
                  <a:gd name="T27" fmla="*/ 0 h 22"/>
                  <a:gd name="T28" fmla="*/ 10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6 w 18"/>
                  <a:gd name="T41" fmla="*/ 22 h 22"/>
                  <a:gd name="T42" fmla="*/ 16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7" name="Freeform 1927"/>
              <p:cNvSpPr>
                <a:spLocks/>
              </p:cNvSpPr>
              <p:nvPr/>
            </p:nvSpPr>
            <p:spPr bwMode="auto">
              <a:xfrm>
                <a:off x="6712" y="650"/>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20 h 20"/>
                  <a:gd name="T52" fmla="*/ 10 w 14"/>
                  <a:gd name="T53" fmla="*/ 20 h 20"/>
                  <a:gd name="T54" fmla="*/ 8 w 14"/>
                  <a:gd name="T55" fmla="*/ 20 h 20"/>
                  <a:gd name="T56" fmla="*/ 8 w 14"/>
                  <a:gd name="T57" fmla="*/ 20 h 20"/>
                  <a:gd name="T58" fmla="*/ 6 w 14"/>
                  <a:gd name="T59" fmla="*/ 20 h 20"/>
                  <a:gd name="T60" fmla="*/ 6 w 14"/>
                  <a:gd name="T61" fmla="*/ 20 h 20"/>
                  <a:gd name="T62" fmla="*/ 4 w 14"/>
                  <a:gd name="T63" fmla="*/ 16 h 20"/>
                  <a:gd name="T64" fmla="*/ 2 w 14"/>
                  <a:gd name="T65" fmla="*/ 12 h 20"/>
                  <a:gd name="T66" fmla="*/ 0 w 14"/>
                  <a:gd name="T67" fmla="*/ 8 h 20"/>
                  <a:gd name="T68" fmla="*/ 2 w 14"/>
                  <a:gd name="T69" fmla="*/ 6 h 20"/>
                  <a:gd name="T70" fmla="*/ 2 w 14"/>
                  <a:gd name="T71" fmla="*/ 6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20"/>
                    </a:lnTo>
                    <a:lnTo>
                      <a:pt x="10" y="20"/>
                    </a:lnTo>
                    <a:lnTo>
                      <a:pt x="8" y="20"/>
                    </a:lnTo>
                    <a:lnTo>
                      <a:pt x="8" y="20"/>
                    </a:lnTo>
                    <a:lnTo>
                      <a:pt x="6" y="20"/>
                    </a:lnTo>
                    <a:lnTo>
                      <a:pt x="6" y="20"/>
                    </a:lnTo>
                    <a:lnTo>
                      <a:pt x="4" y="16"/>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8" name="Freeform 1928"/>
              <p:cNvSpPr>
                <a:spLocks/>
              </p:cNvSpPr>
              <p:nvPr/>
            </p:nvSpPr>
            <p:spPr bwMode="auto">
              <a:xfrm>
                <a:off x="6726" y="604"/>
                <a:ext cx="170" cy="138"/>
              </a:xfrm>
              <a:custGeom>
                <a:avLst/>
                <a:gdLst>
                  <a:gd name="T0" fmla="*/ 74 w 170"/>
                  <a:gd name="T1" fmla="*/ 8 h 138"/>
                  <a:gd name="T2" fmla="*/ 100 w 170"/>
                  <a:gd name="T3" fmla="*/ 0 h 138"/>
                  <a:gd name="T4" fmla="*/ 130 w 170"/>
                  <a:gd name="T5" fmla="*/ 16 h 138"/>
                  <a:gd name="T6" fmla="*/ 134 w 170"/>
                  <a:gd name="T7" fmla="*/ 20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0 h 138"/>
                  <a:gd name="T90" fmla="*/ 30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20"/>
                    </a:lnTo>
                    <a:lnTo>
                      <a:pt x="138" y="22"/>
                    </a:lnTo>
                    <a:lnTo>
                      <a:pt x="144" y="28"/>
                    </a:lnTo>
                    <a:lnTo>
                      <a:pt x="144" y="28"/>
                    </a:lnTo>
                    <a:lnTo>
                      <a:pt x="134" y="30"/>
                    </a:lnTo>
                    <a:lnTo>
                      <a:pt x="134" y="30"/>
                    </a:lnTo>
                    <a:lnTo>
                      <a:pt x="136" y="36"/>
                    </a:lnTo>
                    <a:lnTo>
                      <a:pt x="140" y="38"/>
                    </a:lnTo>
                    <a:lnTo>
                      <a:pt x="140" y="38"/>
                    </a:lnTo>
                    <a:lnTo>
                      <a:pt x="142" y="38"/>
                    </a:lnTo>
                    <a:lnTo>
                      <a:pt x="142" y="38"/>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6"/>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2"/>
                    </a:lnTo>
                    <a:lnTo>
                      <a:pt x="42" y="72"/>
                    </a:lnTo>
                    <a:lnTo>
                      <a:pt x="44" y="66"/>
                    </a:lnTo>
                    <a:lnTo>
                      <a:pt x="44" y="66"/>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9" name="Freeform 1929"/>
              <p:cNvSpPr>
                <a:spLocks/>
              </p:cNvSpPr>
              <p:nvPr/>
            </p:nvSpPr>
            <p:spPr bwMode="auto">
              <a:xfrm>
                <a:off x="6712" y="600"/>
                <a:ext cx="186" cy="146"/>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8 h 146"/>
                  <a:gd name="T34" fmla="*/ 6 w 186"/>
                  <a:gd name="T35" fmla="*/ 118 h 146"/>
                  <a:gd name="T36" fmla="*/ 16 w 186"/>
                  <a:gd name="T37" fmla="*/ 124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8"/>
                    </a:lnTo>
                    <a:lnTo>
                      <a:pt x="2" y="112"/>
                    </a:lnTo>
                    <a:lnTo>
                      <a:pt x="2" y="112"/>
                    </a:lnTo>
                    <a:lnTo>
                      <a:pt x="6" y="118"/>
                    </a:lnTo>
                    <a:lnTo>
                      <a:pt x="8" y="122"/>
                    </a:lnTo>
                    <a:lnTo>
                      <a:pt x="8" y="122"/>
                    </a:lnTo>
                    <a:lnTo>
                      <a:pt x="16"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6"/>
                    </a:lnTo>
                    <a:lnTo>
                      <a:pt x="88" y="142"/>
                    </a:lnTo>
                    <a:lnTo>
                      <a:pt x="88" y="142"/>
                    </a:lnTo>
                    <a:lnTo>
                      <a:pt x="96" y="134"/>
                    </a:lnTo>
                    <a:lnTo>
                      <a:pt x="96" y="134"/>
                    </a:lnTo>
                    <a:lnTo>
                      <a:pt x="100" y="132"/>
                    </a:lnTo>
                    <a:lnTo>
                      <a:pt x="100" y="132"/>
                    </a:lnTo>
                    <a:lnTo>
                      <a:pt x="116" y="134"/>
                    </a:lnTo>
                    <a:lnTo>
                      <a:pt x="116" y="134"/>
                    </a:lnTo>
                    <a:lnTo>
                      <a:pt x="120" y="132"/>
                    </a:lnTo>
                    <a:lnTo>
                      <a:pt x="122" y="132"/>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0" name="Freeform 1930"/>
              <p:cNvSpPr>
                <a:spLocks/>
              </p:cNvSpPr>
              <p:nvPr/>
            </p:nvSpPr>
            <p:spPr bwMode="auto">
              <a:xfrm>
                <a:off x="6716" y="700"/>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2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8 h 22"/>
                  <a:gd name="T34" fmla="*/ 18 w 18"/>
                  <a:gd name="T35" fmla="*/ 18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8" y="20"/>
                    </a:lnTo>
                    <a:lnTo>
                      <a:pt x="18" y="18"/>
                    </a:lnTo>
                    <a:lnTo>
                      <a:pt x="18" y="1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1" name="Freeform 1931"/>
              <p:cNvSpPr>
                <a:spLocks/>
              </p:cNvSpPr>
              <p:nvPr/>
            </p:nvSpPr>
            <p:spPr bwMode="auto">
              <a:xfrm>
                <a:off x="6716" y="700"/>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2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8 h 22"/>
                  <a:gd name="T34" fmla="*/ 18 w 18"/>
                  <a:gd name="T35" fmla="*/ 18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8" y="20"/>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2" name="Freeform 1932"/>
              <p:cNvSpPr>
                <a:spLocks/>
              </p:cNvSpPr>
              <p:nvPr/>
            </p:nvSpPr>
            <p:spPr bwMode="auto">
              <a:xfrm>
                <a:off x="6716" y="700"/>
                <a:ext cx="16" cy="22"/>
              </a:xfrm>
              <a:custGeom>
                <a:avLst/>
                <a:gdLst>
                  <a:gd name="T0" fmla="*/ 8 w 16"/>
                  <a:gd name="T1" fmla="*/ 0 h 22"/>
                  <a:gd name="T2" fmla="*/ 8 w 16"/>
                  <a:gd name="T3" fmla="*/ 0 h 22"/>
                  <a:gd name="T4" fmla="*/ 2 w 16"/>
                  <a:gd name="T5" fmla="*/ 6 h 22"/>
                  <a:gd name="T6" fmla="*/ 2 w 16"/>
                  <a:gd name="T7" fmla="*/ 6 h 22"/>
                  <a:gd name="T8" fmla="*/ 0 w 16"/>
                  <a:gd name="T9" fmla="*/ 10 h 22"/>
                  <a:gd name="T10" fmla="*/ 0 w 16"/>
                  <a:gd name="T11" fmla="*/ 10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10 w 16"/>
                  <a:gd name="T53" fmla="*/ 0 h 22"/>
                  <a:gd name="T54" fmla="*/ 10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3" name="Freeform 1933"/>
              <p:cNvSpPr>
                <a:spLocks/>
              </p:cNvSpPr>
              <p:nvPr/>
            </p:nvSpPr>
            <p:spPr bwMode="auto">
              <a:xfrm>
                <a:off x="6716" y="700"/>
                <a:ext cx="16" cy="22"/>
              </a:xfrm>
              <a:custGeom>
                <a:avLst/>
                <a:gdLst>
                  <a:gd name="T0" fmla="*/ 8 w 16"/>
                  <a:gd name="T1" fmla="*/ 0 h 22"/>
                  <a:gd name="T2" fmla="*/ 8 w 16"/>
                  <a:gd name="T3" fmla="*/ 0 h 22"/>
                  <a:gd name="T4" fmla="*/ 2 w 16"/>
                  <a:gd name="T5" fmla="*/ 6 h 22"/>
                  <a:gd name="T6" fmla="*/ 2 w 16"/>
                  <a:gd name="T7" fmla="*/ 6 h 22"/>
                  <a:gd name="T8" fmla="*/ 0 w 16"/>
                  <a:gd name="T9" fmla="*/ 10 h 22"/>
                  <a:gd name="T10" fmla="*/ 0 w 16"/>
                  <a:gd name="T11" fmla="*/ 10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10 w 16"/>
                  <a:gd name="T53" fmla="*/ 0 h 22"/>
                  <a:gd name="T54" fmla="*/ 10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4" name="Freeform 1934"/>
              <p:cNvSpPr>
                <a:spLocks/>
              </p:cNvSpPr>
              <p:nvPr/>
            </p:nvSpPr>
            <p:spPr bwMode="auto">
              <a:xfrm>
                <a:off x="6814" y="704"/>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4 h 26"/>
                  <a:gd name="T30" fmla="*/ 18 w 18"/>
                  <a:gd name="T31" fmla="*/ 24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5" name="Freeform 1935"/>
              <p:cNvSpPr>
                <a:spLocks/>
              </p:cNvSpPr>
              <p:nvPr/>
            </p:nvSpPr>
            <p:spPr bwMode="auto">
              <a:xfrm>
                <a:off x="6814" y="704"/>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4 h 26"/>
                  <a:gd name="T30" fmla="*/ 18 w 18"/>
                  <a:gd name="T31" fmla="*/ 24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6" name="Freeform 1936"/>
              <p:cNvSpPr>
                <a:spLocks noEditPoints="1"/>
              </p:cNvSpPr>
              <p:nvPr/>
            </p:nvSpPr>
            <p:spPr bwMode="auto">
              <a:xfrm>
                <a:off x="6814" y="704"/>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4 h 26"/>
                  <a:gd name="T32" fmla="*/ 18 w 18"/>
                  <a:gd name="T33" fmla="*/ 24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4 h 26"/>
                  <a:gd name="T56" fmla="*/ 18 w 18"/>
                  <a:gd name="T57" fmla="*/ 24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8" y="26"/>
                    </a:lnTo>
                    <a:lnTo>
                      <a:pt x="8" y="26"/>
                    </a:lnTo>
                    <a:lnTo>
                      <a:pt x="0" y="26"/>
                    </a:lnTo>
                    <a:lnTo>
                      <a:pt x="0" y="26"/>
                    </a:lnTo>
                    <a:lnTo>
                      <a:pt x="4" y="20"/>
                    </a:lnTo>
                    <a:close/>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7" name="Freeform 1937"/>
              <p:cNvSpPr>
                <a:spLocks/>
              </p:cNvSpPr>
              <p:nvPr/>
            </p:nvSpPr>
            <p:spPr bwMode="auto">
              <a:xfrm>
                <a:off x="6814" y="724"/>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0 w 8"/>
                  <a:gd name="T13" fmla="*/ 6 h 6"/>
                  <a:gd name="T14" fmla="*/ 0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8" name="Freeform 1938"/>
              <p:cNvSpPr>
                <a:spLocks/>
              </p:cNvSpPr>
              <p:nvPr/>
            </p:nvSpPr>
            <p:spPr bwMode="auto">
              <a:xfrm>
                <a:off x="6824" y="704"/>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4 h 26"/>
                  <a:gd name="T14" fmla="*/ 8 w 8"/>
                  <a:gd name="T15" fmla="*/ 24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4 h 26"/>
                  <a:gd name="T38" fmla="*/ 8 w 8"/>
                  <a:gd name="T39" fmla="*/ 24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4"/>
                    </a:lnTo>
                    <a:lnTo>
                      <a:pt x="8" y="24"/>
                    </a:lnTo>
                    <a:lnTo>
                      <a:pt x="6" y="26"/>
                    </a:lnTo>
                    <a:lnTo>
                      <a:pt x="6" y="26"/>
                    </a:lnTo>
                    <a:lnTo>
                      <a:pt x="0" y="26"/>
                    </a:lnTo>
                    <a:lnTo>
                      <a:pt x="0" y="26"/>
                    </a:lnTo>
                    <a:lnTo>
                      <a:pt x="0" y="26"/>
                    </a:lnTo>
                    <a:lnTo>
                      <a:pt x="0" y="26"/>
                    </a:lnTo>
                    <a:lnTo>
                      <a:pt x="0" y="26"/>
                    </a:lnTo>
                    <a:lnTo>
                      <a:pt x="0" y="26"/>
                    </a:lnTo>
                    <a:lnTo>
                      <a:pt x="6" y="26"/>
                    </a:lnTo>
                    <a:lnTo>
                      <a:pt x="6" y="26"/>
                    </a:lnTo>
                    <a:lnTo>
                      <a:pt x="8" y="24"/>
                    </a:lnTo>
                    <a:lnTo>
                      <a:pt x="8"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9" name="Freeform 1939"/>
              <p:cNvSpPr>
                <a:spLocks/>
              </p:cNvSpPr>
              <p:nvPr/>
            </p:nvSpPr>
            <p:spPr bwMode="auto">
              <a:xfrm>
                <a:off x="6714"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6"/>
                    </a:lnTo>
                    <a:lnTo>
                      <a:pt x="0" y="6"/>
                    </a:lnTo>
                    <a:lnTo>
                      <a:pt x="0" y="8"/>
                    </a:lnTo>
                    <a:lnTo>
                      <a:pt x="0" y="12"/>
                    </a:lnTo>
                    <a:lnTo>
                      <a:pt x="2" y="16"/>
                    </a:lnTo>
                    <a:lnTo>
                      <a:pt x="4" y="20"/>
                    </a:lnTo>
                    <a:lnTo>
                      <a:pt x="4" y="20"/>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0" name="Freeform 1940"/>
              <p:cNvSpPr>
                <a:spLocks/>
              </p:cNvSpPr>
              <p:nvPr/>
            </p:nvSpPr>
            <p:spPr bwMode="auto">
              <a:xfrm>
                <a:off x="6714"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6"/>
                    </a:lnTo>
                    <a:lnTo>
                      <a:pt x="0" y="6"/>
                    </a:lnTo>
                    <a:lnTo>
                      <a:pt x="0" y="8"/>
                    </a:lnTo>
                    <a:lnTo>
                      <a:pt x="0" y="12"/>
                    </a:lnTo>
                    <a:lnTo>
                      <a:pt x="2" y="16"/>
                    </a:lnTo>
                    <a:lnTo>
                      <a:pt x="4" y="20"/>
                    </a:lnTo>
                    <a:lnTo>
                      <a:pt x="4" y="20"/>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1" name="Freeform 1941"/>
              <p:cNvSpPr>
                <a:spLocks noEditPoints="1"/>
              </p:cNvSpPr>
              <p:nvPr/>
            </p:nvSpPr>
            <p:spPr bwMode="auto">
              <a:xfrm>
                <a:off x="6712" y="650"/>
                <a:ext cx="14" cy="2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6 h 20"/>
                  <a:gd name="T24" fmla="*/ 2 w 14"/>
                  <a:gd name="T25" fmla="*/ 6 h 20"/>
                  <a:gd name="T26" fmla="*/ 0 w 14"/>
                  <a:gd name="T27" fmla="*/ 8 h 20"/>
                  <a:gd name="T28" fmla="*/ 2 w 14"/>
                  <a:gd name="T29" fmla="*/ 12 h 20"/>
                  <a:gd name="T30" fmla="*/ 4 w 14"/>
                  <a:gd name="T31" fmla="*/ 16 h 20"/>
                  <a:gd name="T32" fmla="*/ 6 w 14"/>
                  <a:gd name="T33" fmla="*/ 20 h 20"/>
                  <a:gd name="T34" fmla="*/ 6 w 14"/>
                  <a:gd name="T35" fmla="*/ 20 h 20"/>
                  <a:gd name="T36" fmla="*/ 8 w 14"/>
                  <a:gd name="T37" fmla="*/ 20 h 20"/>
                  <a:gd name="T38" fmla="*/ 8 w 14"/>
                  <a:gd name="T39" fmla="*/ 20 h 20"/>
                  <a:gd name="T40" fmla="*/ 10 w 14"/>
                  <a:gd name="T41" fmla="*/ 20 h 20"/>
                  <a:gd name="T42" fmla="*/ 10 w 14"/>
                  <a:gd name="T43" fmla="*/ 20 h 20"/>
                  <a:gd name="T44" fmla="*/ 8 w 14"/>
                  <a:gd name="T45" fmla="*/ 20 h 20"/>
                  <a:gd name="T46" fmla="*/ 8 w 14"/>
                  <a:gd name="T47" fmla="*/ 20 h 20"/>
                  <a:gd name="T48" fmla="*/ 6 w 14"/>
                  <a:gd name="T49" fmla="*/ 20 h 20"/>
                  <a:gd name="T50" fmla="*/ 6 w 14"/>
                  <a:gd name="T51" fmla="*/ 20 h 20"/>
                  <a:gd name="T52" fmla="*/ 4 w 14"/>
                  <a:gd name="T53" fmla="*/ 16 h 20"/>
                  <a:gd name="T54" fmla="*/ 2 w 14"/>
                  <a:gd name="T55" fmla="*/ 12 h 20"/>
                  <a:gd name="T56" fmla="*/ 2 w 14"/>
                  <a:gd name="T57" fmla="*/ 8 h 20"/>
                  <a:gd name="T58" fmla="*/ 2 w 14"/>
                  <a:gd name="T59" fmla="*/ 6 h 20"/>
                  <a:gd name="T60" fmla="*/ 2 w 14"/>
                  <a:gd name="T61" fmla="*/ 6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6"/>
                    </a:lnTo>
                    <a:lnTo>
                      <a:pt x="2" y="6"/>
                    </a:lnTo>
                    <a:lnTo>
                      <a:pt x="0" y="8"/>
                    </a:lnTo>
                    <a:lnTo>
                      <a:pt x="2" y="12"/>
                    </a:lnTo>
                    <a:lnTo>
                      <a:pt x="4" y="16"/>
                    </a:lnTo>
                    <a:lnTo>
                      <a:pt x="6" y="20"/>
                    </a:lnTo>
                    <a:lnTo>
                      <a:pt x="6" y="20"/>
                    </a:lnTo>
                    <a:lnTo>
                      <a:pt x="8" y="20"/>
                    </a:lnTo>
                    <a:lnTo>
                      <a:pt x="8" y="20"/>
                    </a:lnTo>
                    <a:lnTo>
                      <a:pt x="10" y="20"/>
                    </a:lnTo>
                    <a:lnTo>
                      <a:pt x="10" y="20"/>
                    </a:lnTo>
                    <a:lnTo>
                      <a:pt x="8" y="20"/>
                    </a:lnTo>
                    <a:lnTo>
                      <a:pt x="8" y="20"/>
                    </a:lnTo>
                    <a:lnTo>
                      <a:pt x="6" y="20"/>
                    </a:lnTo>
                    <a:lnTo>
                      <a:pt x="6" y="20"/>
                    </a:lnTo>
                    <a:lnTo>
                      <a:pt x="4" y="16"/>
                    </a:lnTo>
                    <a:lnTo>
                      <a:pt x="2" y="12"/>
                    </a:lnTo>
                    <a:lnTo>
                      <a:pt x="2" y="8"/>
                    </a:lnTo>
                    <a:lnTo>
                      <a:pt x="2" y="6"/>
                    </a:lnTo>
                    <a:lnTo>
                      <a:pt x="2" y="6"/>
                    </a:lnTo>
                    <a:lnTo>
                      <a:pt x="8" y="0"/>
                    </a:lnTo>
                    <a:lnTo>
                      <a:pt x="8"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2" name="Freeform 1942"/>
              <p:cNvSpPr>
                <a:spLocks/>
              </p:cNvSpPr>
              <p:nvPr/>
            </p:nvSpPr>
            <p:spPr bwMode="auto">
              <a:xfrm>
                <a:off x="6722" y="664"/>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3" name="Freeform 1943"/>
              <p:cNvSpPr>
                <a:spLocks/>
              </p:cNvSpPr>
              <p:nvPr/>
            </p:nvSpPr>
            <p:spPr bwMode="auto">
              <a:xfrm>
                <a:off x="6712" y="650"/>
                <a:ext cx="10" cy="20"/>
              </a:xfrm>
              <a:custGeom>
                <a:avLst/>
                <a:gdLst>
                  <a:gd name="T0" fmla="*/ 8 w 10"/>
                  <a:gd name="T1" fmla="*/ 0 h 20"/>
                  <a:gd name="T2" fmla="*/ 8 w 10"/>
                  <a:gd name="T3" fmla="*/ 0 h 20"/>
                  <a:gd name="T4" fmla="*/ 6 w 10"/>
                  <a:gd name="T5" fmla="*/ 0 h 20"/>
                  <a:gd name="T6" fmla="*/ 6 w 10"/>
                  <a:gd name="T7" fmla="*/ 0 h 20"/>
                  <a:gd name="T8" fmla="*/ 2 w 10"/>
                  <a:gd name="T9" fmla="*/ 6 h 20"/>
                  <a:gd name="T10" fmla="*/ 2 w 10"/>
                  <a:gd name="T11" fmla="*/ 6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20 h 20"/>
                  <a:gd name="T36" fmla="*/ 6 w 10"/>
                  <a:gd name="T37" fmla="*/ 20 h 20"/>
                  <a:gd name="T38" fmla="*/ 4 w 10"/>
                  <a:gd name="T39" fmla="*/ 16 h 20"/>
                  <a:gd name="T40" fmla="*/ 2 w 10"/>
                  <a:gd name="T41" fmla="*/ 12 h 20"/>
                  <a:gd name="T42" fmla="*/ 2 w 10"/>
                  <a:gd name="T43" fmla="*/ 8 h 20"/>
                  <a:gd name="T44" fmla="*/ 2 w 10"/>
                  <a:gd name="T45" fmla="*/ 6 h 20"/>
                  <a:gd name="T46" fmla="*/ 2 w 10"/>
                  <a:gd name="T47" fmla="*/ 6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6"/>
                    </a:lnTo>
                    <a:lnTo>
                      <a:pt x="2" y="6"/>
                    </a:lnTo>
                    <a:lnTo>
                      <a:pt x="0" y="8"/>
                    </a:lnTo>
                    <a:lnTo>
                      <a:pt x="2" y="12"/>
                    </a:lnTo>
                    <a:lnTo>
                      <a:pt x="4" y="16"/>
                    </a:lnTo>
                    <a:lnTo>
                      <a:pt x="6" y="20"/>
                    </a:lnTo>
                    <a:lnTo>
                      <a:pt x="6" y="20"/>
                    </a:lnTo>
                    <a:lnTo>
                      <a:pt x="8" y="20"/>
                    </a:lnTo>
                    <a:lnTo>
                      <a:pt x="8" y="20"/>
                    </a:lnTo>
                    <a:lnTo>
                      <a:pt x="10" y="20"/>
                    </a:lnTo>
                    <a:lnTo>
                      <a:pt x="10" y="20"/>
                    </a:lnTo>
                    <a:lnTo>
                      <a:pt x="8" y="20"/>
                    </a:lnTo>
                    <a:lnTo>
                      <a:pt x="8" y="20"/>
                    </a:lnTo>
                    <a:lnTo>
                      <a:pt x="6" y="20"/>
                    </a:lnTo>
                    <a:lnTo>
                      <a:pt x="6" y="20"/>
                    </a:lnTo>
                    <a:lnTo>
                      <a:pt x="4" y="16"/>
                    </a:lnTo>
                    <a:lnTo>
                      <a:pt x="2" y="12"/>
                    </a:lnTo>
                    <a:lnTo>
                      <a:pt x="2" y="8"/>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4" name="Freeform 1944"/>
              <p:cNvSpPr>
                <a:spLocks noEditPoints="1"/>
              </p:cNvSpPr>
              <p:nvPr/>
            </p:nvSpPr>
            <p:spPr bwMode="auto">
              <a:xfrm>
                <a:off x="6826" y="640"/>
                <a:ext cx="20" cy="12"/>
              </a:xfrm>
              <a:custGeom>
                <a:avLst/>
                <a:gdLst>
                  <a:gd name="T0" fmla="*/ 8 w 20"/>
                  <a:gd name="T1" fmla="*/ 6 h 12"/>
                  <a:gd name="T2" fmla="*/ 8 w 20"/>
                  <a:gd name="T3" fmla="*/ 6 h 12"/>
                  <a:gd name="T4" fmla="*/ 10 w 20"/>
                  <a:gd name="T5" fmla="*/ 6 h 12"/>
                  <a:gd name="T6" fmla="*/ 10 w 20"/>
                  <a:gd name="T7" fmla="*/ 6 h 12"/>
                  <a:gd name="T8" fmla="*/ 14 w 20"/>
                  <a:gd name="T9" fmla="*/ 8 h 12"/>
                  <a:gd name="T10" fmla="*/ 14 w 20"/>
                  <a:gd name="T11" fmla="*/ 8 h 12"/>
                  <a:gd name="T12" fmla="*/ 8 w 20"/>
                  <a:gd name="T13" fmla="*/ 10 h 12"/>
                  <a:gd name="T14" fmla="*/ 8 w 20"/>
                  <a:gd name="T15" fmla="*/ 10 h 12"/>
                  <a:gd name="T16" fmla="*/ 8 w 20"/>
                  <a:gd name="T17" fmla="*/ 10 h 12"/>
                  <a:gd name="T18" fmla="*/ 8 w 20"/>
                  <a:gd name="T19" fmla="*/ 10 h 12"/>
                  <a:gd name="T20" fmla="*/ 8 w 20"/>
                  <a:gd name="T21" fmla="*/ 10 h 12"/>
                  <a:gd name="T22" fmla="*/ 8 w 20"/>
                  <a:gd name="T23" fmla="*/ 10 h 12"/>
                  <a:gd name="T24" fmla="*/ 6 w 20"/>
                  <a:gd name="T25" fmla="*/ 8 h 12"/>
                  <a:gd name="T26" fmla="*/ 6 w 20"/>
                  <a:gd name="T27" fmla="*/ 8 h 12"/>
                  <a:gd name="T28" fmla="*/ 8 w 20"/>
                  <a:gd name="T29" fmla="*/ 6 h 12"/>
                  <a:gd name="T30" fmla="*/ 8 w 20"/>
                  <a:gd name="T31" fmla="*/ 6 h 12"/>
                  <a:gd name="T32" fmla="*/ 8 w 20"/>
                  <a:gd name="T33" fmla="*/ 6 h 12"/>
                  <a:gd name="T34" fmla="*/ 14 w 20"/>
                  <a:gd name="T35" fmla="*/ 0 h 12"/>
                  <a:gd name="T36" fmla="*/ 14 w 20"/>
                  <a:gd name="T37" fmla="*/ 0 h 12"/>
                  <a:gd name="T38" fmla="*/ 8 w 20"/>
                  <a:gd name="T39" fmla="*/ 2 h 12"/>
                  <a:gd name="T40" fmla="*/ 0 w 20"/>
                  <a:gd name="T41" fmla="*/ 8 h 12"/>
                  <a:gd name="T42" fmla="*/ 0 w 20"/>
                  <a:gd name="T43" fmla="*/ 8 h 12"/>
                  <a:gd name="T44" fmla="*/ 4 w 20"/>
                  <a:gd name="T45" fmla="*/ 8 h 12"/>
                  <a:gd name="T46" fmla="*/ 4 w 20"/>
                  <a:gd name="T47" fmla="*/ 8 h 12"/>
                  <a:gd name="T48" fmla="*/ 8 w 20"/>
                  <a:gd name="T49" fmla="*/ 12 h 12"/>
                  <a:gd name="T50" fmla="*/ 8 w 20"/>
                  <a:gd name="T51" fmla="*/ 12 h 12"/>
                  <a:gd name="T52" fmla="*/ 20 w 20"/>
                  <a:gd name="T53" fmla="*/ 6 h 12"/>
                  <a:gd name="T54" fmla="*/ 20 w 20"/>
                  <a:gd name="T55" fmla="*/ 6 h 12"/>
                  <a:gd name="T56" fmla="*/ 16 w 20"/>
                  <a:gd name="T57" fmla="*/ 4 h 12"/>
                  <a:gd name="T58" fmla="*/ 14 w 20"/>
                  <a:gd name="T5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2">
                    <a:moveTo>
                      <a:pt x="8" y="6"/>
                    </a:moveTo>
                    <a:lnTo>
                      <a:pt x="8" y="6"/>
                    </a:lnTo>
                    <a:lnTo>
                      <a:pt x="10" y="6"/>
                    </a:lnTo>
                    <a:lnTo>
                      <a:pt x="10" y="6"/>
                    </a:lnTo>
                    <a:lnTo>
                      <a:pt x="14" y="8"/>
                    </a:lnTo>
                    <a:lnTo>
                      <a:pt x="14" y="8"/>
                    </a:lnTo>
                    <a:lnTo>
                      <a:pt x="8" y="10"/>
                    </a:lnTo>
                    <a:lnTo>
                      <a:pt x="8" y="10"/>
                    </a:lnTo>
                    <a:lnTo>
                      <a:pt x="8" y="10"/>
                    </a:lnTo>
                    <a:lnTo>
                      <a:pt x="8" y="10"/>
                    </a:lnTo>
                    <a:lnTo>
                      <a:pt x="8" y="10"/>
                    </a:lnTo>
                    <a:lnTo>
                      <a:pt x="8" y="10"/>
                    </a:lnTo>
                    <a:lnTo>
                      <a:pt x="6" y="8"/>
                    </a:lnTo>
                    <a:lnTo>
                      <a:pt x="6" y="8"/>
                    </a:lnTo>
                    <a:lnTo>
                      <a:pt x="8" y="6"/>
                    </a:lnTo>
                    <a:lnTo>
                      <a:pt x="8" y="6"/>
                    </a:lnTo>
                    <a:lnTo>
                      <a:pt x="8" y="6"/>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5" name="Freeform 1945"/>
              <p:cNvSpPr>
                <a:spLocks/>
              </p:cNvSpPr>
              <p:nvPr/>
            </p:nvSpPr>
            <p:spPr bwMode="auto">
              <a:xfrm>
                <a:off x="6832" y="646"/>
                <a:ext cx="8" cy="4"/>
              </a:xfrm>
              <a:custGeom>
                <a:avLst/>
                <a:gdLst>
                  <a:gd name="T0" fmla="*/ 2 w 8"/>
                  <a:gd name="T1" fmla="*/ 0 h 4"/>
                  <a:gd name="T2" fmla="*/ 2 w 8"/>
                  <a:gd name="T3" fmla="*/ 0 h 4"/>
                  <a:gd name="T4" fmla="*/ 4 w 8"/>
                  <a:gd name="T5" fmla="*/ 0 h 4"/>
                  <a:gd name="T6" fmla="*/ 4 w 8"/>
                  <a:gd name="T7" fmla="*/ 0 h 4"/>
                  <a:gd name="T8" fmla="*/ 8 w 8"/>
                  <a:gd name="T9" fmla="*/ 2 h 4"/>
                  <a:gd name="T10" fmla="*/ 8 w 8"/>
                  <a:gd name="T11" fmla="*/ 2 h 4"/>
                  <a:gd name="T12" fmla="*/ 2 w 8"/>
                  <a:gd name="T13" fmla="*/ 4 h 4"/>
                  <a:gd name="T14" fmla="*/ 2 w 8"/>
                  <a:gd name="T15" fmla="*/ 4 h 4"/>
                  <a:gd name="T16" fmla="*/ 2 w 8"/>
                  <a:gd name="T17" fmla="*/ 4 h 4"/>
                  <a:gd name="T18" fmla="*/ 2 w 8"/>
                  <a:gd name="T19" fmla="*/ 4 h 4"/>
                  <a:gd name="T20" fmla="*/ 2 w 8"/>
                  <a:gd name="T21" fmla="*/ 4 h 4"/>
                  <a:gd name="T22" fmla="*/ 2 w 8"/>
                  <a:gd name="T23" fmla="*/ 4 h 4"/>
                  <a:gd name="T24" fmla="*/ 0 w 8"/>
                  <a:gd name="T25" fmla="*/ 2 h 4"/>
                  <a:gd name="T26" fmla="*/ 0 w 8"/>
                  <a:gd name="T27" fmla="*/ 2 h 4"/>
                  <a:gd name="T28" fmla="*/ 2 w 8"/>
                  <a:gd name="T29" fmla="*/ 0 h 4"/>
                  <a:gd name="T30" fmla="*/ 2 w 8"/>
                  <a:gd name="T31" fmla="*/ 0 h 4"/>
                  <a:gd name="T32" fmla="*/ 2 w 8"/>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2" y="0"/>
                    </a:moveTo>
                    <a:lnTo>
                      <a:pt x="2" y="0"/>
                    </a:lnTo>
                    <a:lnTo>
                      <a:pt x="4" y="0"/>
                    </a:lnTo>
                    <a:lnTo>
                      <a:pt x="4" y="0"/>
                    </a:lnTo>
                    <a:lnTo>
                      <a:pt x="8" y="2"/>
                    </a:lnTo>
                    <a:lnTo>
                      <a:pt x="8"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6" name="Freeform 1946"/>
              <p:cNvSpPr>
                <a:spLocks/>
              </p:cNvSpPr>
              <p:nvPr/>
            </p:nvSpPr>
            <p:spPr bwMode="auto">
              <a:xfrm>
                <a:off x="6826" y="640"/>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7" name="Freeform 1947"/>
              <p:cNvSpPr>
                <a:spLocks/>
              </p:cNvSpPr>
              <p:nvPr/>
            </p:nvSpPr>
            <p:spPr bwMode="auto">
              <a:xfrm>
                <a:off x="6780" y="628"/>
                <a:ext cx="22" cy="20"/>
              </a:xfrm>
              <a:custGeom>
                <a:avLst/>
                <a:gdLst>
                  <a:gd name="T0" fmla="*/ 18 w 22"/>
                  <a:gd name="T1" fmla="*/ 0 h 20"/>
                  <a:gd name="T2" fmla="*/ 18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2 h 20"/>
                  <a:gd name="T30" fmla="*/ 22 w 22"/>
                  <a:gd name="T31" fmla="*/ 2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6"/>
                    </a:lnTo>
                    <a:lnTo>
                      <a:pt x="2" y="10"/>
                    </a:lnTo>
                    <a:lnTo>
                      <a:pt x="0" y="20"/>
                    </a:lnTo>
                    <a:lnTo>
                      <a:pt x="0" y="20"/>
                    </a:lnTo>
                    <a:lnTo>
                      <a:pt x="8" y="6"/>
                    </a:lnTo>
                    <a:lnTo>
                      <a:pt x="8" y="6"/>
                    </a:lnTo>
                    <a:lnTo>
                      <a:pt x="8" y="6"/>
                    </a:lnTo>
                    <a:lnTo>
                      <a:pt x="10" y="12"/>
                    </a:lnTo>
                    <a:lnTo>
                      <a:pt x="10" y="12"/>
                    </a:lnTo>
                    <a:lnTo>
                      <a:pt x="14" y="4"/>
                    </a:lnTo>
                    <a:lnTo>
                      <a:pt x="18" y="2"/>
                    </a:lnTo>
                    <a:lnTo>
                      <a:pt x="22" y="2"/>
                    </a:lnTo>
                    <a:lnTo>
                      <a:pt x="22" y="2"/>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8" name="Freeform 1948"/>
              <p:cNvSpPr>
                <a:spLocks/>
              </p:cNvSpPr>
              <p:nvPr/>
            </p:nvSpPr>
            <p:spPr bwMode="auto">
              <a:xfrm>
                <a:off x="6780" y="628"/>
                <a:ext cx="22" cy="20"/>
              </a:xfrm>
              <a:custGeom>
                <a:avLst/>
                <a:gdLst>
                  <a:gd name="T0" fmla="*/ 18 w 22"/>
                  <a:gd name="T1" fmla="*/ 0 h 20"/>
                  <a:gd name="T2" fmla="*/ 18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2 h 20"/>
                  <a:gd name="T30" fmla="*/ 22 w 22"/>
                  <a:gd name="T31" fmla="*/ 2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6"/>
                    </a:lnTo>
                    <a:lnTo>
                      <a:pt x="2" y="10"/>
                    </a:lnTo>
                    <a:lnTo>
                      <a:pt x="0" y="20"/>
                    </a:lnTo>
                    <a:lnTo>
                      <a:pt x="0" y="20"/>
                    </a:lnTo>
                    <a:lnTo>
                      <a:pt x="8" y="6"/>
                    </a:lnTo>
                    <a:lnTo>
                      <a:pt x="8" y="6"/>
                    </a:lnTo>
                    <a:lnTo>
                      <a:pt x="8" y="6"/>
                    </a:lnTo>
                    <a:lnTo>
                      <a:pt x="10" y="12"/>
                    </a:lnTo>
                    <a:lnTo>
                      <a:pt x="10" y="12"/>
                    </a:lnTo>
                    <a:lnTo>
                      <a:pt x="14" y="4"/>
                    </a:lnTo>
                    <a:lnTo>
                      <a:pt x="18" y="2"/>
                    </a:lnTo>
                    <a:lnTo>
                      <a:pt x="22" y="2"/>
                    </a:lnTo>
                    <a:lnTo>
                      <a:pt x="22" y="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9" name="Freeform 1949"/>
              <p:cNvSpPr>
                <a:spLocks/>
              </p:cNvSpPr>
              <p:nvPr/>
            </p:nvSpPr>
            <p:spPr bwMode="auto">
              <a:xfrm>
                <a:off x="6876" y="632"/>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0" name="Freeform 1950"/>
              <p:cNvSpPr>
                <a:spLocks/>
              </p:cNvSpPr>
              <p:nvPr/>
            </p:nvSpPr>
            <p:spPr bwMode="auto">
              <a:xfrm>
                <a:off x="6876" y="632"/>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1" name="Freeform 1951"/>
              <p:cNvSpPr>
                <a:spLocks/>
              </p:cNvSpPr>
              <p:nvPr/>
            </p:nvSpPr>
            <p:spPr bwMode="auto">
              <a:xfrm>
                <a:off x="6822"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2" name="Freeform 1952"/>
              <p:cNvSpPr>
                <a:spLocks/>
              </p:cNvSpPr>
              <p:nvPr/>
            </p:nvSpPr>
            <p:spPr bwMode="auto">
              <a:xfrm>
                <a:off x="6822"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3" name="Freeform 1953"/>
              <p:cNvSpPr>
                <a:spLocks/>
              </p:cNvSpPr>
              <p:nvPr/>
            </p:nvSpPr>
            <p:spPr bwMode="auto">
              <a:xfrm>
                <a:off x="6836" y="678"/>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4" name="Freeform 1954"/>
              <p:cNvSpPr>
                <a:spLocks/>
              </p:cNvSpPr>
              <p:nvPr/>
            </p:nvSpPr>
            <p:spPr bwMode="auto">
              <a:xfrm>
                <a:off x="6836" y="678"/>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5" name="Freeform 1955"/>
              <p:cNvSpPr>
                <a:spLocks/>
              </p:cNvSpPr>
              <p:nvPr/>
            </p:nvSpPr>
            <p:spPr bwMode="auto">
              <a:xfrm>
                <a:off x="6832"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6" name="Freeform 1956"/>
              <p:cNvSpPr>
                <a:spLocks/>
              </p:cNvSpPr>
              <p:nvPr/>
            </p:nvSpPr>
            <p:spPr bwMode="auto">
              <a:xfrm>
                <a:off x="6832"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7" name="Freeform 1957"/>
              <p:cNvSpPr>
                <a:spLocks/>
              </p:cNvSpPr>
              <p:nvPr/>
            </p:nvSpPr>
            <p:spPr bwMode="auto">
              <a:xfrm>
                <a:off x="6834" y="646"/>
                <a:ext cx="6" cy="4"/>
              </a:xfrm>
              <a:custGeom>
                <a:avLst/>
                <a:gdLst>
                  <a:gd name="T0" fmla="*/ 2 w 6"/>
                  <a:gd name="T1" fmla="*/ 0 h 4"/>
                  <a:gd name="T2" fmla="*/ 2 w 6"/>
                  <a:gd name="T3" fmla="*/ 0 h 4"/>
                  <a:gd name="T4" fmla="*/ 0 w 6"/>
                  <a:gd name="T5" fmla="*/ 0 h 4"/>
                  <a:gd name="T6" fmla="*/ 0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0"/>
                    </a:lnTo>
                    <a:lnTo>
                      <a:pt x="0" y="0"/>
                    </a:lnTo>
                    <a:lnTo>
                      <a:pt x="4" y="2"/>
                    </a:lnTo>
                    <a:lnTo>
                      <a:pt x="4" y="2"/>
                    </a:lnTo>
                    <a:lnTo>
                      <a:pt x="0" y="4"/>
                    </a:lnTo>
                    <a:lnTo>
                      <a:pt x="0" y="4"/>
                    </a:lnTo>
                    <a:lnTo>
                      <a:pt x="0" y="4"/>
                    </a:lnTo>
                    <a:lnTo>
                      <a:pt x="0" y="4"/>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8" name="Freeform 1958"/>
              <p:cNvSpPr>
                <a:spLocks/>
              </p:cNvSpPr>
              <p:nvPr/>
            </p:nvSpPr>
            <p:spPr bwMode="auto">
              <a:xfrm>
                <a:off x="6834" y="646"/>
                <a:ext cx="6" cy="4"/>
              </a:xfrm>
              <a:custGeom>
                <a:avLst/>
                <a:gdLst>
                  <a:gd name="T0" fmla="*/ 2 w 6"/>
                  <a:gd name="T1" fmla="*/ 0 h 4"/>
                  <a:gd name="T2" fmla="*/ 2 w 6"/>
                  <a:gd name="T3" fmla="*/ 0 h 4"/>
                  <a:gd name="T4" fmla="*/ 0 w 6"/>
                  <a:gd name="T5" fmla="*/ 0 h 4"/>
                  <a:gd name="T6" fmla="*/ 0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0"/>
                    </a:lnTo>
                    <a:lnTo>
                      <a:pt x="0" y="0"/>
                    </a:lnTo>
                    <a:lnTo>
                      <a:pt x="4" y="2"/>
                    </a:lnTo>
                    <a:lnTo>
                      <a:pt x="4" y="2"/>
                    </a:lnTo>
                    <a:lnTo>
                      <a:pt x="0" y="4"/>
                    </a:lnTo>
                    <a:lnTo>
                      <a:pt x="0" y="4"/>
                    </a:lnTo>
                    <a:lnTo>
                      <a:pt x="0" y="4"/>
                    </a:lnTo>
                    <a:lnTo>
                      <a:pt x="0"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9" name="Freeform 1959"/>
              <p:cNvSpPr>
                <a:spLocks/>
              </p:cNvSpPr>
              <p:nvPr/>
            </p:nvSpPr>
            <p:spPr bwMode="auto">
              <a:xfrm>
                <a:off x="590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0" name="Freeform 1960"/>
              <p:cNvSpPr>
                <a:spLocks/>
              </p:cNvSpPr>
              <p:nvPr/>
            </p:nvSpPr>
            <p:spPr bwMode="auto">
              <a:xfrm>
                <a:off x="599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1" name="Freeform 1961"/>
              <p:cNvSpPr>
                <a:spLocks/>
              </p:cNvSpPr>
              <p:nvPr/>
            </p:nvSpPr>
            <p:spPr bwMode="auto">
              <a:xfrm>
                <a:off x="6084"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2" name="Freeform 1962"/>
              <p:cNvSpPr>
                <a:spLocks/>
              </p:cNvSpPr>
              <p:nvPr/>
            </p:nvSpPr>
            <p:spPr bwMode="auto">
              <a:xfrm>
                <a:off x="6402"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3" name="Freeform 1963"/>
              <p:cNvSpPr>
                <a:spLocks/>
              </p:cNvSpPr>
              <p:nvPr/>
            </p:nvSpPr>
            <p:spPr bwMode="auto">
              <a:xfrm>
                <a:off x="6402"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4" name="Freeform 1964"/>
              <p:cNvSpPr>
                <a:spLocks/>
              </p:cNvSpPr>
              <p:nvPr/>
            </p:nvSpPr>
            <p:spPr bwMode="auto">
              <a:xfrm>
                <a:off x="6464"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5" name="Freeform 1965"/>
              <p:cNvSpPr>
                <a:spLocks/>
              </p:cNvSpPr>
              <p:nvPr/>
            </p:nvSpPr>
            <p:spPr bwMode="auto">
              <a:xfrm>
                <a:off x="6464"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6" name="Freeform 1966"/>
              <p:cNvSpPr>
                <a:spLocks/>
              </p:cNvSpPr>
              <p:nvPr/>
            </p:nvSpPr>
            <p:spPr bwMode="auto">
              <a:xfrm>
                <a:off x="6548" y="416"/>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7" name="Freeform 1967"/>
              <p:cNvSpPr>
                <a:spLocks/>
              </p:cNvSpPr>
              <p:nvPr/>
            </p:nvSpPr>
            <p:spPr bwMode="auto">
              <a:xfrm>
                <a:off x="6640"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8" name="Freeform 1968"/>
              <p:cNvSpPr>
                <a:spLocks/>
              </p:cNvSpPr>
              <p:nvPr/>
            </p:nvSpPr>
            <p:spPr bwMode="auto">
              <a:xfrm>
                <a:off x="6732"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9" name="Freeform 1969"/>
              <p:cNvSpPr>
                <a:spLocks noEditPoints="1"/>
              </p:cNvSpPr>
              <p:nvPr/>
            </p:nvSpPr>
            <p:spPr bwMode="auto">
              <a:xfrm>
                <a:off x="6174" y="412"/>
                <a:ext cx="188" cy="146"/>
              </a:xfrm>
              <a:custGeom>
                <a:avLst/>
                <a:gdLst>
                  <a:gd name="T0" fmla="*/ 118 w 188"/>
                  <a:gd name="T1" fmla="*/ 104 h 146"/>
                  <a:gd name="T2" fmla="*/ 114 w 188"/>
                  <a:gd name="T3" fmla="*/ 130 h 146"/>
                  <a:gd name="T4" fmla="*/ 20 w 188"/>
                  <a:gd name="T5" fmla="*/ 122 h 146"/>
                  <a:gd name="T6" fmla="*/ 8 w 188"/>
                  <a:gd name="T7" fmla="*/ 104 h 146"/>
                  <a:gd name="T8" fmla="*/ 24 w 188"/>
                  <a:gd name="T9" fmla="*/ 118 h 146"/>
                  <a:gd name="T10" fmla="*/ 10 w 188"/>
                  <a:gd name="T11" fmla="*/ 50 h 146"/>
                  <a:gd name="T12" fmla="*/ 10 w 188"/>
                  <a:gd name="T13" fmla="*/ 50 h 146"/>
                  <a:gd name="T14" fmla="*/ 12 w 188"/>
                  <a:gd name="T15" fmla="*/ 66 h 146"/>
                  <a:gd name="T16" fmla="*/ 12 w 188"/>
                  <a:gd name="T17" fmla="*/ 70 h 146"/>
                  <a:gd name="T18" fmla="*/ 2 w 188"/>
                  <a:gd name="T19" fmla="*/ 58 h 146"/>
                  <a:gd name="T20" fmla="*/ 86 w 188"/>
                  <a:gd name="T21" fmla="*/ 16 h 146"/>
                  <a:gd name="T22" fmla="*/ 130 w 188"/>
                  <a:gd name="T23" fmla="*/ 8 h 146"/>
                  <a:gd name="T24" fmla="*/ 158 w 188"/>
                  <a:gd name="T25" fmla="*/ 32 h 146"/>
                  <a:gd name="T26" fmla="*/ 160 w 188"/>
                  <a:gd name="T27" fmla="*/ 44 h 146"/>
                  <a:gd name="T28" fmla="*/ 154 w 188"/>
                  <a:gd name="T29" fmla="*/ 44 h 146"/>
                  <a:gd name="T30" fmla="*/ 158 w 188"/>
                  <a:gd name="T31" fmla="*/ 46 h 146"/>
                  <a:gd name="T32" fmla="*/ 162 w 188"/>
                  <a:gd name="T33" fmla="*/ 42 h 146"/>
                  <a:gd name="T34" fmla="*/ 176 w 188"/>
                  <a:gd name="T35" fmla="*/ 28 h 146"/>
                  <a:gd name="T36" fmla="*/ 184 w 188"/>
                  <a:gd name="T37" fmla="*/ 70 h 146"/>
                  <a:gd name="T38" fmla="*/ 140 w 188"/>
                  <a:gd name="T39" fmla="*/ 86 h 146"/>
                  <a:gd name="T40" fmla="*/ 136 w 188"/>
                  <a:gd name="T41" fmla="*/ 100 h 146"/>
                  <a:gd name="T42" fmla="*/ 146 w 188"/>
                  <a:gd name="T43" fmla="*/ 90 h 146"/>
                  <a:gd name="T44" fmla="*/ 130 w 188"/>
                  <a:gd name="T45" fmla="*/ 102 h 146"/>
                  <a:gd name="T46" fmla="*/ 116 w 188"/>
                  <a:gd name="T47" fmla="*/ 96 h 146"/>
                  <a:gd name="T48" fmla="*/ 88 w 188"/>
                  <a:gd name="T49" fmla="*/ 140 h 146"/>
                  <a:gd name="T50" fmla="*/ 70 w 188"/>
                  <a:gd name="T51" fmla="*/ 128 h 146"/>
                  <a:gd name="T52" fmla="*/ 78 w 188"/>
                  <a:gd name="T53" fmla="*/ 114 h 146"/>
                  <a:gd name="T54" fmla="*/ 56 w 188"/>
                  <a:gd name="T55" fmla="*/ 116 h 146"/>
                  <a:gd name="T56" fmla="*/ 54 w 188"/>
                  <a:gd name="T57" fmla="*/ 122 h 146"/>
                  <a:gd name="T58" fmla="*/ 44 w 188"/>
                  <a:gd name="T59" fmla="*/ 140 h 146"/>
                  <a:gd name="T60" fmla="*/ 28 w 188"/>
                  <a:gd name="T61" fmla="*/ 122 h 146"/>
                  <a:gd name="T62" fmla="*/ 16 w 188"/>
                  <a:gd name="T63" fmla="*/ 78 h 146"/>
                  <a:gd name="T64" fmla="*/ 58 w 188"/>
                  <a:gd name="T65" fmla="*/ 34 h 146"/>
                  <a:gd name="T66" fmla="*/ 42 w 188"/>
                  <a:gd name="T67" fmla="*/ 64 h 146"/>
                  <a:gd name="T68" fmla="*/ 50 w 188"/>
                  <a:gd name="T69" fmla="*/ 90 h 146"/>
                  <a:gd name="T70" fmla="*/ 74 w 188"/>
                  <a:gd name="T71" fmla="*/ 96 h 146"/>
                  <a:gd name="T72" fmla="*/ 96 w 188"/>
                  <a:gd name="T73" fmla="*/ 58 h 146"/>
                  <a:gd name="T74" fmla="*/ 92 w 188"/>
                  <a:gd name="T75" fmla="*/ 84 h 146"/>
                  <a:gd name="T76" fmla="*/ 58 w 188"/>
                  <a:gd name="T77" fmla="*/ 94 h 146"/>
                  <a:gd name="T78" fmla="*/ 60 w 188"/>
                  <a:gd name="T79" fmla="*/ 68 h 146"/>
                  <a:gd name="T80" fmla="*/ 48 w 188"/>
                  <a:gd name="T81" fmla="*/ 56 h 146"/>
                  <a:gd name="T82" fmla="*/ 88 w 188"/>
                  <a:gd name="T83" fmla="*/ 22 h 146"/>
                  <a:gd name="T84" fmla="*/ 92 w 188"/>
                  <a:gd name="T85" fmla="*/ 8 h 146"/>
                  <a:gd name="T86" fmla="*/ 70 w 188"/>
                  <a:gd name="T87" fmla="*/ 24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2 w 188"/>
                  <a:gd name="T99" fmla="*/ 132 h 146"/>
                  <a:gd name="T100" fmla="*/ 46 w 188"/>
                  <a:gd name="T101" fmla="*/ 144 h 146"/>
                  <a:gd name="T102" fmla="*/ 58 w 188"/>
                  <a:gd name="T103" fmla="*/ 120 h 146"/>
                  <a:gd name="T104" fmla="*/ 74 w 188"/>
                  <a:gd name="T105" fmla="*/ 144 h 146"/>
                  <a:gd name="T106" fmla="*/ 98 w 188"/>
                  <a:gd name="T107" fmla="*/ 134 h 146"/>
                  <a:gd name="T108" fmla="*/ 124 w 188"/>
                  <a:gd name="T109" fmla="*/ 124 h 146"/>
                  <a:gd name="T110" fmla="*/ 120 w 188"/>
                  <a:gd name="T111" fmla="*/ 96 h 146"/>
                  <a:gd name="T112" fmla="*/ 144 w 188"/>
                  <a:gd name="T113" fmla="*/ 100 h 146"/>
                  <a:gd name="T114" fmla="*/ 158 w 188"/>
                  <a:gd name="T115" fmla="*/ 92 h 146"/>
                  <a:gd name="T116" fmla="*/ 188 w 188"/>
                  <a:gd name="T117" fmla="*/ 46 h 146"/>
                  <a:gd name="T118" fmla="*/ 174 w 188"/>
                  <a:gd name="T119" fmla="*/ 24 h 146"/>
                  <a:gd name="T120" fmla="*/ 160 w 188"/>
                  <a:gd name="T121" fmla="*/ 30 h 146"/>
                  <a:gd name="T122" fmla="*/ 114 w 188"/>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6" y="124"/>
                    </a:moveTo>
                    <a:lnTo>
                      <a:pt x="106" y="124"/>
                    </a:lnTo>
                    <a:lnTo>
                      <a:pt x="118" y="104"/>
                    </a:lnTo>
                    <a:lnTo>
                      <a:pt x="118" y="104"/>
                    </a:lnTo>
                    <a:lnTo>
                      <a:pt x="118" y="104"/>
                    </a:lnTo>
                    <a:lnTo>
                      <a:pt x="118" y="104"/>
                    </a:lnTo>
                    <a:lnTo>
                      <a:pt x="118" y="104"/>
                    </a:lnTo>
                    <a:lnTo>
                      <a:pt x="118" y="104"/>
                    </a:lnTo>
                    <a:lnTo>
                      <a:pt x="120" y="112"/>
                    </a:lnTo>
                    <a:lnTo>
                      <a:pt x="120" y="112"/>
                    </a:lnTo>
                    <a:lnTo>
                      <a:pt x="122" y="128"/>
                    </a:lnTo>
                    <a:lnTo>
                      <a:pt x="122" y="128"/>
                    </a:lnTo>
                    <a:lnTo>
                      <a:pt x="120" y="130"/>
                    </a:lnTo>
                    <a:lnTo>
                      <a:pt x="120" y="130"/>
                    </a:lnTo>
                    <a:lnTo>
                      <a:pt x="114" y="130"/>
                    </a:lnTo>
                    <a:lnTo>
                      <a:pt x="114" y="130"/>
                    </a:lnTo>
                    <a:lnTo>
                      <a:pt x="114" y="130"/>
                    </a:lnTo>
                    <a:lnTo>
                      <a:pt x="114" y="130"/>
                    </a:lnTo>
                    <a:lnTo>
                      <a:pt x="110" y="130"/>
                    </a:lnTo>
                    <a:lnTo>
                      <a:pt x="110" y="130"/>
                    </a:lnTo>
                    <a:lnTo>
                      <a:pt x="104" y="130"/>
                    </a:lnTo>
                    <a:lnTo>
                      <a:pt x="104" y="130"/>
                    </a:lnTo>
                    <a:lnTo>
                      <a:pt x="106" y="12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8" y="140"/>
                    </a:lnTo>
                    <a:lnTo>
                      <a:pt x="88" y="140"/>
                    </a:lnTo>
                    <a:lnTo>
                      <a:pt x="84" y="142"/>
                    </a:lnTo>
                    <a:lnTo>
                      <a:pt x="80" y="142"/>
                    </a:lnTo>
                    <a:lnTo>
                      <a:pt x="80" y="142"/>
                    </a:lnTo>
                    <a:lnTo>
                      <a:pt x="78" y="142"/>
                    </a:lnTo>
                    <a:lnTo>
                      <a:pt x="78"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8" y="116"/>
                    </a:lnTo>
                    <a:lnTo>
                      <a:pt x="68"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8" y="34"/>
                    </a:lnTo>
                    <a:lnTo>
                      <a:pt x="58"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0" name="Freeform 1970"/>
              <p:cNvSpPr>
                <a:spLocks/>
              </p:cNvSpPr>
              <p:nvPr/>
            </p:nvSpPr>
            <p:spPr bwMode="auto">
              <a:xfrm>
                <a:off x="6278" y="516"/>
                <a:ext cx="18" cy="26"/>
              </a:xfrm>
              <a:custGeom>
                <a:avLst/>
                <a:gdLst>
                  <a:gd name="T0" fmla="*/ 2 w 18"/>
                  <a:gd name="T1" fmla="*/ 20 h 26"/>
                  <a:gd name="T2" fmla="*/ 2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2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2" y="20"/>
                    </a:moveTo>
                    <a:lnTo>
                      <a:pt x="2" y="20"/>
                    </a:lnTo>
                    <a:lnTo>
                      <a:pt x="14" y="0"/>
                    </a:lnTo>
                    <a:lnTo>
                      <a:pt x="14" y="0"/>
                    </a:lnTo>
                    <a:lnTo>
                      <a:pt x="14" y="0"/>
                    </a:ln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6" y="26"/>
                    </a:lnTo>
                    <a:lnTo>
                      <a:pt x="6" y="26"/>
                    </a:lnTo>
                    <a:lnTo>
                      <a:pt x="0" y="26"/>
                    </a:lnTo>
                    <a:lnTo>
                      <a:pt x="0" y="26"/>
                    </a:lnTo>
                    <a:lnTo>
                      <a:pt x="2"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1" name="Freeform 1971"/>
              <p:cNvSpPr>
                <a:spLocks/>
              </p:cNvSpPr>
              <p:nvPr/>
            </p:nvSpPr>
            <p:spPr bwMode="auto">
              <a:xfrm>
                <a:off x="6180" y="512"/>
                <a:ext cx="18" cy="22"/>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2" name="Freeform 1972"/>
              <p:cNvSpPr>
                <a:spLocks/>
              </p:cNvSpPr>
              <p:nvPr/>
            </p:nvSpPr>
            <p:spPr bwMode="auto">
              <a:xfrm>
                <a:off x="6176" y="462"/>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3" name="Freeform 1973"/>
              <p:cNvSpPr>
                <a:spLocks/>
              </p:cNvSpPr>
              <p:nvPr/>
            </p:nvSpPr>
            <p:spPr bwMode="auto">
              <a:xfrm>
                <a:off x="6190" y="416"/>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2 w 170"/>
                  <a:gd name="T57" fmla="*/ 136 h 138"/>
                  <a:gd name="T58" fmla="*/ 62 w 170"/>
                  <a:gd name="T59" fmla="*/ 138 h 138"/>
                  <a:gd name="T60" fmla="*/ 52 w 170"/>
                  <a:gd name="T61" fmla="*/ 122 h 138"/>
                  <a:gd name="T62" fmla="*/ 64 w 170"/>
                  <a:gd name="T63" fmla="*/ 114 h 138"/>
                  <a:gd name="T64" fmla="*/ 60 w 170"/>
                  <a:gd name="T65" fmla="*/ 112 h 138"/>
                  <a:gd name="T66" fmla="*/ 52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2" y="136"/>
                    </a:lnTo>
                    <a:lnTo>
                      <a:pt x="72" y="136"/>
                    </a:lnTo>
                    <a:lnTo>
                      <a:pt x="68" y="138"/>
                    </a:lnTo>
                    <a:lnTo>
                      <a:pt x="64" y="138"/>
                    </a:lnTo>
                    <a:lnTo>
                      <a:pt x="64" y="138"/>
                    </a:lnTo>
                    <a:lnTo>
                      <a:pt x="62" y="138"/>
                    </a:lnTo>
                    <a:lnTo>
                      <a:pt x="62"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2" y="112"/>
                    </a:lnTo>
                    <a:lnTo>
                      <a:pt x="52"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4" name="Freeform 1974"/>
              <p:cNvSpPr>
                <a:spLocks/>
              </p:cNvSpPr>
              <p:nvPr/>
            </p:nvSpPr>
            <p:spPr bwMode="auto">
              <a:xfrm>
                <a:off x="6174" y="412"/>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5" name="Freeform 1975"/>
              <p:cNvSpPr>
                <a:spLocks/>
              </p:cNvSpPr>
              <p:nvPr/>
            </p:nvSpPr>
            <p:spPr bwMode="auto">
              <a:xfrm>
                <a:off x="6180"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6" name="Freeform 1976"/>
              <p:cNvSpPr>
                <a:spLocks/>
              </p:cNvSpPr>
              <p:nvPr/>
            </p:nvSpPr>
            <p:spPr bwMode="auto">
              <a:xfrm>
                <a:off x="6180"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7" name="Freeform 1977"/>
              <p:cNvSpPr>
                <a:spLocks/>
              </p:cNvSpPr>
              <p:nvPr/>
            </p:nvSpPr>
            <p:spPr bwMode="auto">
              <a:xfrm>
                <a:off x="6180"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8" name="Freeform 1978"/>
              <p:cNvSpPr>
                <a:spLocks/>
              </p:cNvSpPr>
              <p:nvPr/>
            </p:nvSpPr>
            <p:spPr bwMode="auto">
              <a:xfrm>
                <a:off x="6180"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9" name="Freeform 1979"/>
              <p:cNvSpPr>
                <a:spLocks/>
              </p:cNvSpPr>
              <p:nvPr/>
            </p:nvSpPr>
            <p:spPr bwMode="auto">
              <a:xfrm>
                <a:off x="6278" y="516"/>
                <a:ext cx="16" cy="26"/>
              </a:xfrm>
              <a:custGeom>
                <a:avLst/>
                <a:gdLst>
                  <a:gd name="T0" fmla="*/ 14 w 16"/>
                  <a:gd name="T1" fmla="*/ 0 h 26"/>
                  <a:gd name="T2" fmla="*/ 14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4 h 26"/>
                  <a:gd name="T30" fmla="*/ 16 w 16"/>
                  <a:gd name="T31" fmla="*/ 24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2" y="20"/>
                    </a:lnTo>
                    <a:lnTo>
                      <a:pt x="2" y="20"/>
                    </a:lnTo>
                    <a:lnTo>
                      <a:pt x="0" y="26"/>
                    </a:lnTo>
                    <a:lnTo>
                      <a:pt x="0" y="26"/>
                    </a:lnTo>
                    <a:lnTo>
                      <a:pt x="6" y="26"/>
                    </a:lnTo>
                    <a:lnTo>
                      <a:pt x="6" y="26"/>
                    </a:lnTo>
                    <a:lnTo>
                      <a:pt x="10" y="26"/>
                    </a:lnTo>
                    <a:lnTo>
                      <a:pt x="10" y="26"/>
                    </a:lnTo>
                    <a:lnTo>
                      <a:pt x="10" y="26"/>
                    </a:lnTo>
                    <a:lnTo>
                      <a:pt x="10" y="26"/>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0" name="Freeform 1980"/>
              <p:cNvSpPr>
                <a:spLocks/>
              </p:cNvSpPr>
              <p:nvPr/>
            </p:nvSpPr>
            <p:spPr bwMode="auto">
              <a:xfrm>
                <a:off x="6278" y="516"/>
                <a:ext cx="16" cy="26"/>
              </a:xfrm>
              <a:custGeom>
                <a:avLst/>
                <a:gdLst>
                  <a:gd name="T0" fmla="*/ 14 w 16"/>
                  <a:gd name="T1" fmla="*/ 0 h 26"/>
                  <a:gd name="T2" fmla="*/ 14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4 h 26"/>
                  <a:gd name="T30" fmla="*/ 16 w 16"/>
                  <a:gd name="T31" fmla="*/ 24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2" y="20"/>
                    </a:lnTo>
                    <a:lnTo>
                      <a:pt x="2" y="20"/>
                    </a:lnTo>
                    <a:lnTo>
                      <a:pt x="0" y="26"/>
                    </a:lnTo>
                    <a:lnTo>
                      <a:pt x="0" y="26"/>
                    </a:lnTo>
                    <a:lnTo>
                      <a:pt x="6" y="26"/>
                    </a:lnTo>
                    <a:lnTo>
                      <a:pt x="6" y="26"/>
                    </a:lnTo>
                    <a:lnTo>
                      <a:pt x="10" y="26"/>
                    </a:lnTo>
                    <a:lnTo>
                      <a:pt x="10" y="26"/>
                    </a:lnTo>
                    <a:lnTo>
                      <a:pt x="10" y="26"/>
                    </a:lnTo>
                    <a:lnTo>
                      <a:pt x="10" y="26"/>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1" name="Freeform 1981"/>
              <p:cNvSpPr>
                <a:spLocks noEditPoints="1"/>
              </p:cNvSpPr>
              <p:nvPr/>
            </p:nvSpPr>
            <p:spPr bwMode="auto">
              <a:xfrm>
                <a:off x="6278" y="516"/>
                <a:ext cx="18" cy="26"/>
              </a:xfrm>
              <a:custGeom>
                <a:avLst/>
                <a:gdLst>
                  <a:gd name="T0" fmla="*/ 2 w 18"/>
                  <a:gd name="T1" fmla="*/ 20 h 26"/>
                  <a:gd name="T2" fmla="*/ 2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2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6 w 18"/>
                  <a:gd name="T31" fmla="*/ 24 h 26"/>
                  <a:gd name="T32" fmla="*/ 16 w 18"/>
                  <a:gd name="T33" fmla="*/ 24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4 h 26"/>
                  <a:gd name="T56" fmla="*/ 18 w 18"/>
                  <a:gd name="T57" fmla="*/ 24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2" y="20"/>
                    </a:moveTo>
                    <a:lnTo>
                      <a:pt x="2" y="20"/>
                    </a:lnTo>
                    <a:lnTo>
                      <a:pt x="0" y="26"/>
                    </a:lnTo>
                    <a:lnTo>
                      <a:pt x="0" y="26"/>
                    </a:lnTo>
                    <a:lnTo>
                      <a:pt x="6" y="26"/>
                    </a:lnTo>
                    <a:lnTo>
                      <a:pt x="6" y="26"/>
                    </a:lnTo>
                    <a:lnTo>
                      <a:pt x="0" y="26"/>
                    </a:lnTo>
                    <a:lnTo>
                      <a:pt x="0" y="26"/>
                    </a:lnTo>
                    <a:lnTo>
                      <a:pt x="2" y="20"/>
                    </a:lnTo>
                    <a:close/>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2" name="Freeform 1982"/>
              <p:cNvSpPr>
                <a:spLocks/>
              </p:cNvSpPr>
              <p:nvPr/>
            </p:nvSpPr>
            <p:spPr bwMode="auto">
              <a:xfrm>
                <a:off x="6278" y="536"/>
                <a:ext cx="6" cy="6"/>
              </a:xfrm>
              <a:custGeom>
                <a:avLst/>
                <a:gdLst>
                  <a:gd name="T0" fmla="*/ 2 w 6"/>
                  <a:gd name="T1" fmla="*/ 0 h 6"/>
                  <a:gd name="T2" fmla="*/ 2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2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0"/>
                    </a:moveTo>
                    <a:lnTo>
                      <a:pt x="2" y="0"/>
                    </a:lnTo>
                    <a:lnTo>
                      <a:pt x="0" y="6"/>
                    </a:lnTo>
                    <a:lnTo>
                      <a:pt x="0" y="6"/>
                    </a:lnTo>
                    <a:lnTo>
                      <a:pt x="6" y="6"/>
                    </a:lnTo>
                    <a:lnTo>
                      <a:pt x="6" y="6"/>
                    </a:lnTo>
                    <a:lnTo>
                      <a:pt x="0" y="6"/>
                    </a:lnTo>
                    <a:lnTo>
                      <a:pt x="0" y="6"/>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3" name="Freeform 1983"/>
              <p:cNvSpPr>
                <a:spLocks/>
              </p:cNvSpPr>
              <p:nvPr/>
            </p:nvSpPr>
            <p:spPr bwMode="auto">
              <a:xfrm>
                <a:off x="6288" y="516"/>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6 w 8"/>
                  <a:gd name="T13" fmla="*/ 24 h 26"/>
                  <a:gd name="T14" fmla="*/ 6 w 8"/>
                  <a:gd name="T15" fmla="*/ 24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4 h 26"/>
                  <a:gd name="T38" fmla="*/ 8 w 8"/>
                  <a:gd name="T39" fmla="*/ 24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6" y="24"/>
                    </a:lnTo>
                    <a:lnTo>
                      <a:pt x="6" y="24"/>
                    </a:lnTo>
                    <a:lnTo>
                      <a:pt x="6" y="26"/>
                    </a:lnTo>
                    <a:lnTo>
                      <a:pt x="6" y="26"/>
                    </a:lnTo>
                    <a:lnTo>
                      <a:pt x="0" y="26"/>
                    </a:lnTo>
                    <a:lnTo>
                      <a:pt x="0" y="26"/>
                    </a:lnTo>
                    <a:lnTo>
                      <a:pt x="0" y="26"/>
                    </a:lnTo>
                    <a:lnTo>
                      <a:pt x="0" y="26"/>
                    </a:lnTo>
                    <a:lnTo>
                      <a:pt x="0" y="26"/>
                    </a:lnTo>
                    <a:lnTo>
                      <a:pt x="0" y="26"/>
                    </a:lnTo>
                    <a:lnTo>
                      <a:pt x="6" y="26"/>
                    </a:lnTo>
                    <a:lnTo>
                      <a:pt x="6" y="26"/>
                    </a:lnTo>
                    <a:lnTo>
                      <a:pt x="8" y="24"/>
                    </a:lnTo>
                    <a:lnTo>
                      <a:pt x="8"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4" name="Freeform 1984"/>
              <p:cNvSpPr>
                <a:spLocks/>
              </p:cNvSpPr>
              <p:nvPr/>
            </p:nvSpPr>
            <p:spPr bwMode="auto">
              <a:xfrm>
                <a:off x="6176"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5" name="Freeform 1985"/>
              <p:cNvSpPr>
                <a:spLocks/>
              </p:cNvSpPr>
              <p:nvPr/>
            </p:nvSpPr>
            <p:spPr bwMode="auto">
              <a:xfrm>
                <a:off x="6176"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6" name="Freeform 1986"/>
              <p:cNvSpPr>
                <a:spLocks noEditPoints="1"/>
              </p:cNvSpPr>
              <p:nvPr/>
            </p:nvSpPr>
            <p:spPr bwMode="auto">
              <a:xfrm>
                <a:off x="6176" y="462"/>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7" name="Freeform 1987"/>
              <p:cNvSpPr>
                <a:spLocks/>
              </p:cNvSpPr>
              <p:nvPr/>
            </p:nvSpPr>
            <p:spPr bwMode="auto">
              <a:xfrm>
                <a:off x="6186"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8" name="Freeform 1988"/>
              <p:cNvSpPr>
                <a:spLocks/>
              </p:cNvSpPr>
              <p:nvPr/>
            </p:nvSpPr>
            <p:spPr bwMode="auto">
              <a:xfrm>
                <a:off x="6176" y="462"/>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9" name="Freeform 1989"/>
              <p:cNvSpPr>
                <a:spLocks noEditPoints="1"/>
              </p:cNvSpPr>
              <p:nvPr/>
            </p:nvSpPr>
            <p:spPr bwMode="auto">
              <a:xfrm>
                <a:off x="6292" y="450"/>
                <a:ext cx="18" cy="14"/>
              </a:xfrm>
              <a:custGeom>
                <a:avLst/>
                <a:gdLst>
                  <a:gd name="T0" fmla="*/ 6 w 18"/>
                  <a:gd name="T1" fmla="*/ 8 h 14"/>
                  <a:gd name="T2" fmla="*/ 6 w 18"/>
                  <a:gd name="T3" fmla="*/ 8 h 14"/>
                  <a:gd name="T4" fmla="*/ 6 w 18"/>
                  <a:gd name="T5" fmla="*/ 8 h 14"/>
                  <a:gd name="T6" fmla="*/ 6 w 18"/>
                  <a:gd name="T7" fmla="*/ 8 h 14"/>
                  <a:gd name="T8" fmla="*/ 10 w 18"/>
                  <a:gd name="T9" fmla="*/ 10 h 14"/>
                  <a:gd name="T10" fmla="*/ 10 w 18"/>
                  <a:gd name="T11" fmla="*/ 10 h 14"/>
                  <a:gd name="T12" fmla="*/ 10 w 18"/>
                  <a:gd name="T13" fmla="*/ 10 h 14"/>
                  <a:gd name="T14" fmla="*/ 10 w 18"/>
                  <a:gd name="T15" fmla="*/ 10 h 14"/>
                  <a:gd name="T16" fmla="*/ 10 w 18"/>
                  <a:gd name="T17" fmla="*/ 10 h 14"/>
                  <a:gd name="T18" fmla="*/ 10 w 18"/>
                  <a:gd name="T19" fmla="*/ 10 h 14"/>
                  <a:gd name="T20" fmla="*/ 6 w 18"/>
                  <a:gd name="T21" fmla="*/ 12 h 14"/>
                  <a:gd name="T22" fmla="*/ 6 w 18"/>
                  <a:gd name="T23" fmla="*/ 12 h 14"/>
                  <a:gd name="T24" fmla="*/ 4 w 18"/>
                  <a:gd name="T25" fmla="*/ 10 h 14"/>
                  <a:gd name="T26" fmla="*/ 4 w 18"/>
                  <a:gd name="T27" fmla="*/ 10 h 14"/>
                  <a:gd name="T28" fmla="*/ 6 w 18"/>
                  <a:gd name="T29" fmla="*/ 8 h 14"/>
                  <a:gd name="T30" fmla="*/ 6 w 18"/>
                  <a:gd name="T31" fmla="*/ 8 h 14"/>
                  <a:gd name="T32" fmla="*/ 6 w 18"/>
                  <a:gd name="T33" fmla="*/ 8 h 14"/>
                  <a:gd name="T34" fmla="*/ 14 w 18"/>
                  <a:gd name="T35" fmla="*/ 0 h 14"/>
                  <a:gd name="T36" fmla="*/ 14 w 18"/>
                  <a:gd name="T37" fmla="*/ 0 h 14"/>
                  <a:gd name="T38" fmla="*/ 6 w 18"/>
                  <a:gd name="T39" fmla="*/ 4 h 14"/>
                  <a:gd name="T40" fmla="*/ 0 w 18"/>
                  <a:gd name="T41" fmla="*/ 10 h 14"/>
                  <a:gd name="T42" fmla="*/ 0 w 18"/>
                  <a:gd name="T43" fmla="*/ 10 h 14"/>
                  <a:gd name="T44" fmla="*/ 2 w 18"/>
                  <a:gd name="T45" fmla="*/ 10 h 14"/>
                  <a:gd name="T46" fmla="*/ 2 w 18"/>
                  <a:gd name="T47" fmla="*/ 10 h 14"/>
                  <a:gd name="T48" fmla="*/ 6 w 18"/>
                  <a:gd name="T49" fmla="*/ 14 h 14"/>
                  <a:gd name="T50" fmla="*/ 6 w 18"/>
                  <a:gd name="T51" fmla="*/ 14 h 14"/>
                  <a:gd name="T52" fmla="*/ 18 w 18"/>
                  <a:gd name="T53" fmla="*/ 6 h 14"/>
                  <a:gd name="T54" fmla="*/ 18 w 18"/>
                  <a:gd name="T55" fmla="*/ 6 h 14"/>
                  <a:gd name="T56" fmla="*/ 14 w 18"/>
                  <a:gd name="T57" fmla="*/ 6 h 14"/>
                  <a:gd name="T58" fmla="*/ 14 w 18"/>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6" y="8"/>
                    </a:moveTo>
                    <a:lnTo>
                      <a:pt x="6" y="8"/>
                    </a:lnTo>
                    <a:lnTo>
                      <a:pt x="6" y="8"/>
                    </a:lnTo>
                    <a:lnTo>
                      <a:pt x="6" y="8"/>
                    </a:lnTo>
                    <a:lnTo>
                      <a:pt x="10" y="10"/>
                    </a:lnTo>
                    <a:lnTo>
                      <a:pt x="10" y="10"/>
                    </a:lnTo>
                    <a:lnTo>
                      <a:pt x="10" y="10"/>
                    </a:lnTo>
                    <a:lnTo>
                      <a:pt x="10" y="10"/>
                    </a:lnTo>
                    <a:lnTo>
                      <a:pt x="10" y="10"/>
                    </a:lnTo>
                    <a:lnTo>
                      <a:pt x="10" y="10"/>
                    </a:lnTo>
                    <a:lnTo>
                      <a:pt x="6" y="12"/>
                    </a:lnTo>
                    <a:lnTo>
                      <a:pt x="6" y="12"/>
                    </a:lnTo>
                    <a:lnTo>
                      <a:pt x="4" y="10"/>
                    </a:lnTo>
                    <a:lnTo>
                      <a:pt x="4" y="10"/>
                    </a:lnTo>
                    <a:lnTo>
                      <a:pt x="6" y="8"/>
                    </a:lnTo>
                    <a:lnTo>
                      <a:pt x="6" y="8"/>
                    </a:lnTo>
                    <a:lnTo>
                      <a:pt x="6"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0" name="Freeform 1990"/>
              <p:cNvSpPr>
                <a:spLocks/>
              </p:cNvSpPr>
              <p:nvPr/>
            </p:nvSpPr>
            <p:spPr bwMode="auto">
              <a:xfrm>
                <a:off x="6296" y="458"/>
                <a:ext cx="6" cy="4"/>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6" y="2"/>
                    </a:lnTo>
                    <a:lnTo>
                      <a:pt x="6" y="2"/>
                    </a:lnTo>
                    <a:lnTo>
                      <a:pt x="6" y="2"/>
                    </a:lnTo>
                    <a:lnTo>
                      <a:pt x="6" y="2"/>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1" name="Freeform 1991"/>
              <p:cNvSpPr>
                <a:spLocks/>
              </p:cNvSpPr>
              <p:nvPr/>
            </p:nvSpPr>
            <p:spPr bwMode="auto">
              <a:xfrm>
                <a:off x="6292"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2" name="Freeform 1992"/>
              <p:cNvSpPr>
                <a:spLocks/>
              </p:cNvSpPr>
              <p:nvPr/>
            </p:nvSpPr>
            <p:spPr bwMode="auto">
              <a:xfrm>
                <a:off x="6244"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3" name="Freeform 1993"/>
              <p:cNvSpPr>
                <a:spLocks/>
              </p:cNvSpPr>
              <p:nvPr/>
            </p:nvSpPr>
            <p:spPr bwMode="auto">
              <a:xfrm>
                <a:off x="6244"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4" name="Freeform 1994"/>
              <p:cNvSpPr>
                <a:spLocks/>
              </p:cNvSpPr>
              <p:nvPr/>
            </p:nvSpPr>
            <p:spPr bwMode="auto">
              <a:xfrm>
                <a:off x="6340"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5" name="Freeform 1995"/>
              <p:cNvSpPr>
                <a:spLocks/>
              </p:cNvSpPr>
              <p:nvPr/>
            </p:nvSpPr>
            <p:spPr bwMode="auto">
              <a:xfrm>
                <a:off x="6340"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6" name="Freeform 1996"/>
              <p:cNvSpPr>
                <a:spLocks/>
              </p:cNvSpPr>
              <p:nvPr/>
            </p:nvSpPr>
            <p:spPr bwMode="auto">
              <a:xfrm>
                <a:off x="6286"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7" name="Freeform 1997"/>
              <p:cNvSpPr>
                <a:spLocks/>
              </p:cNvSpPr>
              <p:nvPr/>
            </p:nvSpPr>
            <p:spPr bwMode="auto">
              <a:xfrm>
                <a:off x="6286"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8" name="Freeform 1998"/>
              <p:cNvSpPr>
                <a:spLocks/>
              </p:cNvSpPr>
              <p:nvPr/>
            </p:nvSpPr>
            <p:spPr bwMode="auto">
              <a:xfrm>
                <a:off x="6300"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9" name="Freeform 1999"/>
              <p:cNvSpPr>
                <a:spLocks/>
              </p:cNvSpPr>
              <p:nvPr/>
            </p:nvSpPr>
            <p:spPr bwMode="auto">
              <a:xfrm>
                <a:off x="6300"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0" name="Freeform 2000"/>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1" name="Freeform 2001"/>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2" name="Freeform 2002"/>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0" y="2"/>
                    </a:lnTo>
                    <a:lnTo>
                      <a:pt x="0" y="2"/>
                    </a:lnTo>
                    <a:lnTo>
                      <a:pt x="2" y="4"/>
                    </a:lnTo>
                    <a:lnTo>
                      <a:pt x="2" y="4"/>
                    </a:lnTo>
                    <a:lnTo>
                      <a:pt x="6" y="2"/>
                    </a:lnTo>
                    <a:lnTo>
                      <a:pt x="6" y="2"/>
                    </a:lnTo>
                    <a:lnTo>
                      <a:pt x="6" y="2"/>
                    </a:lnTo>
                    <a:lnTo>
                      <a:pt x="6" y="2"/>
                    </a:lnTo>
                    <a:lnTo>
                      <a:pt x="2" y="4"/>
                    </a:lnTo>
                    <a:lnTo>
                      <a:pt x="2" y="4"/>
                    </a:lnTo>
                    <a:lnTo>
                      <a:pt x="0" y="2"/>
                    </a:lnTo>
                    <a:lnTo>
                      <a:pt x="0" y="2"/>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3" name="Freeform 2003"/>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0" y="2"/>
                    </a:lnTo>
                    <a:lnTo>
                      <a:pt x="0" y="2"/>
                    </a:lnTo>
                    <a:lnTo>
                      <a:pt x="2" y="4"/>
                    </a:lnTo>
                    <a:lnTo>
                      <a:pt x="2" y="4"/>
                    </a:lnTo>
                    <a:lnTo>
                      <a:pt x="6" y="2"/>
                    </a:lnTo>
                    <a:lnTo>
                      <a:pt x="6" y="2"/>
                    </a:lnTo>
                    <a:lnTo>
                      <a:pt x="6" y="2"/>
                    </a:lnTo>
                    <a:lnTo>
                      <a:pt x="6" y="2"/>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4" name="Freeform 2004"/>
              <p:cNvSpPr>
                <a:spLocks/>
              </p:cNvSpPr>
              <p:nvPr/>
            </p:nvSpPr>
            <p:spPr bwMode="auto">
              <a:xfrm>
                <a:off x="682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5" name="Freeform 2005"/>
              <p:cNvSpPr>
                <a:spLocks/>
              </p:cNvSpPr>
              <p:nvPr/>
            </p:nvSpPr>
            <p:spPr bwMode="auto">
              <a:xfrm>
                <a:off x="705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6" name="Freeform 2006"/>
              <p:cNvSpPr>
                <a:spLocks/>
              </p:cNvSpPr>
              <p:nvPr/>
            </p:nvSpPr>
            <p:spPr bwMode="auto">
              <a:xfrm>
                <a:off x="715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7" name="Freeform 2007"/>
              <p:cNvSpPr>
                <a:spLocks/>
              </p:cNvSpPr>
              <p:nvPr/>
            </p:nvSpPr>
            <p:spPr bwMode="auto">
              <a:xfrm>
                <a:off x="724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8" name="Freeform 2008"/>
              <p:cNvSpPr>
                <a:spLocks/>
              </p:cNvSpPr>
              <p:nvPr/>
            </p:nvSpPr>
            <p:spPr bwMode="auto">
              <a:xfrm>
                <a:off x="6912" y="414"/>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9" name="Freeform 2009"/>
              <p:cNvSpPr>
                <a:spLocks/>
              </p:cNvSpPr>
              <p:nvPr/>
            </p:nvSpPr>
            <p:spPr bwMode="auto">
              <a:xfrm>
                <a:off x="6912" y="414"/>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0" name="Freeform 2010"/>
              <p:cNvSpPr>
                <a:spLocks/>
              </p:cNvSpPr>
              <p:nvPr/>
            </p:nvSpPr>
            <p:spPr bwMode="auto">
              <a:xfrm>
                <a:off x="6972" y="414"/>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1" name="Freeform 2011"/>
              <p:cNvSpPr>
                <a:spLocks/>
              </p:cNvSpPr>
              <p:nvPr/>
            </p:nvSpPr>
            <p:spPr bwMode="auto">
              <a:xfrm>
                <a:off x="6972" y="414"/>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2" name="Freeform 2012"/>
              <p:cNvSpPr>
                <a:spLocks noEditPoints="1"/>
              </p:cNvSpPr>
              <p:nvPr/>
            </p:nvSpPr>
            <p:spPr bwMode="auto">
              <a:xfrm>
                <a:off x="7332" y="410"/>
                <a:ext cx="100" cy="150"/>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3" name="Freeform 2013"/>
              <p:cNvSpPr>
                <a:spLocks noEditPoints="1"/>
              </p:cNvSpPr>
              <p:nvPr/>
            </p:nvSpPr>
            <p:spPr bwMode="auto">
              <a:xfrm>
                <a:off x="7470" y="410"/>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873" name="Freeform 2015"/>
            <p:cNvSpPr>
              <a:spLocks/>
            </p:cNvSpPr>
            <p:nvPr/>
          </p:nvSpPr>
          <p:spPr bwMode="auto">
            <a:xfrm>
              <a:off x="6076928"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4" name="Freeform 2016"/>
            <p:cNvSpPr>
              <a:spLocks/>
            </p:cNvSpPr>
            <p:nvPr/>
          </p:nvSpPr>
          <p:spPr bwMode="auto">
            <a:xfrm>
              <a:off x="6226153"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5" name="Freeform 2017"/>
            <p:cNvSpPr>
              <a:spLocks/>
            </p:cNvSpPr>
            <p:nvPr/>
          </p:nvSpPr>
          <p:spPr bwMode="auto">
            <a:xfrm>
              <a:off x="6375377" y="64135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6" name="Freeform 2018"/>
            <p:cNvSpPr>
              <a:spLocks noEditPoints="1"/>
            </p:cNvSpPr>
            <p:nvPr/>
          </p:nvSpPr>
          <p:spPr bwMode="auto">
            <a:xfrm>
              <a:off x="6521426" y="63182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7" name="Freeform 2019"/>
            <p:cNvSpPr>
              <a:spLocks noEditPoints="1"/>
            </p:cNvSpPr>
            <p:nvPr/>
          </p:nvSpPr>
          <p:spPr bwMode="auto">
            <a:xfrm>
              <a:off x="6740501" y="631825"/>
              <a:ext cx="158749"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8" name="Freeform 2020"/>
            <p:cNvSpPr>
              <a:spLocks noEditPoints="1"/>
            </p:cNvSpPr>
            <p:nvPr/>
          </p:nvSpPr>
          <p:spPr bwMode="auto">
            <a:xfrm>
              <a:off x="7404073" y="631825"/>
              <a:ext cx="155574"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9" name="Freeform 2021"/>
            <p:cNvSpPr>
              <a:spLocks noEditPoints="1"/>
            </p:cNvSpPr>
            <p:nvPr/>
          </p:nvSpPr>
          <p:spPr bwMode="auto">
            <a:xfrm>
              <a:off x="7769197" y="631825"/>
              <a:ext cx="158749"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0" name="Freeform 2022"/>
            <p:cNvSpPr>
              <a:spLocks/>
            </p:cNvSpPr>
            <p:nvPr/>
          </p:nvSpPr>
          <p:spPr bwMode="auto">
            <a:xfrm>
              <a:off x="7623147" y="641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1" name="Freeform 2023"/>
            <p:cNvSpPr>
              <a:spLocks noEditPoints="1"/>
            </p:cNvSpPr>
            <p:nvPr/>
          </p:nvSpPr>
          <p:spPr bwMode="auto">
            <a:xfrm>
              <a:off x="7991447" y="631825"/>
              <a:ext cx="155574"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2" name="Freeform 2024"/>
            <p:cNvSpPr>
              <a:spLocks/>
            </p:cNvSpPr>
            <p:nvPr/>
          </p:nvSpPr>
          <p:spPr bwMode="auto">
            <a:xfrm>
              <a:off x="8210520" y="638175"/>
              <a:ext cx="76199"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3" name="Freeform 2025"/>
            <p:cNvSpPr>
              <a:spLocks/>
            </p:cNvSpPr>
            <p:nvPr/>
          </p:nvSpPr>
          <p:spPr bwMode="auto">
            <a:xfrm>
              <a:off x="8210520" y="638175"/>
              <a:ext cx="76199"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4" name="Freeform 2026"/>
            <p:cNvSpPr>
              <a:spLocks/>
            </p:cNvSpPr>
            <p:nvPr/>
          </p:nvSpPr>
          <p:spPr bwMode="auto">
            <a:xfrm>
              <a:off x="8308944" y="638175"/>
              <a:ext cx="76199"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5" name="Freeform 2027"/>
            <p:cNvSpPr>
              <a:spLocks/>
            </p:cNvSpPr>
            <p:nvPr/>
          </p:nvSpPr>
          <p:spPr bwMode="auto">
            <a:xfrm>
              <a:off x="8308944" y="638175"/>
              <a:ext cx="76199"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6" name="Freeform 2028"/>
            <p:cNvSpPr>
              <a:spLocks noEditPoints="1"/>
            </p:cNvSpPr>
            <p:nvPr/>
          </p:nvSpPr>
          <p:spPr bwMode="auto">
            <a:xfrm>
              <a:off x="8683593" y="63182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7" name="Freeform 2029"/>
            <p:cNvSpPr>
              <a:spLocks/>
            </p:cNvSpPr>
            <p:nvPr/>
          </p:nvSpPr>
          <p:spPr bwMode="auto">
            <a:xfrm>
              <a:off x="8902668"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8" name="Freeform 2030"/>
            <p:cNvSpPr>
              <a:spLocks noEditPoints="1"/>
            </p:cNvSpPr>
            <p:nvPr/>
          </p:nvSpPr>
          <p:spPr bwMode="auto">
            <a:xfrm>
              <a:off x="8448644" y="644525"/>
              <a:ext cx="171450"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9" name="Freeform 2031"/>
            <p:cNvSpPr>
              <a:spLocks/>
            </p:cNvSpPr>
            <p:nvPr/>
          </p:nvSpPr>
          <p:spPr bwMode="auto">
            <a:xfrm>
              <a:off x="8515319" y="739775"/>
              <a:ext cx="34925"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0" name="Freeform 2032"/>
            <p:cNvSpPr>
              <a:spLocks/>
            </p:cNvSpPr>
            <p:nvPr/>
          </p:nvSpPr>
          <p:spPr bwMode="auto">
            <a:xfrm>
              <a:off x="8448644" y="644525"/>
              <a:ext cx="171450"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1" name="Freeform 2033"/>
            <p:cNvSpPr>
              <a:spLocks/>
            </p:cNvSpPr>
            <p:nvPr/>
          </p:nvSpPr>
          <p:spPr bwMode="auto">
            <a:xfrm>
              <a:off x="6962749" y="641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2" name="Freeform 2034"/>
            <p:cNvSpPr>
              <a:spLocks/>
            </p:cNvSpPr>
            <p:nvPr/>
          </p:nvSpPr>
          <p:spPr bwMode="auto">
            <a:xfrm>
              <a:off x="7108800"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3" name="Freeform 2035"/>
            <p:cNvSpPr>
              <a:spLocks/>
            </p:cNvSpPr>
            <p:nvPr/>
          </p:nvSpPr>
          <p:spPr bwMode="auto">
            <a:xfrm>
              <a:off x="7258023" y="64135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4" name="Freeform 2036"/>
            <p:cNvSpPr>
              <a:spLocks/>
            </p:cNvSpPr>
            <p:nvPr/>
          </p:nvSpPr>
          <p:spPr bwMode="auto">
            <a:xfrm>
              <a:off x="7899372"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5" name="Freeform 2037"/>
            <p:cNvSpPr>
              <a:spLocks/>
            </p:cNvSpPr>
            <p:nvPr/>
          </p:nvSpPr>
          <p:spPr bwMode="auto">
            <a:xfrm>
              <a:off x="8045421"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6" name="Freeform 2038"/>
            <p:cNvSpPr>
              <a:spLocks/>
            </p:cNvSpPr>
            <p:nvPr/>
          </p:nvSpPr>
          <p:spPr bwMode="auto">
            <a:xfrm>
              <a:off x="8191470" y="34290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7" name="Freeform 2039"/>
            <p:cNvSpPr>
              <a:spLocks/>
            </p:cNvSpPr>
            <p:nvPr/>
          </p:nvSpPr>
          <p:spPr bwMode="auto">
            <a:xfrm>
              <a:off x="8331170" y="342900"/>
              <a:ext cx="85724"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8" name="Freeform 2040"/>
            <p:cNvSpPr>
              <a:spLocks/>
            </p:cNvSpPr>
            <p:nvPr/>
          </p:nvSpPr>
          <p:spPr bwMode="auto">
            <a:xfrm>
              <a:off x="871216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9" name="Freeform 2041"/>
            <p:cNvSpPr>
              <a:spLocks/>
            </p:cNvSpPr>
            <p:nvPr/>
          </p:nvSpPr>
          <p:spPr bwMode="auto">
            <a:xfrm>
              <a:off x="8858218"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0" name="Freeform 2042"/>
            <p:cNvSpPr>
              <a:spLocks/>
            </p:cNvSpPr>
            <p:nvPr/>
          </p:nvSpPr>
          <p:spPr bwMode="auto">
            <a:xfrm>
              <a:off x="8477220" y="339725"/>
              <a:ext cx="76199"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1" name="Freeform 2043"/>
            <p:cNvSpPr>
              <a:spLocks/>
            </p:cNvSpPr>
            <p:nvPr/>
          </p:nvSpPr>
          <p:spPr bwMode="auto">
            <a:xfrm>
              <a:off x="8477220" y="339725"/>
              <a:ext cx="76199"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2" name="Freeform 2044"/>
            <p:cNvSpPr>
              <a:spLocks/>
            </p:cNvSpPr>
            <p:nvPr/>
          </p:nvSpPr>
          <p:spPr bwMode="auto">
            <a:xfrm>
              <a:off x="8575644" y="339725"/>
              <a:ext cx="73025"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3" name="Freeform 2045"/>
            <p:cNvSpPr>
              <a:spLocks/>
            </p:cNvSpPr>
            <p:nvPr/>
          </p:nvSpPr>
          <p:spPr bwMode="auto">
            <a:xfrm>
              <a:off x="8575644" y="339725"/>
              <a:ext cx="73025"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4" name="Freeform 2046"/>
            <p:cNvSpPr>
              <a:spLocks noEditPoints="1"/>
            </p:cNvSpPr>
            <p:nvPr/>
          </p:nvSpPr>
          <p:spPr bwMode="auto">
            <a:xfrm>
              <a:off x="6664301" y="33337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5" name="Freeform 2047"/>
            <p:cNvSpPr>
              <a:spLocks noEditPoints="1"/>
            </p:cNvSpPr>
            <p:nvPr/>
          </p:nvSpPr>
          <p:spPr bwMode="auto">
            <a:xfrm>
              <a:off x="6883375" y="333375"/>
              <a:ext cx="155574"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6" name="Freeform 2048"/>
            <p:cNvSpPr>
              <a:spLocks noEditPoints="1"/>
            </p:cNvSpPr>
            <p:nvPr/>
          </p:nvSpPr>
          <p:spPr bwMode="auto">
            <a:xfrm>
              <a:off x="7537423" y="333375"/>
              <a:ext cx="155574"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7" name="Freeform 2049"/>
            <p:cNvSpPr>
              <a:spLocks/>
            </p:cNvSpPr>
            <p:nvPr/>
          </p:nvSpPr>
          <p:spPr bwMode="auto">
            <a:xfrm>
              <a:off x="7753322" y="34290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8" name="Freeform 2050"/>
            <p:cNvSpPr>
              <a:spLocks/>
            </p:cNvSpPr>
            <p:nvPr/>
          </p:nvSpPr>
          <p:spPr bwMode="auto">
            <a:xfrm>
              <a:off x="710244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9" name="Freeform 2051"/>
            <p:cNvSpPr>
              <a:spLocks/>
            </p:cNvSpPr>
            <p:nvPr/>
          </p:nvSpPr>
          <p:spPr bwMode="auto">
            <a:xfrm>
              <a:off x="724849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0" name="Freeform 2052"/>
            <p:cNvSpPr>
              <a:spLocks/>
            </p:cNvSpPr>
            <p:nvPr/>
          </p:nvSpPr>
          <p:spPr bwMode="auto">
            <a:xfrm>
              <a:off x="7394548" y="34290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1" name="Freeform 2053"/>
            <p:cNvSpPr>
              <a:spLocks noEditPoints="1"/>
            </p:cNvSpPr>
            <p:nvPr/>
          </p:nvSpPr>
          <p:spPr bwMode="auto">
            <a:xfrm>
              <a:off x="6048352" y="333375"/>
              <a:ext cx="155574"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2" name="Freeform 2054"/>
            <p:cNvSpPr>
              <a:spLocks/>
            </p:cNvSpPr>
            <p:nvPr/>
          </p:nvSpPr>
          <p:spPr bwMode="auto">
            <a:xfrm>
              <a:off x="6229327"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3" name="Freeform 2055"/>
            <p:cNvSpPr>
              <a:spLocks/>
            </p:cNvSpPr>
            <p:nvPr/>
          </p:nvSpPr>
          <p:spPr bwMode="auto">
            <a:xfrm>
              <a:off x="6375376"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4" name="Freeform 2056"/>
            <p:cNvSpPr>
              <a:spLocks/>
            </p:cNvSpPr>
            <p:nvPr/>
          </p:nvSpPr>
          <p:spPr bwMode="auto">
            <a:xfrm>
              <a:off x="6521425" y="342900"/>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5" name="Freeform 2057"/>
            <p:cNvSpPr>
              <a:spLocks noEditPoints="1"/>
            </p:cNvSpPr>
            <p:nvPr/>
          </p:nvSpPr>
          <p:spPr bwMode="auto">
            <a:xfrm>
              <a:off x="6264252" y="0"/>
              <a:ext cx="155574"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6" name="Freeform 2058"/>
            <p:cNvSpPr>
              <a:spLocks/>
            </p:cNvSpPr>
            <p:nvPr/>
          </p:nvSpPr>
          <p:spPr bwMode="auto">
            <a:xfrm>
              <a:off x="6483326"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7" name="Freeform 2059"/>
            <p:cNvSpPr>
              <a:spLocks/>
            </p:cNvSpPr>
            <p:nvPr/>
          </p:nvSpPr>
          <p:spPr bwMode="auto">
            <a:xfrm>
              <a:off x="6632551" y="952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8" name="Freeform 2060"/>
            <p:cNvSpPr>
              <a:spLocks/>
            </p:cNvSpPr>
            <p:nvPr/>
          </p:nvSpPr>
          <p:spPr bwMode="auto">
            <a:xfrm>
              <a:off x="6778600"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9" name="Freeform 2061"/>
            <p:cNvSpPr>
              <a:spLocks/>
            </p:cNvSpPr>
            <p:nvPr/>
          </p:nvSpPr>
          <p:spPr bwMode="auto">
            <a:xfrm>
              <a:off x="6921474"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0" name="Freeform 2062"/>
            <p:cNvSpPr>
              <a:spLocks/>
            </p:cNvSpPr>
            <p:nvPr/>
          </p:nvSpPr>
          <p:spPr bwMode="auto">
            <a:xfrm>
              <a:off x="7305648"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1" name="Freeform 2063"/>
            <p:cNvSpPr>
              <a:spLocks/>
            </p:cNvSpPr>
            <p:nvPr/>
          </p:nvSpPr>
          <p:spPr bwMode="auto">
            <a:xfrm>
              <a:off x="7451697"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2" name="Freeform 2064"/>
            <p:cNvSpPr>
              <a:spLocks/>
            </p:cNvSpPr>
            <p:nvPr/>
          </p:nvSpPr>
          <p:spPr bwMode="auto">
            <a:xfrm>
              <a:off x="7600922"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3" name="Freeform 2065"/>
            <p:cNvSpPr>
              <a:spLocks/>
            </p:cNvSpPr>
            <p:nvPr/>
          </p:nvSpPr>
          <p:spPr bwMode="auto">
            <a:xfrm>
              <a:off x="7750146"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924"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4824" y="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 name="Freeform 2067"/>
            <p:cNvSpPr>
              <a:spLocks/>
            </p:cNvSpPr>
            <p:nvPr/>
          </p:nvSpPr>
          <p:spPr bwMode="auto">
            <a:xfrm>
              <a:off x="7165949"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6" name="Freeform 2068"/>
            <p:cNvSpPr>
              <a:spLocks/>
            </p:cNvSpPr>
            <p:nvPr/>
          </p:nvSpPr>
          <p:spPr bwMode="auto">
            <a:xfrm>
              <a:off x="7165949"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7" name="Freeform 2069"/>
            <p:cNvSpPr>
              <a:spLocks/>
            </p:cNvSpPr>
            <p:nvPr/>
          </p:nvSpPr>
          <p:spPr bwMode="auto">
            <a:xfrm>
              <a:off x="8258144" y="635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8" name="Freeform 2070"/>
            <p:cNvSpPr>
              <a:spLocks/>
            </p:cNvSpPr>
            <p:nvPr/>
          </p:nvSpPr>
          <p:spPr bwMode="auto">
            <a:xfrm>
              <a:off x="8258144" y="635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9" name="Freeform 2071"/>
            <p:cNvSpPr>
              <a:spLocks/>
            </p:cNvSpPr>
            <p:nvPr/>
          </p:nvSpPr>
          <p:spPr bwMode="auto">
            <a:xfrm>
              <a:off x="8353394"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0" name="Freeform 2072"/>
            <p:cNvSpPr>
              <a:spLocks/>
            </p:cNvSpPr>
            <p:nvPr/>
          </p:nvSpPr>
          <p:spPr bwMode="auto">
            <a:xfrm>
              <a:off x="8353394"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1" name="Freeform 2073"/>
            <p:cNvSpPr>
              <a:spLocks/>
            </p:cNvSpPr>
            <p:nvPr/>
          </p:nvSpPr>
          <p:spPr bwMode="auto">
            <a:xfrm>
              <a:off x="8493093"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2" name="Freeform 2074"/>
            <p:cNvSpPr>
              <a:spLocks/>
            </p:cNvSpPr>
            <p:nvPr/>
          </p:nvSpPr>
          <p:spPr bwMode="auto">
            <a:xfrm>
              <a:off x="8639143"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3" name="Freeform 2075"/>
            <p:cNvSpPr>
              <a:spLocks/>
            </p:cNvSpPr>
            <p:nvPr/>
          </p:nvSpPr>
          <p:spPr bwMode="auto">
            <a:xfrm>
              <a:off x="8785192"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4" name="Freeform 2076"/>
            <p:cNvSpPr>
              <a:spLocks/>
            </p:cNvSpPr>
            <p:nvPr/>
          </p:nvSpPr>
          <p:spPr bwMode="auto">
            <a:xfrm>
              <a:off x="9166191"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5" name="Freeform 2077"/>
            <p:cNvSpPr>
              <a:spLocks/>
            </p:cNvSpPr>
            <p:nvPr/>
          </p:nvSpPr>
          <p:spPr bwMode="auto">
            <a:xfrm>
              <a:off x="9312241"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6" name="Freeform 2078"/>
            <p:cNvSpPr>
              <a:spLocks/>
            </p:cNvSpPr>
            <p:nvPr/>
          </p:nvSpPr>
          <p:spPr bwMode="auto">
            <a:xfrm>
              <a:off x="9461465"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7" name="Freeform 2079"/>
            <p:cNvSpPr>
              <a:spLocks noEditPoints="1"/>
            </p:cNvSpPr>
            <p:nvPr/>
          </p:nvSpPr>
          <p:spPr bwMode="auto">
            <a:xfrm>
              <a:off x="9607515" y="0"/>
              <a:ext cx="155574"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8" name="Freeform 2080"/>
            <p:cNvSpPr>
              <a:spLocks noEditPoints="1"/>
            </p:cNvSpPr>
            <p:nvPr/>
          </p:nvSpPr>
          <p:spPr bwMode="auto">
            <a:xfrm>
              <a:off x="9826588" y="0"/>
              <a:ext cx="158749"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9" name="Freeform 2081"/>
            <p:cNvSpPr>
              <a:spLocks/>
            </p:cNvSpPr>
            <p:nvPr/>
          </p:nvSpPr>
          <p:spPr bwMode="auto">
            <a:xfrm>
              <a:off x="8931241" y="6350"/>
              <a:ext cx="76199"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0" name="Freeform 2082"/>
            <p:cNvSpPr>
              <a:spLocks/>
            </p:cNvSpPr>
            <p:nvPr/>
          </p:nvSpPr>
          <p:spPr bwMode="auto">
            <a:xfrm>
              <a:off x="8931241" y="6350"/>
              <a:ext cx="76199"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1" name="Freeform 2083"/>
            <p:cNvSpPr>
              <a:spLocks/>
            </p:cNvSpPr>
            <p:nvPr/>
          </p:nvSpPr>
          <p:spPr bwMode="auto">
            <a:xfrm>
              <a:off x="9026491"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2" name="Freeform 2084"/>
            <p:cNvSpPr>
              <a:spLocks/>
            </p:cNvSpPr>
            <p:nvPr/>
          </p:nvSpPr>
          <p:spPr bwMode="auto">
            <a:xfrm>
              <a:off x="9026491"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3" name="Freeform 2085"/>
            <p:cNvSpPr>
              <a:spLocks noEditPoints="1"/>
            </p:cNvSpPr>
            <p:nvPr/>
          </p:nvSpPr>
          <p:spPr bwMode="auto">
            <a:xfrm>
              <a:off x="10490161" y="0"/>
              <a:ext cx="155574"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4" name="Freeform 2086"/>
            <p:cNvSpPr>
              <a:spLocks noEditPoints="1"/>
            </p:cNvSpPr>
            <p:nvPr/>
          </p:nvSpPr>
          <p:spPr bwMode="auto">
            <a:xfrm>
              <a:off x="10855284" y="0"/>
              <a:ext cx="158749"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5" name="Freeform 2087"/>
            <p:cNvSpPr>
              <a:spLocks/>
            </p:cNvSpPr>
            <p:nvPr/>
          </p:nvSpPr>
          <p:spPr bwMode="auto">
            <a:xfrm>
              <a:off x="10709235"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6" name="Freeform 2088"/>
            <p:cNvSpPr>
              <a:spLocks noEditPoints="1"/>
            </p:cNvSpPr>
            <p:nvPr/>
          </p:nvSpPr>
          <p:spPr bwMode="auto">
            <a:xfrm>
              <a:off x="11074359" y="0"/>
              <a:ext cx="158749"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7" name="Freeform 2089"/>
            <p:cNvSpPr>
              <a:spLocks/>
            </p:cNvSpPr>
            <p:nvPr/>
          </p:nvSpPr>
          <p:spPr bwMode="auto">
            <a:xfrm>
              <a:off x="11296608" y="6350"/>
              <a:ext cx="76199"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8" name="Freeform 2090"/>
            <p:cNvSpPr>
              <a:spLocks/>
            </p:cNvSpPr>
            <p:nvPr/>
          </p:nvSpPr>
          <p:spPr bwMode="auto">
            <a:xfrm>
              <a:off x="11296608" y="6350"/>
              <a:ext cx="76199"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9" name="Freeform 2091"/>
            <p:cNvSpPr>
              <a:spLocks/>
            </p:cNvSpPr>
            <p:nvPr/>
          </p:nvSpPr>
          <p:spPr bwMode="auto">
            <a:xfrm>
              <a:off x="11391858"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0" name="Freeform 2092"/>
            <p:cNvSpPr>
              <a:spLocks/>
            </p:cNvSpPr>
            <p:nvPr/>
          </p:nvSpPr>
          <p:spPr bwMode="auto">
            <a:xfrm>
              <a:off x="11391858"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1" name="Freeform 2093"/>
            <p:cNvSpPr>
              <a:spLocks noEditPoints="1"/>
            </p:cNvSpPr>
            <p:nvPr/>
          </p:nvSpPr>
          <p:spPr bwMode="auto">
            <a:xfrm>
              <a:off x="11766506" y="0"/>
              <a:ext cx="158749"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2" name="Freeform 2094"/>
            <p:cNvSpPr>
              <a:spLocks/>
            </p:cNvSpPr>
            <p:nvPr/>
          </p:nvSpPr>
          <p:spPr bwMode="auto">
            <a:xfrm>
              <a:off x="11976055"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3" name="Freeform 2095"/>
            <p:cNvSpPr>
              <a:spLocks noEditPoints="1"/>
            </p:cNvSpPr>
            <p:nvPr/>
          </p:nvSpPr>
          <p:spPr bwMode="auto">
            <a:xfrm>
              <a:off x="11531557" y="12700"/>
              <a:ext cx="171450"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4" name="Freeform 2096"/>
            <p:cNvSpPr>
              <a:spLocks/>
            </p:cNvSpPr>
            <p:nvPr/>
          </p:nvSpPr>
          <p:spPr bwMode="auto">
            <a:xfrm>
              <a:off x="11601406" y="10477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5" name="Freeform 2097"/>
            <p:cNvSpPr>
              <a:spLocks/>
            </p:cNvSpPr>
            <p:nvPr/>
          </p:nvSpPr>
          <p:spPr bwMode="auto">
            <a:xfrm>
              <a:off x="11531558" y="1270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6" name="Freeform 2098"/>
            <p:cNvSpPr>
              <a:spLocks noEditPoints="1"/>
            </p:cNvSpPr>
            <p:nvPr/>
          </p:nvSpPr>
          <p:spPr bwMode="auto">
            <a:xfrm>
              <a:off x="7893021" y="3175"/>
              <a:ext cx="298449"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7" name="Freeform 2099"/>
            <p:cNvSpPr>
              <a:spLocks/>
            </p:cNvSpPr>
            <p:nvPr/>
          </p:nvSpPr>
          <p:spPr bwMode="auto">
            <a:xfrm>
              <a:off x="8058121" y="165100"/>
              <a:ext cx="28574"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8" name="Freeform 2100"/>
            <p:cNvSpPr>
              <a:spLocks/>
            </p:cNvSpPr>
            <p:nvPr/>
          </p:nvSpPr>
          <p:spPr bwMode="auto">
            <a:xfrm>
              <a:off x="7902545" y="161925"/>
              <a:ext cx="28574"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9" name="Freeform 2101"/>
            <p:cNvSpPr>
              <a:spLocks/>
            </p:cNvSpPr>
            <p:nvPr/>
          </p:nvSpPr>
          <p:spPr bwMode="auto">
            <a:xfrm>
              <a:off x="7896196" y="8255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0" name="Freeform 2102"/>
            <p:cNvSpPr>
              <a:spLocks/>
            </p:cNvSpPr>
            <p:nvPr/>
          </p:nvSpPr>
          <p:spPr bwMode="auto">
            <a:xfrm>
              <a:off x="7918421" y="9525"/>
              <a:ext cx="269874"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1" name="Freeform 2103"/>
            <p:cNvSpPr>
              <a:spLocks/>
            </p:cNvSpPr>
            <p:nvPr/>
          </p:nvSpPr>
          <p:spPr bwMode="auto">
            <a:xfrm>
              <a:off x="7893021" y="3175"/>
              <a:ext cx="298449"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2" name="Freeform 2104"/>
            <p:cNvSpPr>
              <a:spLocks/>
            </p:cNvSpPr>
            <p:nvPr/>
          </p:nvSpPr>
          <p:spPr bwMode="auto">
            <a:xfrm>
              <a:off x="7902545" y="161925"/>
              <a:ext cx="28574"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3" name="Freeform 2105"/>
            <p:cNvSpPr>
              <a:spLocks/>
            </p:cNvSpPr>
            <p:nvPr/>
          </p:nvSpPr>
          <p:spPr bwMode="auto">
            <a:xfrm>
              <a:off x="7902545" y="161925"/>
              <a:ext cx="28574"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4" name="Freeform 2106"/>
            <p:cNvSpPr>
              <a:spLocks/>
            </p:cNvSpPr>
            <p:nvPr/>
          </p:nvSpPr>
          <p:spPr bwMode="auto">
            <a:xfrm>
              <a:off x="7902545" y="16192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5" name="Freeform 2107"/>
            <p:cNvSpPr>
              <a:spLocks/>
            </p:cNvSpPr>
            <p:nvPr/>
          </p:nvSpPr>
          <p:spPr bwMode="auto">
            <a:xfrm>
              <a:off x="7902545" y="16192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6" name="Freeform 2108"/>
            <p:cNvSpPr>
              <a:spLocks/>
            </p:cNvSpPr>
            <p:nvPr/>
          </p:nvSpPr>
          <p:spPr bwMode="auto">
            <a:xfrm>
              <a:off x="8058121" y="16827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7" name="Freeform 2109"/>
            <p:cNvSpPr>
              <a:spLocks/>
            </p:cNvSpPr>
            <p:nvPr/>
          </p:nvSpPr>
          <p:spPr bwMode="auto">
            <a:xfrm>
              <a:off x="8058121" y="16827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8" name="Freeform 2110"/>
            <p:cNvSpPr>
              <a:spLocks/>
            </p:cNvSpPr>
            <p:nvPr/>
          </p:nvSpPr>
          <p:spPr bwMode="auto">
            <a:xfrm>
              <a:off x="8058121" y="165100"/>
              <a:ext cx="28574"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9" name="Freeform 2111"/>
            <p:cNvSpPr>
              <a:spLocks/>
            </p:cNvSpPr>
            <p:nvPr/>
          </p:nvSpPr>
          <p:spPr bwMode="auto">
            <a:xfrm>
              <a:off x="8058121" y="165100"/>
              <a:ext cx="28574"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0" name="Freeform 2112"/>
            <p:cNvSpPr>
              <a:spLocks/>
            </p:cNvSpPr>
            <p:nvPr/>
          </p:nvSpPr>
          <p:spPr bwMode="auto">
            <a:xfrm>
              <a:off x="7896196" y="8255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1" name="Freeform 2113"/>
            <p:cNvSpPr>
              <a:spLocks/>
            </p:cNvSpPr>
            <p:nvPr/>
          </p:nvSpPr>
          <p:spPr bwMode="auto">
            <a:xfrm>
              <a:off x="7896196" y="8255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2" name="Freeform 2114"/>
            <p:cNvSpPr>
              <a:spLocks noEditPoints="1"/>
            </p:cNvSpPr>
            <p:nvPr/>
          </p:nvSpPr>
          <p:spPr bwMode="auto">
            <a:xfrm>
              <a:off x="7896196" y="8255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3" name="Freeform 2115"/>
            <p:cNvSpPr>
              <a:spLocks/>
            </p:cNvSpPr>
            <p:nvPr/>
          </p:nvSpPr>
          <p:spPr bwMode="auto">
            <a:xfrm>
              <a:off x="7912071" y="10477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4" name="Freeform 2116"/>
            <p:cNvSpPr>
              <a:spLocks/>
            </p:cNvSpPr>
            <p:nvPr/>
          </p:nvSpPr>
          <p:spPr bwMode="auto">
            <a:xfrm>
              <a:off x="7896196" y="8255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5" name="Freeform 2117"/>
            <p:cNvSpPr>
              <a:spLocks noEditPoints="1"/>
            </p:cNvSpPr>
            <p:nvPr/>
          </p:nvSpPr>
          <p:spPr bwMode="auto">
            <a:xfrm>
              <a:off x="8080346" y="63500"/>
              <a:ext cx="28574"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6" name="Freeform 2118"/>
            <p:cNvSpPr>
              <a:spLocks/>
            </p:cNvSpPr>
            <p:nvPr/>
          </p:nvSpPr>
          <p:spPr bwMode="auto">
            <a:xfrm>
              <a:off x="8086695" y="7302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7" name="Freeform 2119"/>
            <p:cNvSpPr>
              <a:spLocks/>
            </p:cNvSpPr>
            <p:nvPr/>
          </p:nvSpPr>
          <p:spPr bwMode="auto">
            <a:xfrm>
              <a:off x="8080346" y="63500"/>
              <a:ext cx="28574"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8" name="Freeform 2120"/>
            <p:cNvSpPr>
              <a:spLocks/>
            </p:cNvSpPr>
            <p:nvPr/>
          </p:nvSpPr>
          <p:spPr bwMode="auto">
            <a:xfrm>
              <a:off x="8007320" y="4762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9" name="Freeform 2121"/>
            <p:cNvSpPr>
              <a:spLocks/>
            </p:cNvSpPr>
            <p:nvPr/>
          </p:nvSpPr>
          <p:spPr bwMode="auto">
            <a:xfrm>
              <a:off x="8007320" y="4762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0" name="Freeform 2122"/>
            <p:cNvSpPr>
              <a:spLocks/>
            </p:cNvSpPr>
            <p:nvPr/>
          </p:nvSpPr>
          <p:spPr bwMode="auto">
            <a:xfrm>
              <a:off x="8156545" y="5080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1" name="Freeform 2123"/>
            <p:cNvSpPr>
              <a:spLocks/>
            </p:cNvSpPr>
            <p:nvPr/>
          </p:nvSpPr>
          <p:spPr bwMode="auto">
            <a:xfrm>
              <a:off x="8156545" y="5080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2" name="Freeform 2124"/>
            <p:cNvSpPr>
              <a:spLocks/>
            </p:cNvSpPr>
            <p:nvPr/>
          </p:nvSpPr>
          <p:spPr bwMode="auto">
            <a:xfrm>
              <a:off x="8070821" y="4762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3" name="Freeform 2125"/>
            <p:cNvSpPr>
              <a:spLocks/>
            </p:cNvSpPr>
            <p:nvPr/>
          </p:nvSpPr>
          <p:spPr bwMode="auto">
            <a:xfrm>
              <a:off x="8070821" y="4762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4" name="Freeform 2126"/>
            <p:cNvSpPr>
              <a:spLocks/>
            </p:cNvSpPr>
            <p:nvPr/>
          </p:nvSpPr>
          <p:spPr bwMode="auto">
            <a:xfrm>
              <a:off x="8093046" y="12700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5" name="Freeform 2127"/>
            <p:cNvSpPr>
              <a:spLocks/>
            </p:cNvSpPr>
            <p:nvPr/>
          </p:nvSpPr>
          <p:spPr bwMode="auto">
            <a:xfrm>
              <a:off x="8093046" y="12700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6" name="Freeform 2128"/>
            <p:cNvSpPr>
              <a:spLocks/>
            </p:cNvSpPr>
            <p:nvPr/>
          </p:nvSpPr>
          <p:spPr bwMode="auto">
            <a:xfrm>
              <a:off x="8086695" y="7620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7" name="Freeform 2129"/>
            <p:cNvSpPr>
              <a:spLocks/>
            </p:cNvSpPr>
            <p:nvPr/>
          </p:nvSpPr>
          <p:spPr bwMode="auto">
            <a:xfrm>
              <a:off x="8086695" y="7620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8" name="Freeform 2130"/>
            <p:cNvSpPr>
              <a:spLocks/>
            </p:cNvSpPr>
            <p:nvPr/>
          </p:nvSpPr>
          <p:spPr bwMode="auto">
            <a:xfrm>
              <a:off x="8086695" y="7620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9" name="Freeform 2131"/>
            <p:cNvSpPr>
              <a:spLocks/>
            </p:cNvSpPr>
            <p:nvPr/>
          </p:nvSpPr>
          <p:spPr bwMode="auto">
            <a:xfrm>
              <a:off x="8086695" y="7620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0" name="Freeform 2132"/>
            <p:cNvSpPr>
              <a:spLocks/>
            </p:cNvSpPr>
            <p:nvPr/>
          </p:nvSpPr>
          <p:spPr bwMode="auto">
            <a:xfrm>
              <a:off x="10048838"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1" name="Freeform 2133"/>
            <p:cNvSpPr>
              <a:spLocks/>
            </p:cNvSpPr>
            <p:nvPr/>
          </p:nvSpPr>
          <p:spPr bwMode="auto">
            <a:xfrm>
              <a:off x="10194888"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2" name="Freeform 2134"/>
            <p:cNvSpPr>
              <a:spLocks/>
            </p:cNvSpPr>
            <p:nvPr/>
          </p:nvSpPr>
          <p:spPr bwMode="auto">
            <a:xfrm>
              <a:off x="10344114"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3" name="Freeform 2135"/>
            <p:cNvSpPr>
              <a:spLocks/>
            </p:cNvSpPr>
            <p:nvPr/>
          </p:nvSpPr>
          <p:spPr bwMode="auto">
            <a:xfrm>
              <a:off x="6092825" y="6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2994" name="Rectangle 2993"/>
          <p:cNvSpPr/>
          <p:nvPr userDrawn="1"/>
        </p:nvSpPr>
        <p:spPr bwMode="auto">
          <a:xfrm>
            <a:off x="1" y="0"/>
            <a:ext cx="12436475" cy="6994525"/>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995" name="Rectangle 2994"/>
          <p:cNvSpPr/>
          <p:nvPr userDrawn="1"/>
        </p:nvSpPr>
        <p:spPr bwMode="auto">
          <a:xfrm>
            <a:off x="-1" y="1"/>
            <a:ext cx="12436475" cy="7052102"/>
          </a:xfrm>
          <a:prstGeom prst="rect">
            <a:avLst/>
          </a:prstGeom>
          <a:solidFill>
            <a:srgbClr val="0078D7">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996" name="Title 1"/>
          <p:cNvSpPr>
            <a:spLocks noGrp="1"/>
          </p:cNvSpPr>
          <p:nvPr>
            <p:ph type="title" hasCustomPrompt="1"/>
          </p:nvPr>
        </p:nvSpPr>
        <p:spPr bwMode="white">
          <a:xfrm>
            <a:off x="770164" y="2905199"/>
            <a:ext cx="10445796" cy="762786"/>
          </a:xfrm>
        </p:spPr>
        <p:txBody>
          <a:bodyPr anchor="t" anchorCtr="0"/>
          <a:lstStyle>
            <a:lvl1pPr marL="0" algn="l" defTabSz="932597" rtl="0" eaLnBrk="1" latinLnBrk="0" hangingPunct="1">
              <a:lnSpc>
                <a:spcPct val="90000"/>
              </a:lnSpc>
              <a:defRPr lang="en-US" sz="5507" kern="0" baseline="0" dirty="0">
                <a:gradFill>
                  <a:gsLst>
                    <a:gs pos="0">
                      <a:srgbClr val="FFFFFF"/>
                    </a:gs>
                    <a:gs pos="100000">
                      <a:srgbClr val="FFFFFF"/>
                    </a:gs>
                  </a:gsLst>
                  <a:lin ang="5400000" scaled="0"/>
                </a:gradFill>
                <a:latin typeface="+mj-lt"/>
                <a:ea typeface="+mn-ea"/>
                <a:cs typeface="+mn-cs"/>
              </a:defRPr>
            </a:lvl1pPr>
          </a:lstStyle>
          <a:p>
            <a:r>
              <a:rPr lang="en-US" dirty="0"/>
              <a:t>Section Divider</a:t>
            </a:r>
          </a:p>
        </p:txBody>
      </p:sp>
    </p:spTree>
    <p:extLst>
      <p:ext uri="{BB962C8B-B14F-4D97-AF65-F5344CB8AC3E}">
        <p14:creationId xmlns:p14="http://schemas.microsoft.com/office/powerpoint/2010/main" val="20688756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90806"/>
            <a:ext cx="11889564" cy="747897"/>
          </a:xfrm>
        </p:spPr>
        <p:txBody>
          <a:bodyPr anchor="ctr"/>
          <a:lstStyle/>
          <a:p>
            <a:r>
              <a:rPr lang="en-US" dirty="0"/>
              <a:t>Click to edit Master title style</a:t>
            </a:r>
          </a:p>
        </p:txBody>
      </p:sp>
    </p:spTree>
    <p:extLst>
      <p:ext uri="{BB962C8B-B14F-4D97-AF65-F5344CB8AC3E}">
        <p14:creationId xmlns:p14="http://schemas.microsoft.com/office/powerpoint/2010/main" val="183623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y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90806"/>
            <a:ext cx="11889564" cy="747897"/>
          </a:xfrm>
        </p:spPr>
        <p:txBody>
          <a:bodyPr anchor="ctr"/>
          <a:lstStyle/>
          <a:p>
            <a:r>
              <a:rPr lang="en-US" dirty="0"/>
              <a:t>Click to edit Master title style</a:t>
            </a:r>
          </a:p>
        </p:txBody>
      </p:sp>
      <p:sp>
        <p:nvSpPr>
          <p:cNvPr id="3" name="Rectangle 2"/>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algn="r" defTabSz="912979" fontAlgn="base">
              <a:lnSpc>
                <a:spcPct val="90000"/>
              </a:lnSpc>
              <a:spcBef>
                <a:spcPct val="0"/>
              </a:spcBef>
              <a:spcAft>
                <a:spcPts val="587"/>
              </a:spcAft>
              <a:defRPr/>
            </a:pPr>
            <a:endParaRPr lang="en-US" sz="1764" kern="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4" name="TextBox 3"/>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309298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algn="r" defTabSz="912979" fontAlgn="base">
              <a:lnSpc>
                <a:spcPct val="90000"/>
              </a:lnSpc>
              <a:spcBef>
                <a:spcPct val="0"/>
              </a:spcBef>
              <a:spcAft>
                <a:spcPts val="587"/>
              </a:spcAft>
              <a:defRPr/>
            </a:pPr>
            <a:endParaRPr lang="en-US" sz="1764" kern="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2" name="TextBox 1"/>
          <p:cNvSpPr txBox="1"/>
          <p:nvPr userDrawn="1"/>
        </p:nvSpPr>
        <p:spPr>
          <a:xfrm>
            <a:off x="111370" y="6769492"/>
            <a:ext cx="1443835" cy="158521"/>
          </a:xfrm>
          <a:prstGeom prst="rect">
            <a:avLst/>
          </a:prstGeom>
          <a:noFill/>
        </p:spPr>
        <p:txBody>
          <a:bodyPr wrap="none" lIns="0" tIns="0" rIns="0" bIns="0" rtlCol="0">
            <a:spAutoFit/>
          </a:bodyPr>
          <a:lstStyle/>
          <a:p>
            <a:pPr>
              <a:lnSpc>
                <a:spcPct val="90000"/>
              </a:lnSpc>
            </a:pPr>
            <a:r>
              <a:rPr lang="en-US" sz="1122" dirty="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366277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190" y="1138703"/>
            <a:ext cx="11375536" cy="2220845"/>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2551" indent="-349656">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656" indent="-349656">
              <a:spcBef>
                <a:spcPts val="0"/>
              </a:spcBef>
              <a:spcAft>
                <a:spcPts val="408"/>
              </a:spcAft>
              <a:buFont typeface="Arial" pitchFamily="34" charset="0"/>
              <a:buChar char="•"/>
              <a:defRPr/>
            </a:lvl5pPr>
            <a:lvl6pPr marL="1053826" indent="-349656">
              <a:buFont typeface="Arial" pitchFamily="34" charset="0"/>
              <a:buChar char="•"/>
              <a:defRPr sz="2448">
                <a:gradFill>
                  <a:gsLst>
                    <a:gs pos="0">
                      <a:srgbClr val="595959"/>
                    </a:gs>
                    <a:gs pos="86000">
                      <a:srgbClr val="595959"/>
                    </a:gs>
                  </a:gsLst>
                  <a:lin ang="5400000" scaled="0"/>
                </a:gradFill>
              </a:defRPr>
            </a:lvl6pPr>
            <a:lvl7pPr marL="1280456" indent="-229867">
              <a:defRPr>
                <a:gradFill>
                  <a:gsLst>
                    <a:gs pos="0">
                      <a:srgbClr val="595959"/>
                    </a:gs>
                    <a:gs pos="86000">
                      <a:srgbClr val="595959"/>
                    </a:gs>
                  </a:gsLst>
                  <a:lin ang="5400000" scaled="0"/>
                </a:gradFill>
              </a:defRPr>
            </a:lvl7pPr>
            <a:lvl8pPr marL="1516797" indent="-236341">
              <a:defRPr>
                <a:gradFill>
                  <a:gsLst>
                    <a:gs pos="0">
                      <a:srgbClr val="595959"/>
                    </a:gs>
                    <a:gs pos="86000">
                      <a:srgbClr val="595959"/>
                    </a:gs>
                  </a:gsLst>
                  <a:lin ang="5400000" scaled="0"/>
                </a:gradFill>
              </a:defRPr>
            </a:lvl8pPr>
          </a:lstStyle>
          <a:p>
            <a:pPr marL="352895" lvl="0" indent="-352895" algn="l" defTabSz="932380" rtl="0" eaLnBrk="1" latinLnBrk="0" hangingPunct="1">
              <a:lnSpc>
                <a:spcPct val="90000"/>
              </a:lnSpc>
              <a:spcBef>
                <a:spcPct val="20000"/>
              </a:spcBef>
              <a:buSzPct val="90000"/>
              <a:buFont typeface="Arial" pitchFamily="34" charset="0"/>
              <a:buChar char="•"/>
            </a:pPr>
            <a:r>
              <a:rPr lang="en-US"/>
              <a:t>Click to edit Master text styles</a:t>
            </a:r>
          </a:p>
          <a:p>
            <a:pPr marL="352895" lvl="1" indent="-352895" algn="l" defTabSz="932380" rtl="0" eaLnBrk="1" latinLnBrk="0" hangingPunct="1">
              <a:lnSpc>
                <a:spcPct val="90000"/>
              </a:lnSpc>
              <a:spcBef>
                <a:spcPct val="20000"/>
              </a:spcBef>
              <a:buSzPct val="90000"/>
              <a:buFont typeface="Arial" pitchFamily="34" charset="0"/>
              <a:buChar char="•"/>
            </a:pPr>
            <a:r>
              <a:rPr lang="en-US"/>
              <a:t>Second level</a:t>
            </a:r>
          </a:p>
          <a:p>
            <a:pPr marL="352895" lvl="2" indent="-352895" algn="l" defTabSz="932380" rtl="0" eaLnBrk="1" latinLnBrk="0" hangingPunct="1">
              <a:lnSpc>
                <a:spcPct val="90000"/>
              </a:lnSpc>
              <a:spcBef>
                <a:spcPct val="20000"/>
              </a:spcBef>
              <a:buSzPct val="90000"/>
              <a:buFont typeface="Arial" pitchFamily="34" charset="0"/>
              <a:buChar char="•"/>
            </a:pPr>
            <a:r>
              <a:rPr lang="en-US"/>
              <a:t>Third level</a:t>
            </a:r>
          </a:p>
          <a:p>
            <a:pPr marL="352895" lvl="3" indent="-352895" algn="l" defTabSz="932380" rtl="0" eaLnBrk="1" latinLnBrk="0" hangingPunct="1">
              <a:lnSpc>
                <a:spcPct val="90000"/>
              </a:lnSpc>
              <a:spcBef>
                <a:spcPct val="20000"/>
              </a:spcBef>
              <a:buSzPct val="90000"/>
              <a:buFont typeface="Arial" pitchFamily="34" charset="0"/>
              <a:buChar char="•"/>
            </a:pPr>
            <a:r>
              <a:rPr lang="en-US"/>
              <a:t>Fourth level</a:t>
            </a:r>
          </a:p>
          <a:p>
            <a:pPr marL="352895" lvl="4" indent="-352895" algn="l" defTabSz="932380" rtl="0" eaLnBrk="1" latinLnBrk="0" hangingPunct="1">
              <a:lnSpc>
                <a:spcPct val="90000"/>
              </a:lnSpc>
              <a:spcBef>
                <a:spcPct val="20000"/>
              </a:spcBef>
              <a:buSzPct val="90000"/>
              <a:buFont typeface="Arial" pitchFamily="34" charset="0"/>
              <a:buChar char="•"/>
            </a:pPr>
            <a:r>
              <a:rPr lang="en-US"/>
              <a:t>Fifth level</a:t>
            </a:r>
            <a:endParaRPr lang="en-US" dirty="0"/>
          </a:p>
        </p:txBody>
      </p:sp>
      <p:sp>
        <p:nvSpPr>
          <p:cNvPr id="6" name="Title Placeholder 1"/>
          <p:cNvSpPr>
            <a:spLocks noGrp="1"/>
          </p:cNvSpPr>
          <p:nvPr>
            <p:ph type="title"/>
          </p:nvPr>
        </p:nvSpPr>
        <p:spPr>
          <a:xfrm>
            <a:off x="422190" y="390806"/>
            <a:ext cx="11375536" cy="747897"/>
          </a:xfrm>
          <a:prstGeom prst="rect">
            <a:avLst/>
          </a:prstGeom>
        </p:spPr>
        <p:txBody>
          <a:bodyPr vert="horz" wrap="square" lIns="0" tIns="0" rIns="0" bIns="0" rtlCol="0" anchor="t">
            <a:spAutoFit/>
          </a:bodyPr>
          <a:lstStyle/>
          <a:p>
            <a:r>
              <a:rPr lang="en-US" dirty="0"/>
              <a:t>Click to edit Master title style</a:t>
            </a:r>
          </a:p>
        </p:txBody>
      </p:sp>
    </p:spTree>
    <p:extLst>
      <p:ext uri="{BB962C8B-B14F-4D97-AF65-F5344CB8AC3E}">
        <p14:creationId xmlns:p14="http://schemas.microsoft.com/office/powerpoint/2010/main" val="108936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Rectangle 3"/>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algn="r" defTabSz="912979" fontAlgn="base">
              <a:lnSpc>
                <a:spcPct val="90000"/>
              </a:lnSpc>
              <a:spcBef>
                <a:spcPct val="0"/>
              </a:spcBef>
              <a:spcAft>
                <a:spcPts val="587"/>
              </a:spcAft>
              <a:defRPr/>
            </a:pPr>
            <a:endParaRPr lang="en-US" sz="1764" kern="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5" name="Text Placeholder 4"/>
          <p:cNvSpPr>
            <a:spLocks noGrp="1"/>
          </p:cNvSpPr>
          <p:nvPr>
            <p:ph type="body" sz="quarter" idx="10"/>
          </p:nvPr>
        </p:nvSpPr>
        <p:spPr>
          <a:xfrm>
            <a:off x="422190" y="1514668"/>
            <a:ext cx="6565091" cy="1765620"/>
          </a:xfrm>
        </p:spPr>
        <p:txBody>
          <a:bodyPr/>
          <a:lstStyle>
            <a:lvl1pPr marL="0" indent="0">
              <a:spcBef>
                <a:spcPts val="0"/>
              </a:spcBef>
              <a:spcAft>
                <a:spcPts val="0"/>
              </a:spcAft>
              <a:buFont typeface="Arial" pitchFamily="34" charset="0"/>
              <a:buNone/>
              <a:defRPr lang="en-US" sz="2448" kern="1200" dirty="0" smtClean="0">
                <a:gradFill>
                  <a:gsLst>
                    <a:gs pos="0">
                      <a:srgbClr val="595959"/>
                    </a:gs>
                    <a:gs pos="86000">
                      <a:srgbClr val="595959"/>
                    </a:gs>
                  </a:gsLst>
                  <a:lin ang="5400000" scaled="0"/>
                </a:gradFill>
                <a:latin typeface="+mn-lt"/>
                <a:ea typeface="+mn-ea"/>
                <a:cs typeface="+mn-cs"/>
              </a:defRPr>
            </a:lvl1pPr>
            <a:lvl2pPr marL="702551" indent="-349656">
              <a:spcBef>
                <a:spcPts val="0"/>
              </a:spcBef>
              <a:spcAft>
                <a:spcPts val="0"/>
              </a:spcAft>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1632"/>
            </a:lvl3pPr>
            <a:lvl4pPr marL="0" indent="0">
              <a:spcBef>
                <a:spcPts val="0"/>
              </a:spcBef>
              <a:spcAft>
                <a:spcPts val="408"/>
              </a:spcAft>
              <a:buNone/>
              <a:defRPr sz="1428"/>
            </a:lvl4pPr>
            <a:lvl5pPr marL="349656" indent="-349656">
              <a:spcBef>
                <a:spcPts val="0"/>
              </a:spcBef>
              <a:spcAft>
                <a:spcPts val="408"/>
              </a:spcAft>
              <a:buFont typeface="Arial" pitchFamily="34" charset="0"/>
              <a:buChar char="•"/>
              <a:defRPr sz="1428"/>
            </a:lvl5pPr>
            <a:lvl6pPr marL="1053826" indent="-349656">
              <a:buFont typeface="Arial" pitchFamily="34" charset="0"/>
              <a:buChar char="•"/>
              <a:defRPr sz="2448">
                <a:gradFill>
                  <a:gsLst>
                    <a:gs pos="0">
                      <a:srgbClr val="595959"/>
                    </a:gs>
                    <a:gs pos="86000">
                      <a:srgbClr val="595959"/>
                    </a:gs>
                  </a:gsLst>
                  <a:lin ang="5400000" scaled="0"/>
                </a:gradFill>
              </a:defRPr>
            </a:lvl6pPr>
            <a:lvl7pPr marL="1280456" indent="-229867">
              <a:defRPr>
                <a:gradFill>
                  <a:gsLst>
                    <a:gs pos="0">
                      <a:srgbClr val="595959"/>
                    </a:gs>
                    <a:gs pos="86000">
                      <a:srgbClr val="595959"/>
                    </a:gs>
                  </a:gsLst>
                  <a:lin ang="5400000" scaled="0"/>
                </a:gradFill>
              </a:defRPr>
            </a:lvl7pPr>
            <a:lvl8pPr marL="1516797" indent="-236341">
              <a:defRPr>
                <a:gradFill>
                  <a:gsLst>
                    <a:gs pos="0">
                      <a:srgbClr val="595959"/>
                    </a:gs>
                    <a:gs pos="86000">
                      <a:srgbClr val="595959"/>
                    </a:gs>
                  </a:gsLst>
                  <a:lin ang="5400000" scaled="0"/>
                </a:gradFill>
              </a:defRPr>
            </a:lvl8pPr>
          </a:lstStyle>
          <a:p>
            <a:pPr marL="352895" lvl="0" indent="-352895" algn="l" defTabSz="932380" rtl="0" eaLnBrk="1" latinLnBrk="0" hangingPunct="1">
              <a:lnSpc>
                <a:spcPct val="90000"/>
              </a:lnSpc>
              <a:spcBef>
                <a:spcPct val="20000"/>
              </a:spcBef>
              <a:buSzPct val="90000"/>
              <a:buFont typeface="Arial" pitchFamily="34" charset="0"/>
              <a:buChar char="•"/>
            </a:pPr>
            <a:r>
              <a:rPr lang="en-US" dirty="0"/>
              <a:t>Click to edit Master text styles</a:t>
            </a:r>
          </a:p>
          <a:p>
            <a:pPr marL="352895" lvl="1" indent="-352895" algn="l" defTabSz="932380" rtl="0" eaLnBrk="1" latinLnBrk="0" hangingPunct="1">
              <a:lnSpc>
                <a:spcPct val="90000"/>
              </a:lnSpc>
              <a:spcBef>
                <a:spcPct val="20000"/>
              </a:spcBef>
              <a:buSzPct val="90000"/>
              <a:buFont typeface="Arial" pitchFamily="34" charset="0"/>
              <a:buChar char="•"/>
            </a:pPr>
            <a:r>
              <a:rPr lang="en-US" dirty="0"/>
              <a:t>Second level</a:t>
            </a:r>
          </a:p>
          <a:p>
            <a:pPr marL="352895" lvl="2" indent="-352895" algn="l" defTabSz="932380" rtl="0" eaLnBrk="1" latinLnBrk="0" hangingPunct="1">
              <a:lnSpc>
                <a:spcPct val="90000"/>
              </a:lnSpc>
              <a:spcBef>
                <a:spcPct val="20000"/>
              </a:spcBef>
              <a:buSzPct val="90000"/>
              <a:buFont typeface="Arial" pitchFamily="34" charset="0"/>
              <a:buChar char="•"/>
            </a:pPr>
            <a:r>
              <a:rPr lang="en-US" dirty="0"/>
              <a:t>Third level</a:t>
            </a:r>
          </a:p>
          <a:p>
            <a:pPr marL="352895" lvl="3" indent="-352895" algn="l" defTabSz="932380" rtl="0" eaLnBrk="1" latinLnBrk="0" hangingPunct="1">
              <a:lnSpc>
                <a:spcPct val="90000"/>
              </a:lnSpc>
              <a:spcBef>
                <a:spcPct val="20000"/>
              </a:spcBef>
              <a:buSzPct val="90000"/>
              <a:buFont typeface="Arial" pitchFamily="34" charset="0"/>
              <a:buChar char="•"/>
            </a:pPr>
            <a:r>
              <a:rPr lang="en-US" dirty="0"/>
              <a:t>Fourth level</a:t>
            </a:r>
          </a:p>
          <a:p>
            <a:pPr marL="352895" lvl="4" indent="-352895" algn="l" defTabSz="932380" rtl="0" eaLnBrk="1" latinLnBrk="0" hangingPunct="1">
              <a:lnSpc>
                <a:spcPct val="90000"/>
              </a:lnSpc>
              <a:spcBef>
                <a:spcPct val="20000"/>
              </a:spcBef>
              <a:buSzPct val="90000"/>
              <a:buFont typeface="Arial" pitchFamily="34" charset="0"/>
              <a:buChar char="•"/>
            </a:pPr>
            <a:r>
              <a:rPr lang="en-US" dirty="0"/>
              <a:t>Fifth level</a:t>
            </a:r>
          </a:p>
        </p:txBody>
      </p:sp>
      <p:sp>
        <p:nvSpPr>
          <p:cNvPr id="6" name="Title Placeholder 1"/>
          <p:cNvSpPr>
            <a:spLocks noGrp="1"/>
          </p:cNvSpPr>
          <p:nvPr>
            <p:ph type="title"/>
          </p:nvPr>
        </p:nvSpPr>
        <p:spPr>
          <a:xfrm>
            <a:off x="422190" y="390806"/>
            <a:ext cx="11375536" cy="747897"/>
          </a:xfrm>
          <a:prstGeom prst="rect">
            <a:avLst/>
          </a:prstGeom>
        </p:spPr>
        <p:txBody>
          <a:bodyPr vert="horz" wrap="square" lIns="0" tIns="0" rIns="0" bIns="0" rtlCol="0" anchor="t">
            <a:spAutoFit/>
          </a:bodyPr>
          <a:lstStyle/>
          <a:p>
            <a:r>
              <a:rPr lang="en-US" dirty="0"/>
              <a:t>Click to edit Master title style</a:t>
            </a:r>
          </a:p>
        </p:txBody>
      </p:sp>
      <p:sp>
        <p:nvSpPr>
          <p:cNvPr id="9" name="TextBox 8"/>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347584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0856" y="445108"/>
            <a:ext cx="11629838" cy="565027"/>
          </a:xfrm>
        </p:spPr>
        <p:txBody>
          <a:bodyPr/>
          <a:lstStyle>
            <a:lvl1pPr algn="l" defTabSz="932274" rtl="0" eaLnBrk="1" latinLnBrk="0" hangingPunct="1">
              <a:lnSpc>
                <a:spcPct val="90000"/>
              </a:lnSpc>
              <a:spcBef>
                <a:spcPct val="0"/>
              </a:spcBef>
              <a:buNone/>
              <a:defRPr lang="en-US" sz="4080" b="0" kern="1200" cap="none" spc="-102" baseline="0" dirty="0">
                <a:ln w="3175">
                  <a:noFill/>
                </a:ln>
                <a:solidFill>
                  <a:schemeClr val="tx2">
                    <a:alpha val="99000"/>
                  </a:schemeClr>
                </a:solidFill>
                <a:effectLst/>
                <a:latin typeface="Segoe UI Light" pitchFamily="34" charset="0"/>
                <a:ea typeface="+mn-ea"/>
                <a:cs typeface="Arial" charset="0"/>
              </a:defRPr>
            </a:lvl1pPr>
          </a:lstStyle>
          <a:p>
            <a:r>
              <a:rPr lang="en-US" dirty="0"/>
              <a:t>Click to edit Master title style</a:t>
            </a:r>
          </a:p>
        </p:txBody>
      </p:sp>
      <p:sp>
        <p:nvSpPr>
          <p:cNvPr id="3" name="Slide Number Placeholder 2"/>
          <p:cNvSpPr>
            <a:spLocks noGrp="1"/>
          </p:cNvSpPr>
          <p:nvPr>
            <p:ph type="sldNum" sz="quarter" idx="10"/>
          </p:nvPr>
        </p:nvSpPr>
        <p:spPr>
          <a:xfrm>
            <a:off x="12005197" y="6587509"/>
            <a:ext cx="406706" cy="372394"/>
          </a:xfrm>
          <a:prstGeom prst="rect">
            <a:avLst/>
          </a:prstGeom>
        </p:spPr>
        <p:txBody>
          <a:bodyPr lIns="76179" tIns="38089" rIns="76179" bIns="38089"/>
          <a:lstStyle/>
          <a:p>
            <a:pPr defTabSz="931698"/>
            <a:fld id="{B60359E2-F1E6-40F3-81C3-5A646FA87138}" type="slidenum">
              <a:rPr lang="en-US" smtClean="0">
                <a:solidFill>
                  <a:srgbClr val="FFFFFF"/>
                </a:solidFill>
              </a:rPr>
              <a:pPr defTabSz="931698"/>
              <a:t>‹#›</a:t>
            </a:fld>
            <a:endParaRPr lang="en-US" dirty="0">
              <a:solidFill>
                <a:srgbClr val="FFFFFF"/>
              </a:solidFill>
            </a:endParaRPr>
          </a:p>
        </p:txBody>
      </p:sp>
      <p:sp>
        <p:nvSpPr>
          <p:cNvPr id="5" name="Footer Placeholder 3"/>
          <p:cNvSpPr>
            <a:spLocks noGrp="1"/>
          </p:cNvSpPr>
          <p:nvPr>
            <p:ph type="ftr" sz="quarter" idx="3"/>
          </p:nvPr>
        </p:nvSpPr>
        <p:spPr>
          <a:xfrm>
            <a:off x="4249403" y="6700054"/>
            <a:ext cx="3937678" cy="258334"/>
          </a:xfrm>
          <a:prstGeom prst="rect">
            <a:avLst/>
          </a:prstGeom>
        </p:spPr>
        <p:txBody>
          <a:bodyPr vert="horz" lIns="76179" tIns="38089" rIns="76179" bIns="38089" rtlCol="0" anchor="ctr"/>
          <a:lstStyle>
            <a:lvl1pPr algn="ctr">
              <a:defRPr sz="1122">
                <a:solidFill>
                  <a:schemeClr val="tx1">
                    <a:tint val="75000"/>
                  </a:schemeClr>
                </a:solidFill>
              </a:defRPr>
            </a:lvl1pPr>
          </a:lstStyle>
          <a:p>
            <a:pPr defTabSz="931698"/>
            <a:r>
              <a:rPr lang="en-US">
                <a:solidFill>
                  <a:srgbClr val="FFFFFF">
                    <a:tint val="75000"/>
                  </a:srgbClr>
                </a:solidFill>
              </a:rPr>
              <a:t>Microsoft Confidential - Signed NDA Required</a:t>
            </a:r>
            <a:endParaRPr lang="en-US" dirty="0">
              <a:solidFill>
                <a:srgbClr val="FFFFFF">
                  <a:tint val="75000"/>
                </a:srgbClr>
              </a:solidFill>
            </a:endParaRPr>
          </a:p>
        </p:txBody>
      </p:sp>
    </p:spTree>
    <p:extLst>
      <p:ext uri="{BB962C8B-B14F-4D97-AF65-F5344CB8AC3E}">
        <p14:creationId xmlns:p14="http://schemas.microsoft.com/office/powerpoint/2010/main" val="243109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algn="ctr" defTabSz="776609"/>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
        <p:nvSpPr>
          <p:cNvPr id="5" name="Date Placeholder 3"/>
          <p:cNvSpPr txBox="1">
            <a:spLocks/>
          </p:cNvSpPr>
          <p:nvPr userDrawn="1"/>
        </p:nvSpPr>
        <p:spPr>
          <a:xfrm>
            <a:off x="8630221" y="6651292"/>
            <a:ext cx="3311465"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5" dirty="0">
                <a:solidFill>
                  <a:prstClr val="black">
                    <a:lumMod val="65000"/>
                    <a:lumOff val="35000"/>
                  </a:prstClr>
                </a:solidFill>
              </a:rPr>
              <a:t>Copyright© 2015 Microsoft Corporation</a:t>
            </a:r>
          </a:p>
        </p:txBody>
      </p:sp>
      <p:sp>
        <p:nvSpPr>
          <p:cNvPr id="6" name="Rectangle 5"/>
          <p:cNvSpPr/>
          <p:nvPr userDrawn="1"/>
        </p:nvSpPr>
        <p:spPr>
          <a:xfrm>
            <a:off x="7975447" y="6651292"/>
            <a:ext cx="1484713" cy="173432"/>
          </a:xfrm>
          <a:prstGeom prst="rect">
            <a:avLst/>
          </a:prstGeom>
        </p:spPr>
        <p:txBody>
          <a:bodyPr wrap="none" lIns="0" tIns="0" rIns="0" bIns="0" anchor="t" anchorCtr="0">
            <a:spAutoFit/>
          </a:bodyPr>
          <a:lstStyle/>
          <a:p>
            <a:pPr defTabSz="1242988"/>
            <a:r>
              <a:rPr lang="en-US" sz="1105" b="1" dirty="0">
                <a:solidFill>
                  <a:prstClr val="black">
                    <a:lumMod val="65000"/>
                    <a:lumOff val="35000"/>
                  </a:prstClr>
                </a:solidFill>
              </a:rPr>
              <a:t>NDA Disclosure Only </a:t>
            </a:r>
            <a:r>
              <a:rPr lang="en-US" sz="1105" dirty="0">
                <a:solidFill>
                  <a:prstClr val="black">
                    <a:lumMod val="65000"/>
                    <a:lumOff val="35000"/>
                  </a:prstClr>
                </a:solidFill>
              </a:rPr>
              <a:t>|</a:t>
            </a:r>
          </a:p>
        </p:txBody>
      </p:sp>
    </p:spTree>
    <p:extLst>
      <p:ext uri="{BB962C8B-B14F-4D97-AF65-F5344CB8AC3E}">
        <p14:creationId xmlns:p14="http://schemas.microsoft.com/office/powerpoint/2010/main" val="58064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22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9" name="Title 17"/>
          <p:cNvSpPr>
            <a:spLocks noGrp="1"/>
          </p:cNvSpPr>
          <p:nvPr>
            <p:ph type="title"/>
          </p:nvPr>
        </p:nvSpPr>
        <p:spPr>
          <a:xfrm>
            <a:off x="485022" y="127105"/>
            <a:ext cx="11329629" cy="444613"/>
          </a:xfrm>
          <a:prstGeom prst="rect">
            <a:avLst/>
          </a:prstGeom>
        </p:spPr>
        <p:txBody>
          <a:bodyPr anchor="b"/>
          <a:lstStyle/>
          <a:p>
            <a:r>
              <a:rPr lang="en-US"/>
              <a:t>Click to edit Master title style</a:t>
            </a:r>
            <a:endParaRPr lang="en-US" dirty="0"/>
          </a:p>
        </p:txBody>
      </p:sp>
      <p:sp>
        <p:nvSpPr>
          <p:cNvPr id="5" name="TextBox 4"/>
          <p:cNvSpPr txBox="1"/>
          <p:nvPr userDrawn="1"/>
        </p:nvSpPr>
        <p:spPr>
          <a:xfrm>
            <a:off x="5868088" y="6718374"/>
            <a:ext cx="458822" cy="183918"/>
          </a:xfrm>
          <a:prstGeom prst="rect">
            <a:avLst/>
          </a:prstGeom>
          <a:noFill/>
        </p:spPr>
        <p:txBody>
          <a:bodyPr wrap="square" lIns="124339" tIns="62169" rIns="124339" bIns="62169" rtlCol="0" anchor="ctr">
            <a:noAutofit/>
          </a:bodyPr>
          <a:lstStyle/>
          <a:p>
            <a:pPr defTabSz="1243370"/>
            <a:fld id="{CD732B83-8E38-40BC-A652-305CA35BAE41}" type="slidenum">
              <a:rPr lang="en-US" sz="1122" i="1">
                <a:solidFill>
                  <a:prstClr val="white"/>
                </a:solidFill>
              </a:rPr>
              <a:pPr defTabSz="1243370"/>
              <a:t>‹#›</a:t>
            </a:fld>
            <a:endParaRPr lang="en-US" sz="1122" i="1" dirty="0">
              <a:solidFill>
                <a:prstClr val="white"/>
              </a:solidFill>
            </a:endParaRPr>
          </a:p>
        </p:txBody>
      </p:sp>
    </p:spTree>
    <p:extLst>
      <p:ext uri="{BB962C8B-B14F-4D97-AF65-F5344CB8AC3E}">
        <p14:creationId xmlns:p14="http://schemas.microsoft.com/office/powerpoint/2010/main" val="406134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2" name="Text Placeholder 2"/>
          <p:cNvSpPr>
            <a:spLocks noGrp="1"/>
          </p:cNvSpPr>
          <p:nvPr>
            <p:ph type="body" idx="13"/>
          </p:nvPr>
        </p:nvSpPr>
        <p:spPr>
          <a:xfrm>
            <a:off x="1012277" y="2574376"/>
            <a:ext cx="10365888" cy="433921"/>
          </a:xfrm>
        </p:spPr>
        <p:txBody>
          <a:bodyPr anchor="b">
            <a:normAutofit/>
          </a:bodyPr>
          <a:lstStyle>
            <a:lvl1pPr marL="0" indent="0">
              <a:buNone/>
              <a:defRPr sz="2448">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3" name="Text Placeholder 2"/>
          <p:cNvSpPr>
            <a:spLocks noGrp="1"/>
          </p:cNvSpPr>
          <p:nvPr>
            <p:ph type="body" idx="14"/>
          </p:nvPr>
        </p:nvSpPr>
        <p:spPr>
          <a:xfrm>
            <a:off x="1012277" y="3079545"/>
            <a:ext cx="10365888" cy="385347"/>
          </a:xfrm>
        </p:spPr>
        <p:txBody>
          <a:bodyPr anchor="b">
            <a:normAutofit/>
          </a:bodyPr>
          <a:lstStyle>
            <a:lvl1pPr marL="0" indent="0">
              <a:buNone/>
              <a:defRPr sz="1632">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15"/>
          </p:nvPr>
        </p:nvSpPr>
        <p:spPr>
          <a:xfrm>
            <a:off x="1012277" y="3555551"/>
            <a:ext cx="10365888" cy="453349"/>
          </a:xfrm>
        </p:spPr>
        <p:txBody>
          <a:bodyPr anchor="b">
            <a:normAutofit/>
          </a:bodyPr>
          <a:lstStyle>
            <a:lvl1pPr marL="0" indent="0">
              <a:buNone/>
              <a:defRPr sz="2142">
                <a:solidFill>
                  <a:schemeClr val="tx1"/>
                </a:solidFill>
              </a:defRPr>
            </a:lvl1pPr>
            <a:lvl2pPr marL="621685" indent="0">
              <a:buNone/>
              <a:defRPr sz="2448">
                <a:solidFill>
                  <a:schemeClr val="tx1">
                    <a:tint val="75000"/>
                  </a:schemeClr>
                </a:solidFill>
              </a:defRPr>
            </a:lvl2pPr>
            <a:lvl3pPr marL="1243370" indent="0">
              <a:buNone/>
              <a:defRPr sz="2142">
                <a:solidFill>
                  <a:schemeClr val="tx1">
                    <a:tint val="75000"/>
                  </a:schemeClr>
                </a:solidFill>
              </a:defRPr>
            </a:lvl3pPr>
            <a:lvl4pPr marL="1865054" indent="0">
              <a:buNone/>
              <a:defRPr sz="1938">
                <a:solidFill>
                  <a:schemeClr val="tx1">
                    <a:tint val="75000"/>
                  </a:schemeClr>
                </a:solidFill>
              </a:defRPr>
            </a:lvl4pPr>
            <a:lvl5pPr marL="2486739" indent="0">
              <a:buNone/>
              <a:defRPr sz="1938">
                <a:solidFill>
                  <a:schemeClr val="tx1">
                    <a:tint val="75000"/>
                  </a:schemeClr>
                </a:solidFill>
              </a:defRPr>
            </a:lvl5pPr>
            <a:lvl6pPr marL="3108423" indent="0">
              <a:buNone/>
              <a:defRPr sz="1938">
                <a:solidFill>
                  <a:schemeClr val="tx1">
                    <a:tint val="75000"/>
                  </a:schemeClr>
                </a:solidFill>
              </a:defRPr>
            </a:lvl6pPr>
            <a:lvl7pPr marL="3730108" indent="0">
              <a:buNone/>
              <a:defRPr sz="1938">
                <a:solidFill>
                  <a:schemeClr val="tx1">
                    <a:tint val="75000"/>
                  </a:schemeClr>
                </a:solidFill>
              </a:defRPr>
            </a:lvl7pPr>
            <a:lvl8pPr marL="4351791" indent="0">
              <a:buNone/>
              <a:defRPr sz="1938">
                <a:solidFill>
                  <a:schemeClr val="tx1">
                    <a:tint val="75000"/>
                  </a:schemeClr>
                </a:solidFill>
              </a:defRPr>
            </a:lvl8pPr>
            <a:lvl9pPr marL="4973476" indent="0">
              <a:buNone/>
              <a:defRPr sz="1938">
                <a:solidFill>
                  <a:schemeClr val="tx1">
                    <a:tint val="75000"/>
                  </a:schemeClr>
                </a:solidFill>
              </a:defRPr>
            </a:lvl9pPr>
          </a:lstStyle>
          <a:p>
            <a:pPr lvl="0"/>
            <a:r>
              <a:rPr lang="en-US"/>
              <a:t>Click to edit Master text styles</a:t>
            </a:r>
          </a:p>
        </p:txBody>
      </p:sp>
      <p:sp>
        <p:nvSpPr>
          <p:cNvPr id="15" name="Title 14"/>
          <p:cNvSpPr>
            <a:spLocks noGrp="1"/>
          </p:cNvSpPr>
          <p:nvPr>
            <p:ph type="title"/>
          </p:nvPr>
        </p:nvSpPr>
        <p:spPr>
          <a:xfrm>
            <a:off x="1012274" y="1745923"/>
            <a:ext cx="10372020" cy="675920"/>
          </a:xfrm>
          <a:prstGeom prst="rect">
            <a:avLst/>
          </a:prstGeom>
        </p:spPr>
        <p:txBody>
          <a:bodyPr anchor="b"/>
          <a:lstStyle>
            <a:lvl1pPr>
              <a:defRPr sz="3264" b="0" i="0"/>
            </a:lvl1pPr>
          </a:lstStyle>
          <a:p>
            <a:r>
              <a:rPr lang="en-US"/>
              <a:t>Click to edit Master 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056585" y="6274047"/>
            <a:ext cx="1689865" cy="361942"/>
          </a:xfrm>
          <a:prstGeom prst="rect">
            <a:avLst/>
          </a:prstGeom>
        </p:spPr>
      </p:pic>
    </p:spTree>
    <p:extLst>
      <p:ext uri="{BB962C8B-B14F-4D97-AF65-F5344CB8AC3E}">
        <p14:creationId xmlns:p14="http://schemas.microsoft.com/office/powerpoint/2010/main" val="120240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Slide 8">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6724561"/>
            <a:ext cx="2297513" cy="269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421177"/>
            <a:ext cx="7315200" cy="1828804"/>
          </a:xfrm>
          <a:noFill/>
        </p:spPr>
        <p:txBody>
          <a:bodyPr lIns="146286" tIns="91429" rIns="146286" bIns="91429" anchor="t" anchorCtr="0"/>
          <a:lstStyle>
            <a:lvl1pPr>
              <a:defRPr sz="7343" spc="-101" baseline="0">
                <a:gradFill>
                  <a:gsLst>
                    <a:gs pos="0">
                      <a:schemeClr val="accent2"/>
                    </a:gs>
                    <a:gs pos="74000">
                      <a:schemeClr val="accent2"/>
                    </a:gs>
                  </a:gsLst>
                  <a:lin ang="5400000" scaled="1"/>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240452"/>
            <a:ext cx="7315200" cy="1830388"/>
          </a:xfrm>
          <a:noFill/>
        </p:spPr>
        <p:txBody>
          <a:bodyPr lIns="146286" tIns="109714" rIns="146286" bIns="109714">
            <a:noAutofit/>
          </a:bodyPr>
          <a:lstStyle>
            <a:lvl1pPr marL="0" indent="0">
              <a:spcBef>
                <a:spcPts val="0"/>
              </a:spcBef>
              <a:buNone/>
              <a:defRPr sz="3299" spc="0" baseline="0">
                <a:gradFill>
                  <a:gsLst>
                    <a:gs pos="0">
                      <a:schemeClr val="accent2"/>
                    </a:gs>
                    <a:gs pos="74000">
                      <a:schemeClr val="accent2"/>
                    </a:gs>
                  </a:gsLst>
                  <a:lin ang="5400000" scaled="1"/>
                </a:gradFill>
                <a:latin typeface="+mj-lt"/>
              </a:defRPr>
            </a:lvl1pPr>
          </a:lstStyle>
          <a:p>
            <a:pPr lvl="0"/>
            <a:r>
              <a:rPr lang="en-US" dirty="0"/>
              <a:t>Speaker Name</a:t>
            </a:r>
          </a:p>
        </p:txBody>
      </p:sp>
      <p:grpSp>
        <p:nvGrpSpPr>
          <p:cNvPr id="3" name="Group 2"/>
          <p:cNvGrpSpPr/>
          <p:nvPr userDrawn="1"/>
        </p:nvGrpSpPr>
        <p:grpSpPr>
          <a:xfrm>
            <a:off x="0" y="17546"/>
            <a:ext cx="12436475" cy="6976979"/>
            <a:chOff x="7804968" y="4396485"/>
            <a:chExt cx="4387032" cy="2461515"/>
          </a:xfrm>
        </p:grpSpPr>
        <p:sp>
          <p:nvSpPr>
            <p:cNvPr id="14" name="Freeform 9"/>
            <p:cNvSpPr>
              <a:spLocks/>
            </p:cNvSpPr>
            <p:nvPr userDrawn="1"/>
          </p:nvSpPr>
          <p:spPr bwMode="auto">
            <a:xfrm>
              <a:off x="7804968" y="6397340"/>
              <a:ext cx="2217194" cy="460660"/>
            </a:xfrm>
            <a:custGeom>
              <a:avLst/>
              <a:gdLst>
                <a:gd name="T0" fmla="*/ 709 w 1146"/>
                <a:gd name="T1" fmla="*/ 12 h 238"/>
                <a:gd name="T2" fmla="*/ 696 w 1146"/>
                <a:gd name="T3" fmla="*/ 10 h 238"/>
                <a:gd name="T4" fmla="*/ 673 w 1146"/>
                <a:gd name="T5" fmla="*/ 38 h 238"/>
                <a:gd name="T6" fmla="*/ 613 w 1146"/>
                <a:gd name="T7" fmla="*/ 65 h 238"/>
                <a:gd name="T8" fmla="*/ 566 w 1146"/>
                <a:gd name="T9" fmla="*/ 39 h 238"/>
                <a:gd name="T10" fmla="*/ 566 w 1146"/>
                <a:gd name="T11" fmla="*/ 0 h 238"/>
                <a:gd name="T12" fmla="*/ 0 w 1146"/>
                <a:gd name="T13" fmla="*/ 238 h 238"/>
                <a:gd name="T14" fmla="*/ 406 w 1146"/>
                <a:gd name="T15" fmla="*/ 238 h 238"/>
                <a:gd name="T16" fmla="*/ 1146 w 1146"/>
                <a:gd name="T17" fmla="*/ 238 h 238"/>
                <a:gd name="T18" fmla="*/ 709 w 1146"/>
                <a:gd name="T19"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6" h="238">
                  <a:moveTo>
                    <a:pt x="709" y="12"/>
                  </a:moveTo>
                  <a:cubicBezTo>
                    <a:pt x="705" y="11"/>
                    <a:pt x="700" y="10"/>
                    <a:pt x="696" y="10"/>
                  </a:cubicBezTo>
                  <a:cubicBezTo>
                    <a:pt x="688" y="21"/>
                    <a:pt x="680" y="30"/>
                    <a:pt x="673" y="38"/>
                  </a:cubicBezTo>
                  <a:cubicBezTo>
                    <a:pt x="655" y="57"/>
                    <a:pt x="637" y="65"/>
                    <a:pt x="613" y="65"/>
                  </a:cubicBezTo>
                  <a:cubicBezTo>
                    <a:pt x="591" y="65"/>
                    <a:pt x="574" y="57"/>
                    <a:pt x="566" y="39"/>
                  </a:cubicBezTo>
                  <a:cubicBezTo>
                    <a:pt x="562" y="29"/>
                    <a:pt x="561" y="16"/>
                    <a:pt x="566" y="0"/>
                  </a:cubicBezTo>
                  <a:cubicBezTo>
                    <a:pt x="361" y="2"/>
                    <a:pt x="157" y="81"/>
                    <a:pt x="0" y="238"/>
                  </a:cubicBezTo>
                  <a:cubicBezTo>
                    <a:pt x="406" y="238"/>
                    <a:pt x="406" y="238"/>
                    <a:pt x="406" y="238"/>
                  </a:cubicBezTo>
                  <a:cubicBezTo>
                    <a:pt x="1146" y="238"/>
                    <a:pt x="1146" y="238"/>
                    <a:pt x="1146" y="238"/>
                  </a:cubicBezTo>
                  <a:cubicBezTo>
                    <a:pt x="1023" y="114"/>
                    <a:pt x="869" y="39"/>
                    <a:pt x="709" y="1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7" name="Freeform 10"/>
            <p:cNvSpPr>
              <a:spLocks/>
            </p:cNvSpPr>
            <p:nvPr userDrawn="1"/>
          </p:nvSpPr>
          <p:spPr bwMode="auto">
            <a:xfrm>
              <a:off x="8952312" y="6399492"/>
              <a:ext cx="139920" cy="73189"/>
            </a:xfrm>
            <a:custGeom>
              <a:avLst/>
              <a:gdLst>
                <a:gd name="T0" fmla="*/ 27 w 72"/>
                <a:gd name="T1" fmla="*/ 38 h 38"/>
                <a:gd name="T2" fmla="*/ 72 w 72"/>
                <a:gd name="T3" fmla="*/ 5 h 38"/>
                <a:gd name="T4" fmla="*/ 8 w 72"/>
                <a:gd name="T5" fmla="*/ 0 h 38"/>
                <a:gd name="T6" fmla="*/ 27 w 72"/>
                <a:gd name="T7" fmla="*/ 38 h 38"/>
              </a:gdLst>
              <a:ahLst/>
              <a:cxnLst>
                <a:cxn ang="0">
                  <a:pos x="T0" y="T1"/>
                </a:cxn>
                <a:cxn ang="0">
                  <a:pos x="T2" y="T3"/>
                </a:cxn>
                <a:cxn ang="0">
                  <a:pos x="T4" y="T5"/>
                </a:cxn>
                <a:cxn ang="0">
                  <a:pos x="T6" y="T7"/>
                </a:cxn>
              </a:cxnLst>
              <a:rect l="0" t="0" r="r" b="b"/>
              <a:pathLst>
                <a:path w="72" h="38">
                  <a:moveTo>
                    <a:pt x="27" y="38"/>
                  </a:moveTo>
                  <a:cubicBezTo>
                    <a:pt x="44" y="38"/>
                    <a:pt x="55" y="27"/>
                    <a:pt x="72" y="5"/>
                  </a:cubicBezTo>
                  <a:cubicBezTo>
                    <a:pt x="51" y="2"/>
                    <a:pt x="30" y="1"/>
                    <a:pt x="8" y="0"/>
                  </a:cubicBezTo>
                  <a:cubicBezTo>
                    <a:pt x="0" y="26"/>
                    <a:pt x="11" y="38"/>
                    <a:pt x="27"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8" name="Freeform 11"/>
            <p:cNvSpPr>
              <a:spLocks/>
            </p:cNvSpPr>
            <p:nvPr userDrawn="1"/>
          </p:nvSpPr>
          <p:spPr bwMode="auto">
            <a:xfrm>
              <a:off x="8890963" y="6397340"/>
              <a:ext cx="260467" cy="125928"/>
            </a:xfrm>
            <a:custGeom>
              <a:avLst/>
              <a:gdLst>
                <a:gd name="T0" fmla="*/ 5 w 135"/>
                <a:gd name="T1" fmla="*/ 39 h 65"/>
                <a:gd name="T2" fmla="*/ 52 w 135"/>
                <a:gd name="T3" fmla="*/ 65 h 65"/>
                <a:gd name="T4" fmla="*/ 112 w 135"/>
                <a:gd name="T5" fmla="*/ 38 h 65"/>
                <a:gd name="T6" fmla="*/ 135 w 135"/>
                <a:gd name="T7" fmla="*/ 10 h 65"/>
                <a:gd name="T8" fmla="*/ 104 w 135"/>
                <a:gd name="T9" fmla="*/ 6 h 65"/>
                <a:gd name="T10" fmla="*/ 59 w 135"/>
                <a:gd name="T11" fmla="*/ 39 h 65"/>
                <a:gd name="T12" fmla="*/ 40 w 135"/>
                <a:gd name="T13" fmla="*/ 1 h 65"/>
                <a:gd name="T14" fmla="*/ 5 w 135"/>
                <a:gd name="T15" fmla="*/ 0 h 65"/>
                <a:gd name="T16" fmla="*/ 5 w 135"/>
                <a:gd name="T17"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5">
                  <a:moveTo>
                    <a:pt x="5" y="39"/>
                  </a:moveTo>
                  <a:cubicBezTo>
                    <a:pt x="13" y="57"/>
                    <a:pt x="30" y="65"/>
                    <a:pt x="52" y="65"/>
                  </a:cubicBezTo>
                  <a:cubicBezTo>
                    <a:pt x="76" y="65"/>
                    <a:pt x="94" y="57"/>
                    <a:pt x="112" y="38"/>
                  </a:cubicBezTo>
                  <a:cubicBezTo>
                    <a:pt x="119" y="30"/>
                    <a:pt x="127" y="21"/>
                    <a:pt x="135" y="10"/>
                  </a:cubicBezTo>
                  <a:cubicBezTo>
                    <a:pt x="125" y="8"/>
                    <a:pt x="115" y="7"/>
                    <a:pt x="104" y="6"/>
                  </a:cubicBezTo>
                  <a:cubicBezTo>
                    <a:pt x="87" y="28"/>
                    <a:pt x="76" y="39"/>
                    <a:pt x="59" y="39"/>
                  </a:cubicBezTo>
                  <a:cubicBezTo>
                    <a:pt x="43" y="39"/>
                    <a:pt x="32" y="27"/>
                    <a:pt x="40" y="1"/>
                  </a:cubicBezTo>
                  <a:cubicBezTo>
                    <a:pt x="29" y="0"/>
                    <a:pt x="17" y="0"/>
                    <a:pt x="5" y="0"/>
                  </a:cubicBezTo>
                  <a:cubicBezTo>
                    <a:pt x="0" y="16"/>
                    <a:pt x="1" y="29"/>
                    <a:pt x="5" y="39"/>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9" name="Freeform 12"/>
            <p:cNvSpPr>
              <a:spLocks noEditPoints="1"/>
            </p:cNvSpPr>
            <p:nvPr userDrawn="1"/>
          </p:nvSpPr>
          <p:spPr bwMode="auto">
            <a:xfrm>
              <a:off x="8847911" y="6079829"/>
              <a:ext cx="292756" cy="441286"/>
            </a:xfrm>
            <a:custGeom>
              <a:avLst/>
              <a:gdLst>
                <a:gd name="T0" fmla="*/ 73 w 151"/>
                <a:gd name="T1" fmla="*/ 228 h 228"/>
                <a:gd name="T2" fmla="*/ 19 w 151"/>
                <a:gd name="T3" fmla="*/ 200 h 228"/>
                <a:gd name="T4" fmla="*/ 0 w 151"/>
                <a:gd name="T5" fmla="*/ 118 h 228"/>
                <a:gd name="T6" fmla="*/ 20 w 151"/>
                <a:gd name="T7" fmla="*/ 30 h 228"/>
                <a:gd name="T8" fmla="*/ 78 w 151"/>
                <a:gd name="T9" fmla="*/ 0 h 228"/>
                <a:gd name="T10" fmla="*/ 151 w 151"/>
                <a:gd name="T11" fmla="*/ 113 h 228"/>
                <a:gd name="T12" fmla="*/ 130 w 151"/>
                <a:gd name="T13" fmla="*/ 198 h 228"/>
                <a:gd name="T14" fmla="*/ 73 w 151"/>
                <a:gd name="T15" fmla="*/ 228 h 228"/>
                <a:gd name="T16" fmla="*/ 76 w 151"/>
                <a:gd name="T17" fmla="*/ 28 h 228"/>
                <a:gd name="T18" fmla="*/ 36 w 151"/>
                <a:gd name="T19" fmla="*/ 117 h 228"/>
                <a:gd name="T20" fmla="*/ 76 w 151"/>
                <a:gd name="T21" fmla="*/ 199 h 228"/>
                <a:gd name="T22" fmla="*/ 114 w 151"/>
                <a:gd name="T23" fmla="*/ 115 h 228"/>
                <a:gd name="T24" fmla="*/ 76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19" y="200"/>
                  </a:cubicBezTo>
                  <a:cubicBezTo>
                    <a:pt x="6" y="181"/>
                    <a:pt x="0" y="154"/>
                    <a:pt x="0" y="118"/>
                  </a:cubicBezTo>
                  <a:cubicBezTo>
                    <a:pt x="0" y="79"/>
                    <a:pt x="6" y="50"/>
                    <a:pt x="20" y="30"/>
                  </a:cubicBezTo>
                  <a:cubicBezTo>
                    <a:pt x="33" y="10"/>
                    <a:pt x="53" y="0"/>
                    <a:pt x="78" y="0"/>
                  </a:cubicBezTo>
                  <a:cubicBezTo>
                    <a:pt x="126" y="0"/>
                    <a:pt x="151" y="38"/>
                    <a:pt x="151" y="113"/>
                  </a:cubicBezTo>
                  <a:cubicBezTo>
                    <a:pt x="151" y="150"/>
                    <a:pt x="144" y="179"/>
                    <a:pt x="130" y="198"/>
                  </a:cubicBezTo>
                  <a:cubicBezTo>
                    <a:pt x="117" y="218"/>
                    <a:pt x="97" y="228"/>
                    <a:pt x="73" y="228"/>
                  </a:cubicBezTo>
                  <a:close/>
                  <a:moveTo>
                    <a:pt x="76" y="28"/>
                  </a:moveTo>
                  <a:cubicBezTo>
                    <a:pt x="50" y="28"/>
                    <a:pt x="36" y="58"/>
                    <a:pt x="36" y="117"/>
                  </a:cubicBezTo>
                  <a:cubicBezTo>
                    <a:pt x="36" y="172"/>
                    <a:pt x="49" y="199"/>
                    <a:pt x="76" y="199"/>
                  </a:cubicBezTo>
                  <a:cubicBezTo>
                    <a:pt x="101" y="199"/>
                    <a:pt x="114" y="171"/>
                    <a:pt x="114" y="115"/>
                  </a:cubicBezTo>
                  <a:cubicBezTo>
                    <a:pt x="114" y="57"/>
                    <a:pt x="102" y="28"/>
                    <a:pt x="76"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0" name="Freeform 13"/>
            <p:cNvSpPr>
              <a:spLocks/>
            </p:cNvSpPr>
            <p:nvPr userDrawn="1"/>
          </p:nvSpPr>
          <p:spPr bwMode="auto">
            <a:xfrm>
              <a:off x="9169727" y="6086287"/>
              <a:ext cx="153912" cy="422989"/>
            </a:xfrm>
            <a:custGeom>
              <a:avLst/>
              <a:gdLst>
                <a:gd name="T0" fmla="*/ 80 w 80"/>
                <a:gd name="T1" fmla="*/ 0 h 219"/>
                <a:gd name="T2" fmla="*/ 80 w 80"/>
                <a:gd name="T3" fmla="*/ 219 h 219"/>
                <a:gd name="T4" fmla="*/ 45 w 80"/>
                <a:gd name="T5" fmla="*/ 219 h 219"/>
                <a:gd name="T6" fmla="*/ 45 w 80"/>
                <a:gd name="T7" fmla="*/ 42 h 219"/>
                <a:gd name="T8" fmla="*/ 25 w 80"/>
                <a:gd name="T9" fmla="*/ 54 h 219"/>
                <a:gd name="T10" fmla="*/ 0 w 80"/>
                <a:gd name="T11" fmla="*/ 62 h 219"/>
                <a:gd name="T12" fmla="*/ 0 w 80"/>
                <a:gd name="T13" fmla="*/ 32 h 219"/>
                <a:gd name="T14" fmla="*/ 17 w 80"/>
                <a:gd name="T15" fmla="*/ 26 h 219"/>
                <a:gd name="T16" fmla="*/ 33 w 80"/>
                <a:gd name="T17" fmla="*/ 19 h 219"/>
                <a:gd name="T18" fmla="*/ 49 w 80"/>
                <a:gd name="T19" fmla="*/ 11 h 219"/>
                <a:gd name="T20" fmla="*/ 65 w 80"/>
                <a:gd name="T21" fmla="*/ 0 h 219"/>
                <a:gd name="T22" fmla="*/ 80 w 80"/>
                <a:gd name="T2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219">
                  <a:moveTo>
                    <a:pt x="80" y="0"/>
                  </a:moveTo>
                  <a:cubicBezTo>
                    <a:pt x="80" y="219"/>
                    <a:pt x="80" y="219"/>
                    <a:pt x="80" y="219"/>
                  </a:cubicBezTo>
                  <a:cubicBezTo>
                    <a:pt x="45" y="219"/>
                    <a:pt x="45" y="219"/>
                    <a:pt x="45" y="219"/>
                  </a:cubicBezTo>
                  <a:cubicBezTo>
                    <a:pt x="45" y="42"/>
                    <a:pt x="45" y="42"/>
                    <a:pt x="45" y="42"/>
                  </a:cubicBezTo>
                  <a:cubicBezTo>
                    <a:pt x="39" y="47"/>
                    <a:pt x="32" y="50"/>
                    <a:pt x="25" y="54"/>
                  </a:cubicBezTo>
                  <a:cubicBezTo>
                    <a:pt x="18" y="57"/>
                    <a:pt x="9" y="60"/>
                    <a:pt x="0" y="62"/>
                  </a:cubicBezTo>
                  <a:cubicBezTo>
                    <a:pt x="0" y="32"/>
                    <a:pt x="0" y="32"/>
                    <a:pt x="0" y="32"/>
                  </a:cubicBezTo>
                  <a:cubicBezTo>
                    <a:pt x="6" y="30"/>
                    <a:pt x="12" y="28"/>
                    <a:pt x="17" y="26"/>
                  </a:cubicBezTo>
                  <a:cubicBezTo>
                    <a:pt x="22" y="24"/>
                    <a:pt x="28" y="22"/>
                    <a:pt x="33" y="19"/>
                  </a:cubicBezTo>
                  <a:cubicBezTo>
                    <a:pt x="38" y="17"/>
                    <a:pt x="43" y="14"/>
                    <a:pt x="49" y="11"/>
                  </a:cubicBezTo>
                  <a:cubicBezTo>
                    <a:pt x="54" y="7"/>
                    <a:pt x="60" y="4"/>
                    <a:pt x="65" y="0"/>
                  </a:cubicBezTo>
                  <a:lnTo>
                    <a:pt x="8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1" name="Freeform 14"/>
            <p:cNvSpPr>
              <a:spLocks noEditPoints="1"/>
            </p:cNvSpPr>
            <p:nvPr userDrawn="1"/>
          </p:nvSpPr>
          <p:spPr bwMode="auto">
            <a:xfrm>
              <a:off x="9391446" y="6079829"/>
              <a:ext cx="292756"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2" name="Freeform 15"/>
            <p:cNvSpPr>
              <a:spLocks noEditPoints="1"/>
            </p:cNvSpPr>
            <p:nvPr userDrawn="1"/>
          </p:nvSpPr>
          <p:spPr bwMode="auto">
            <a:xfrm>
              <a:off x="9730483" y="6079829"/>
              <a:ext cx="291680"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3" name="Freeform 16"/>
            <p:cNvSpPr>
              <a:spLocks noEditPoints="1"/>
            </p:cNvSpPr>
            <p:nvPr userDrawn="1"/>
          </p:nvSpPr>
          <p:spPr bwMode="auto">
            <a:xfrm>
              <a:off x="10088894" y="6079829"/>
              <a:ext cx="291680" cy="441286"/>
            </a:xfrm>
            <a:custGeom>
              <a:avLst/>
              <a:gdLst>
                <a:gd name="T0" fmla="*/ 73 w 151"/>
                <a:gd name="T1" fmla="*/ 228 h 228"/>
                <a:gd name="T2" fmla="*/ 20 w 151"/>
                <a:gd name="T3" fmla="*/ 200 h 228"/>
                <a:gd name="T4" fmla="*/ 0 w 151"/>
                <a:gd name="T5" fmla="*/ 118 h 228"/>
                <a:gd name="T6" fmla="*/ 21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1" y="228"/>
                    <a:pt x="33" y="218"/>
                    <a:pt x="20" y="200"/>
                  </a:cubicBezTo>
                  <a:cubicBezTo>
                    <a:pt x="7" y="181"/>
                    <a:pt x="0" y="154"/>
                    <a:pt x="0" y="118"/>
                  </a:cubicBezTo>
                  <a:cubicBezTo>
                    <a:pt x="0" y="79"/>
                    <a:pt x="7" y="50"/>
                    <a:pt x="21" y="30"/>
                  </a:cubicBezTo>
                  <a:cubicBezTo>
                    <a:pt x="34" y="10"/>
                    <a:pt x="53" y="0"/>
                    <a:pt x="79" y="0"/>
                  </a:cubicBezTo>
                  <a:cubicBezTo>
                    <a:pt x="127" y="0"/>
                    <a:pt x="151" y="38"/>
                    <a:pt x="151" y="113"/>
                  </a:cubicBezTo>
                  <a:cubicBezTo>
                    <a:pt x="151" y="150"/>
                    <a:pt x="145"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4" name="Freeform 17"/>
            <p:cNvSpPr>
              <a:spLocks/>
            </p:cNvSpPr>
            <p:nvPr userDrawn="1"/>
          </p:nvSpPr>
          <p:spPr bwMode="auto">
            <a:xfrm>
              <a:off x="10720687" y="6266030"/>
              <a:ext cx="1471313" cy="591969"/>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5" name="Freeform 18"/>
            <p:cNvSpPr>
              <a:spLocks/>
            </p:cNvSpPr>
            <p:nvPr userDrawn="1"/>
          </p:nvSpPr>
          <p:spPr bwMode="auto">
            <a:xfrm>
              <a:off x="10376268" y="5116533"/>
              <a:ext cx="467118" cy="1280807"/>
            </a:xfrm>
            <a:custGeom>
              <a:avLst/>
              <a:gdLst>
                <a:gd name="T0" fmla="*/ 241 w 241"/>
                <a:gd name="T1" fmla="*/ 0 h 662"/>
                <a:gd name="T2" fmla="*/ 241 w 241"/>
                <a:gd name="T3" fmla="*/ 662 h 662"/>
                <a:gd name="T4" fmla="*/ 136 w 241"/>
                <a:gd name="T5" fmla="*/ 662 h 662"/>
                <a:gd name="T6" fmla="*/ 136 w 241"/>
                <a:gd name="T7" fmla="*/ 128 h 662"/>
                <a:gd name="T8" fmla="*/ 75 w 241"/>
                <a:gd name="T9" fmla="*/ 163 h 662"/>
                <a:gd name="T10" fmla="*/ 0 w 241"/>
                <a:gd name="T11" fmla="*/ 188 h 662"/>
                <a:gd name="T12" fmla="*/ 0 w 241"/>
                <a:gd name="T13" fmla="*/ 98 h 662"/>
                <a:gd name="T14" fmla="*/ 51 w 241"/>
                <a:gd name="T15" fmla="*/ 80 h 662"/>
                <a:gd name="T16" fmla="*/ 99 w 241"/>
                <a:gd name="T17" fmla="*/ 59 h 662"/>
                <a:gd name="T18" fmla="*/ 147 w 241"/>
                <a:gd name="T19" fmla="*/ 33 h 662"/>
                <a:gd name="T20" fmla="*/ 197 w 241"/>
                <a:gd name="T21" fmla="*/ 0 h 662"/>
                <a:gd name="T22" fmla="*/ 241 w 241"/>
                <a:gd name="T2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662">
                  <a:moveTo>
                    <a:pt x="241" y="0"/>
                  </a:moveTo>
                  <a:cubicBezTo>
                    <a:pt x="241" y="662"/>
                    <a:pt x="241" y="662"/>
                    <a:pt x="241" y="662"/>
                  </a:cubicBezTo>
                  <a:cubicBezTo>
                    <a:pt x="136" y="662"/>
                    <a:pt x="136" y="662"/>
                    <a:pt x="136" y="662"/>
                  </a:cubicBezTo>
                  <a:cubicBezTo>
                    <a:pt x="136" y="128"/>
                    <a:pt x="136" y="128"/>
                    <a:pt x="136" y="128"/>
                  </a:cubicBezTo>
                  <a:cubicBezTo>
                    <a:pt x="118" y="142"/>
                    <a:pt x="97" y="153"/>
                    <a:pt x="75" y="163"/>
                  </a:cubicBezTo>
                  <a:cubicBezTo>
                    <a:pt x="53" y="172"/>
                    <a:pt x="28" y="181"/>
                    <a:pt x="0" y="188"/>
                  </a:cubicBezTo>
                  <a:cubicBezTo>
                    <a:pt x="0" y="98"/>
                    <a:pt x="0" y="98"/>
                    <a:pt x="0" y="98"/>
                  </a:cubicBezTo>
                  <a:cubicBezTo>
                    <a:pt x="18" y="93"/>
                    <a:pt x="35" y="87"/>
                    <a:pt x="51" y="80"/>
                  </a:cubicBezTo>
                  <a:cubicBezTo>
                    <a:pt x="67" y="74"/>
                    <a:pt x="83" y="67"/>
                    <a:pt x="99" y="59"/>
                  </a:cubicBezTo>
                  <a:cubicBezTo>
                    <a:pt x="115" y="51"/>
                    <a:pt x="131" y="43"/>
                    <a:pt x="147" y="33"/>
                  </a:cubicBezTo>
                  <a:cubicBezTo>
                    <a:pt x="163" y="23"/>
                    <a:pt x="180" y="12"/>
                    <a:pt x="197" y="0"/>
                  </a:cubicBezTo>
                  <a:lnTo>
                    <a:pt x="241"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6" name="Freeform 19"/>
            <p:cNvSpPr>
              <a:spLocks noEditPoints="1"/>
            </p:cNvSpPr>
            <p:nvPr userDrawn="1"/>
          </p:nvSpPr>
          <p:spPr bwMode="auto">
            <a:xfrm>
              <a:off x="10965008" y="5100389"/>
              <a:ext cx="913786" cy="1378751"/>
            </a:xfrm>
            <a:custGeom>
              <a:avLst/>
              <a:gdLst>
                <a:gd name="T0" fmla="*/ 228 w 472"/>
                <a:gd name="T1" fmla="*/ 712 h 712"/>
                <a:gd name="T2" fmla="*/ 60 w 472"/>
                <a:gd name="T3" fmla="*/ 624 h 712"/>
                <a:gd name="T4" fmla="*/ 0 w 472"/>
                <a:gd name="T5" fmla="*/ 370 h 712"/>
                <a:gd name="T6" fmla="*/ 63 w 472"/>
                <a:gd name="T7" fmla="*/ 93 h 712"/>
                <a:gd name="T8" fmla="*/ 245 w 472"/>
                <a:gd name="T9" fmla="*/ 0 h 712"/>
                <a:gd name="T10" fmla="*/ 472 w 472"/>
                <a:gd name="T11" fmla="*/ 353 h 712"/>
                <a:gd name="T12" fmla="*/ 408 w 472"/>
                <a:gd name="T13" fmla="*/ 620 h 712"/>
                <a:gd name="T14" fmla="*/ 228 w 472"/>
                <a:gd name="T15" fmla="*/ 712 h 712"/>
                <a:gd name="T16" fmla="*/ 239 w 472"/>
                <a:gd name="T17" fmla="*/ 89 h 712"/>
                <a:gd name="T18" fmla="*/ 114 w 472"/>
                <a:gd name="T19" fmla="*/ 365 h 712"/>
                <a:gd name="T20" fmla="*/ 237 w 472"/>
                <a:gd name="T21" fmla="*/ 623 h 712"/>
                <a:gd name="T22" fmla="*/ 358 w 472"/>
                <a:gd name="T23" fmla="*/ 360 h 712"/>
                <a:gd name="T24" fmla="*/ 239 w 472"/>
                <a:gd name="T25" fmla="*/ 8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2" h="712">
                  <a:moveTo>
                    <a:pt x="228" y="712"/>
                  </a:moveTo>
                  <a:cubicBezTo>
                    <a:pt x="157" y="712"/>
                    <a:pt x="101" y="682"/>
                    <a:pt x="60" y="624"/>
                  </a:cubicBezTo>
                  <a:cubicBezTo>
                    <a:pt x="20" y="565"/>
                    <a:pt x="0" y="480"/>
                    <a:pt x="0" y="370"/>
                  </a:cubicBezTo>
                  <a:cubicBezTo>
                    <a:pt x="0" y="248"/>
                    <a:pt x="21" y="156"/>
                    <a:pt x="63" y="93"/>
                  </a:cubicBezTo>
                  <a:cubicBezTo>
                    <a:pt x="105" y="31"/>
                    <a:pt x="166" y="0"/>
                    <a:pt x="245" y="0"/>
                  </a:cubicBezTo>
                  <a:cubicBezTo>
                    <a:pt x="396" y="0"/>
                    <a:pt x="472" y="117"/>
                    <a:pt x="472" y="353"/>
                  </a:cubicBezTo>
                  <a:cubicBezTo>
                    <a:pt x="472" y="469"/>
                    <a:pt x="450" y="558"/>
                    <a:pt x="408" y="620"/>
                  </a:cubicBezTo>
                  <a:cubicBezTo>
                    <a:pt x="365" y="681"/>
                    <a:pt x="305" y="712"/>
                    <a:pt x="228" y="712"/>
                  </a:cubicBezTo>
                  <a:close/>
                  <a:moveTo>
                    <a:pt x="239" y="89"/>
                  </a:moveTo>
                  <a:cubicBezTo>
                    <a:pt x="156" y="89"/>
                    <a:pt x="114" y="181"/>
                    <a:pt x="114" y="365"/>
                  </a:cubicBezTo>
                  <a:cubicBezTo>
                    <a:pt x="114" y="537"/>
                    <a:pt x="155" y="623"/>
                    <a:pt x="237" y="623"/>
                  </a:cubicBezTo>
                  <a:cubicBezTo>
                    <a:pt x="318" y="623"/>
                    <a:pt x="358" y="536"/>
                    <a:pt x="358" y="360"/>
                  </a:cubicBezTo>
                  <a:cubicBezTo>
                    <a:pt x="358" y="179"/>
                    <a:pt x="318" y="89"/>
                    <a:pt x="239" y="89"/>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7" name="Freeform 20"/>
            <p:cNvSpPr>
              <a:spLocks/>
            </p:cNvSpPr>
            <p:nvPr userDrawn="1"/>
          </p:nvSpPr>
          <p:spPr bwMode="auto">
            <a:xfrm>
              <a:off x="8821003" y="5871025"/>
              <a:ext cx="3370997" cy="986975"/>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8" name="Freeform 21"/>
            <p:cNvSpPr>
              <a:spLocks/>
            </p:cNvSpPr>
            <p:nvPr userDrawn="1"/>
          </p:nvSpPr>
          <p:spPr bwMode="auto">
            <a:xfrm>
              <a:off x="9802596" y="6142255"/>
              <a:ext cx="432676" cy="528468"/>
            </a:xfrm>
            <a:custGeom>
              <a:avLst/>
              <a:gdLst>
                <a:gd name="T0" fmla="*/ 74 w 224"/>
                <a:gd name="T1" fmla="*/ 273 h 273"/>
                <a:gd name="T2" fmla="*/ 224 w 224"/>
                <a:gd name="T3" fmla="*/ 0 h 273"/>
                <a:gd name="T4" fmla="*/ 133 w 224"/>
                <a:gd name="T5" fmla="*/ 17 h 273"/>
                <a:gd name="T6" fmla="*/ 0 w 224"/>
                <a:gd name="T7" fmla="*/ 273 h 273"/>
                <a:gd name="T8" fmla="*/ 74 w 224"/>
                <a:gd name="T9" fmla="*/ 273 h 273"/>
              </a:gdLst>
              <a:ahLst/>
              <a:cxnLst>
                <a:cxn ang="0">
                  <a:pos x="T0" y="T1"/>
                </a:cxn>
                <a:cxn ang="0">
                  <a:pos x="T2" y="T3"/>
                </a:cxn>
                <a:cxn ang="0">
                  <a:pos x="T4" y="T5"/>
                </a:cxn>
                <a:cxn ang="0">
                  <a:pos x="T6" y="T7"/>
                </a:cxn>
                <a:cxn ang="0">
                  <a:pos x="T8" y="T9"/>
                </a:cxn>
              </a:cxnLst>
              <a:rect l="0" t="0" r="r" b="b"/>
              <a:pathLst>
                <a:path w="224" h="273">
                  <a:moveTo>
                    <a:pt x="74" y="273"/>
                  </a:moveTo>
                  <a:cubicBezTo>
                    <a:pt x="83" y="188"/>
                    <a:pt x="133" y="87"/>
                    <a:pt x="224" y="0"/>
                  </a:cubicBezTo>
                  <a:cubicBezTo>
                    <a:pt x="194" y="5"/>
                    <a:pt x="163" y="11"/>
                    <a:pt x="133" y="17"/>
                  </a:cubicBezTo>
                  <a:cubicBezTo>
                    <a:pt x="53" y="100"/>
                    <a:pt x="9" y="193"/>
                    <a:pt x="0" y="273"/>
                  </a:cubicBezTo>
                  <a:cubicBezTo>
                    <a:pt x="25" y="273"/>
                    <a:pt x="49" y="273"/>
                    <a:pt x="74" y="273"/>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9" name="Freeform 22"/>
            <p:cNvSpPr>
              <a:spLocks/>
            </p:cNvSpPr>
            <p:nvPr userDrawn="1"/>
          </p:nvSpPr>
          <p:spPr bwMode="auto">
            <a:xfrm>
              <a:off x="11195338" y="6161628"/>
              <a:ext cx="131310" cy="49510"/>
            </a:xfrm>
            <a:custGeom>
              <a:avLst/>
              <a:gdLst>
                <a:gd name="T0" fmla="*/ 68 w 68"/>
                <a:gd name="T1" fmla="*/ 17 h 26"/>
                <a:gd name="T2" fmla="*/ 10 w 68"/>
                <a:gd name="T3" fmla="*/ 0 h 26"/>
                <a:gd name="T4" fmla="*/ 0 w 68"/>
                <a:gd name="T5" fmla="*/ 11 h 26"/>
                <a:gd name="T6" fmla="*/ 60 w 68"/>
                <a:gd name="T7" fmla="*/ 26 h 26"/>
                <a:gd name="T8" fmla="*/ 68 w 68"/>
                <a:gd name="T9" fmla="*/ 17 h 26"/>
              </a:gdLst>
              <a:ahLst/>
              <a:cxnLst>
                <a:cxn ang="0">
                  <a:pos x="T0" y="T1"/>
                </a:cxn>
                <a:cxn ang="0">
                  <a:pos x="T2" y="T3"/>
                </a:cxn>
                <a:cxn ang="0">
                  <a:pos x="T4" y="T5"/>
                </a:cxn>
                <a:cxn ang="0">
                  <a:pos x="T6" y="T7"/>
                </a:cxn>
                <a:cxn ang="0">
                  <a:pos x="T8" y="T9"/>
                </a:cxn>
              </a:cxnLst>
              <a:rect l="0" t="0" r="r" b="b"/>
              <a:pathLst>
                <a:path w="68" h="26">
                  <a:moveTo>
                    <a:pt x="68" y="17"/>
                  </a:moveTo>
                  <a:cubicBezTo>
                    <a:pt x="49" y="11"/>
                    <a:pt x="30" y="5"/>
                    <a:pt x="10" y="0"/>
                  </a:cubicBezTo>
                  <a:cubicBezTo>
                    <a:pt x="7" y="4"/>
                    <a:pt x="4" y="7"/>
                    <a:pt x="0" y="11"/>
                  </a:cubicBezTo>
                  <a:cubicBezTo>
                    <a:pt x="20" y="15"/>
                    <a:pt x="40" y="21"/>
                    <a:pt x="60" y="26"/>
                  </a:cubicBezTo>
                  <a:cubicBezTo>
                    <a:pt x="63" y="23"/>
                    <a:pt x="65" y="20"/>
                    <a:pt x="68" y="1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0" name="Freeform 23"/>
            <p:cNvSpPr>
              <a:spLocks/>
            </p:cNvSpPr>
            <p:nvPr userDrawn="1"/>
          </p:nvSpPr>
          <p:spPr bwMode="auto">
            <a:xfrm>
              <a:off x="10945635" y="6182078"/>
              <a:ext cx="365945" cy="488644"/>
            </a:xfrm>
            <a:custGeom>
              <a:avLst/>
              <a:gdLst>
                <a:gd name="T0" fmla="*/ 73 w 189"/>
                <a:gd name="T1" fmla="*/ 252 h 252"/>
                <a:gd name="T2" fmla="*/ 189 w 189"/>
                <a:gd name="T3" fmla="*/ 15 h 252"/>
                <a:gd name="T4" fmla="*/ 129 w 189"/>
                <a:gd name="T5" fmla="*/ 0 h 252"/>
                <a:gd name="T6" fmla="*/ 0 w 189"/>
                <a:gd name="T7" fmla="*/ 252 h 252"/>
                <a:gd name="T8" fmla="*/ 73 w 189"/>
                <a:gd name="T9" fmla="*/ 252 h 252"/>
              </a:gdLst>
              <a:ahLst/>
              <a:cxnLst>
                <a:cxn ang="0">
                  <a:pos x="T0" y="T1"/>
                </a:cxn>
                <a:cxn ang="0">
                  <a:pos x="T2" y="T3"/>
                </a:cxn>
                <a:cxn ang="0">
                  <a:pos x="T4" y="T5"/>
                </a:cxn>
                <a:cxn ang="0">
                  <a:pos x="T6" y="T7"/>
                </a:cxn>
                <a:cxn ang="0">
                  <a:pos x="T8" y="T9"/>
                </a:cxn>
              </a:cxnLst>
              <a:rect l="0" t="0" r="r" b="b"/>
              <a:pathLst>
                <a:path w="189" h="252">
                  <a:moveTo>
                    <a:pt x="73" y="252"/>
                  </a:moveTo>
                  <a:cubicBezTo>
                    <a:pt x="81" y="178"/>
                    <a:pt x="120" y="93"/>
                    <a:pt x="189" y="15"/>
                  </a:cubicBezTo>
                  <a:cubicBezTo>
                    <a:pt x="169" y="10"/>
                    <a:pt x="149" y="4"/>
                    <a:pt x="129" y="0"/>
                  </a:cubicBezTo>
                  <a:cubicBezTo>
                    <a:pt x="51" y="82"/>
                    <a:pt x="8" y="173"/>
                    <a:pt x="0" y="252"/>
                  </a:cubicBezTo>
                  <a:cubicBezTo>
                    <a:pt x="24" y="252"/>
                    <a:pt x="49" y="252"/>
                    <a:pt x="73" y="25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1" name="Freeform 24"/>
            <p:cNvSpPr>
              <a:spLocks/>
            </p:cNvSpPr>
            <p:nvPr userDrawn="1"/>
          </p:nvSpPr>
          <p:spPr bwMode="auto">
            <a:xfrm>
              <a:off x="10144862" y="6114271"/>
              <a:ext cx="841673" cy="576901"/>
            </a:xfrm>
            <a:custGeom>
              <a:avLst/>
              <a:gdLst>
                <a:gd name="T0" fmla="*/ 70 w 435"/>
                <a:gd name="T1" fmla="*/ 65 h 298"/>
                <a:gd name="T2" fmla="*/ 16 w 435"/>
                <a:gd name="T3" fmla="*/ 240 h 298"/>
                <a:gd name="T4" fmla="*/ 120 w 435"/>
                <a:gd name="T5" fmla="*/ 298 h 298"/>
                <a:gd name="T6" fmla="*/ 252 w 435"/>
                <a:gd name="T7" fmla="*/ 238 h 298"/>
                <a:gd name="T8" fmla="*/ 399 w 435"/>
                <a:gd name="T9" fmla="*/ 53 h 298"/>
                <a:gd name="T10" fmla="*/ 435 w 435"/>
                <a:gd name="T11" fmla="*/ 14 h 298"/>
                <a:gd name="T12" fmla="*/ 366 w 435"/>
                <a:gd name="T13" fmla="*/ 6 h 298"/>
                <a:gd name="T14" fmla="*/ 317 w 435"/>
                <a:gd name="T15" fmla="*/ 58 h 298"/>
                <a:gd name="T16" fmla="*/ 136 w 435"/>
                <a:gd name="T17" fmla="*/ 240 h 298"/>
                <a:gd name="T18" fmla="*/ 150 w 435"/>
                <a:gd name="T19" fmla="*/ 61 h 298"/>
                <a:gd name="T20" fmla="*/ 212 w 435"/>
                <a:gd name="T21" fmla="*/ 0 h 298"/>
                <a:gd name="T22" fmla="*/ 130 w 435"/>
                <a:gd name="T23" fmla="*/ 5 h 298"/>
                <a:gd name="T24" fmla="*/ 70 w 435"/>
                <a:gd name="T25" fmla="*/ 6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5" h="298">
                  <a:moveTo>
                    <a:pt x="70" y="65"/>
                  </a:moveTo>
                  <a:cubicBezTo>
                    <a:pt x="8" y="141"/>
                    <a:pt x="0" y="201"/>
                    <a:pt x="16" y="240"/>
                  </a:cubicBezTo>
                  <a:cubicBezTo>
                    <a:pt x="34" y="280"/>
                    <a:pt x="72" y="298"/>
                    <a:pt x="120" y="298"/>
                  </a:cubicBezTo>
                  <a:cubicBezTo>
                    <a:pt x="173" y="298"/>
                    <a:pt x="212" y="279"/>
                    <a:pt x="252" y="238"/>
                  </a:cubicBezTo>
                  <a:cubicBezTo>
                    <a:pt x="292" y="197"/>
                    <a:pt x="330" y="133"/>
                    <a:pt x="399" y="53"/>
                  </a:cubicBezTo>
                  <a:cubicBezTo>
                    <a:pt x="411" y="39"/>
                    <a:pt x="423" y="26"/>
                    <a:pt x="435" y="14"/>
                  </a:cubicBezTo>
                  <a:cubicBezTo>
                    <a:pt x="412" y="11"/>
                    <a:pt x="389" y="8"/>
                    <a:pt x="366" y="6"/>
                  </a:cubicBezTo>
                  <a:cubicBezTo>
                    <a:pt x="350" y="21"/>
                    <a:pt x="334" y="39"/>
                    <a:pt x="317" y="58"/>
                  </a:cubicBezTo>
                  <a:cubicBezTo>
                    <a:pt x="220" y="180"/>
                    <a:pt x="194" y="241"/>
                    <a:pt x="136" y="240"/>
                  </a:cubicBezTo>
                  <a:cubicBezTo>
                    <a:pt x="84" y="241"/>
                    <a:pt x="55" y="181"/>
                    <a:pt x="150" y="61"/>
                  </a:cubicBezTo>
                  <a:cubicBezTo>
                    <a:pt x="169" y="38"/>
                    <a:pt x="190" y="18"/>
                    <a:pt x="212" y="0"/>
                  </a:cubicBezTo>
                  <a:cubicBezTo>
                    <a:pt x="185" y="1"/>
                    <a:pt x="158" y="2"/>
                    <a:pt x="130" y="5"/>
                  </a:cubicBezTo>
                  <a:cubicBezTo>
                    <a:pt x="109" y="23"/>
                    <a:pt x="88" y="43"/>
                    <a:pt x="70" y="6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2" name="Freeform 25"/>
            <p:cNvSpPr>
              <a:spLocks/>
            </p:cNvSpPr>
            <p:nvPr userDrawn="1"/>
          </p:nvSpPr>
          <p:spPr bwMode="auto">
            <a:xfrm>
              <a:off x="11295435" y="6246656"/>
              <a:ext cx="586588" cy="444516"/>
            </a:xfrm>
            <a:custGeom>
              <a:avLst/>
              <a:gdLst>
                <a:gd name="T0" fmla="*/ 16 w 303"/>
                <a:gd name="T1" fmla="*/ 172 h 230"/>
                <a:gd name="T2" fmla="*/ 120 w 303"/>
                <a:gd name="T3" fmla="*/ 230 h 230"/>
                <a:gd name="T4" fmla="*/ 251 w 303"/>
                <a:gd name="T5" fmla="*/ 170 h 230"/>
                <a:gd name="T6" fmla="*/ 303 w 303"/>
                <a:gd name="T7" fmla="*/ 107 h 230"/>
                <a:gd name="T8" fmla="*/ 249 w 303"/>
                <a:gd name="T9" fmla="*/ 78 h 230"/>
                <a:gd name="T10" fmla="*/ 135 w 303"/>
                <a:gd name="T11" fmla="*/ 172 h 230"/>
                <a:gd name="T12" fmla="*/ 127 w 303"/>
                <a:gd name="T13" fmla="*/ 23 h 230"/>
                <a:gd name="T14" fmla="*/ 67 w 303"/>
                <a:gd name="T15" fmla="*/ 0 h 230"/>
                <a:gd name="T16" fmla="*/ 16 w 303"/>
                <a:gd name="T17" fmla="*/ 17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30">
                  <a:moveTo>
                    <a:pt x="16" y="172"/>
                  </a:moveTo>
                  <a:cubicBezTo>
                    <a:pt x="33" y="212"/>
                    <a:pt x="72" y="230"/>
                    <a:pt x="120" y="230"/>
                  </a:cubicBezTo>
                  <a:cubicBezTo>
                    <a:pt x="172" y="230"/>
                    <a:pt x="212" y="211"/>
                    <a:pt x="251" y="170"/>
                  </a:cubicBezTo>
                  <a:cubicBezTo>
                    <a:pt x="268" y="152"/>
                    <a:pt x="284" y="132"/>
                    <a:pt x="303" y="107"/>
                  </a:cubicBezTo>
                  <a:cubicBezTo>
                    <a:pt x="285" y="97"/>
                    <a:pt x="267" y="87"/>
                    <a:pt x="249" y="78"/>
                  </a:cubicBezTo>
                  <a:cubicBezTo>
                    <a:pt x="204" y="142"/>
                    <a:pt x="176" y="172"/>
                    <a:pt x="135" y="172"/>
                  </a:cubicBezTo>
                  <a:cubicBezTo>
                    <a:pt x="88" y="172"/>
                    <a:pt x="61" y="123"/>
                    <a:pt x="127" y="23"/>
                  </a:cubicBezTo>
                  <a:cubicBezTo>
                    <a:pt x="107" y="15"/>
                    <a:pt x="87" y="7"/>
                    <a:pt x="67" y="0"/>
                  </a:cubicBezTo>
                  <a:cubicBezTo>
                    <a:pt x="7" y="75"/>
                    <a:pt x="0" y="134"/>
                    <a:pt x="16" y="17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3" name="Freeform 26"/>
            <p:cNvSpPr>
              <a:spLocks/>
            </p:cNvSpPr>
            <p:nvPr userDrawn="1"/>
          </p:nvSpPr>
          <p:spPr bwMode="auto">
            <a:xfrm>
              <a:off x="12054232" y="6564168"/>
              <a:ext cx="137767" cy="124852"/>
            </a:xfrm>
            <a:custGeom>
              <a:avLst/>
              <a:gdLst>
                <a:gd name="T0" fmla="*/ 0 w 71"/>
                <a:gd name="T1" fmla="*/ 0 h 65"/>
                <a:gd name="T2" fmla="*/ 0 w 71"/>
                <a:gd name="T3" fmla="*/ 8 h 65"/>
                <a:gd name="T4" fmla="*/ 65 w 71"/>
                <a:gd name="T5" fmla="*/ 65 h 65"/>
                <a:gd name="T6" fmla="*/ 71 w 71"/>
                <a:gd name="T7" fmla="*/ 55 h 65"/>
                <a:gd name="T8" fmla="*/ 71 w 71"/>
                <a:gd name="T9" fmla="*/ 52 h 65"/>
                <a:gd name="T10" fmla="*/ 0 w 71"/>
                <a:gd name="T11" fmla="*/ 0 h 65"/>
              </a:gdLst>
              <a:ahLst/>
              <a:cxnLst>
                <a:cxn ang="0">
                  <a:pos x="T0" y="T1"/>
                </a:cxn>
                <a:cxn ang="0">
                  <a:pos x="T2" y="T3"/>
                </a:cxn>
                <a:cxn ang="0">
                  <a:pos x="T4" y="T5"/>
                </a:cxn>
                <a:cxn ang="0">
                  <a:pos x="T6" y="T7"/>
                </a:cxn>
                <a:cxn ang="0">
                  <a:pos x="T8" y="T9"/>
                </a:cxn>
                <a:cxn ang="0">
                  <a:pos x="T10" y="T11"/>
                </a:cxn>
              </a:cxnLst>
              <a:rect l="0" t="0" r="r" b="b"/>
              <a:pathLst>
                <a:path w="71" h="65">
                  <a:moveTo>
                    <a:pt x="0" y="0"/>
                  </a:moveTo>
                  <a:cubicBezTo>
                    <a:pt x="0" y="3"/>
                    <a:pt x="0" y="6"/>
                    <a:pt x="0" y="8"/>
                  </a:cubicBezTo>
                  <a:cubicBezTo>
                    <a:pt x="4" y="43"/>
                    <a:pt x="26" y="62"/>
                    <a:pt x="65" y="65"/>
                  </a:cubicBezTo>
                  <a:cubicBezTo>
                    <a:pt x="71" y="55"/>
                    <a:pt x="71" y="55"/>
                    <a:pt x="71" y="55"/>
                  </a:cubicBezTo>
                  <a:cubicBezTo>
                    <a:pt x="71" y="52"/>
                    <a:pt x="71" y="52"/>
                    <a:pt x="71" y="52"/>
                  </a:cubicBezTo>
                  <a:cubicBezTo>
                    <a:pt x="48" y="34"/>
                    <a:pt x="24" y="17"/>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4" name="Freeform 27"/>
            <p:cNvSpPr>
              <a:spLocks/>
            </p:cNvSpPr>
            <p:nvPr userDrawn="1"/>
          </p:nvSpPr>
          <p:spPr bwMode="auto">
            <a:xfrm>
              <a:off x="9626081"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5" name="Freeform 28"/>
            <p:cNvSpPr>
              <a:spLocks/>
            </p:cNvSpPr>
            <p:nvPr userDrawn="1"/>
          </p:nvSpPr>
          <p:spPr bwMode="auto">
            <a:xfrm>
              <a:off x="10732526"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6" name="Freeform 29"/>
            <p:cNvSpPr>
              <a:spLocks noEditPoints="1"/>
            </p:cNvSpPr>
            <p:nvPr userDrawn="1"/>
          </p:nvSpPr>
          <p:spPr bwMode="auto">
            <a:xfrm>
              <a:off x="10074902" y="5789226"/>
              <a:ext cx="598427"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7" name="Freeform 30"/>
            <p:cNvSpPr>
              <a:spLocks noEditPoints="1"/>
            </p:cNvSpPr>
            <p:nvPr userDrawn="1"/>
          </p:nvSpPr>
          <p:spPr bwMode="auto">
            <a:xfrm>
              <a:off x="11189957" y="5789226"/>
              <a:ext cx="597351"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8" name="Freeform 31"/>
            <p:cNvSpPr>
              <a:spLocks/>
            </p:cNvSpPr>
            <p:nvPr userDrawn="1"/>
          </p:nvSpPr>
          <p:spPr bwMode="auto">
            <a:xfrm>
              <a:off x="10103962" y="6424248"/>
              <a:ext cx="1848021" cy="433752"/>
            </a:xfrm>
            <a:custGeom>
              <a:avLst/>
              <a:gdLst>
                <a:gd name="T0" fmla="*/ 591 w 955"/>
                <a:gd name="T1" fmla="*/ 35 h 224"/>
                <a:gd name="T2" fmla="*/ 0 w 955"/>
                <a:gd name="T3" fmla="*/ 224 h 224"/>
                <a:gd name="T4" fmla="*/ 338 w 955"/>
                <a:gd name="T5" fmla="*/ 224 h 224"/>
                <a:gd name="T6" fmla="*/ 955 w 955"/>
                <a:gd name="T7" fmla="*/ 224 h 224"/>
                <a:gd name="T8" fmla="*/ 591 w 955"/>
                <a:gd name="T9" fmla="*/ 35 h 224"/>
              </a:gdLst>
              <a:ahLst/>
              <a:cxnLst>
                <a:cxn ang="0">
                  <a:pos x="T0" y="T1"/>
                </a:cxn>
                <a:cxn ang="0">
                  <a:pos x="T2" y="T3"/>
                </a:cxn>
                <a:cxn ang="0">
                  <a:pos x="T4" y="T5"/>
                </a:cxn>
                <a:cxn ang="0">
                  <a:pos x="T6" y="T7"/>
                </a:cxn>
                <a:cxn ang="0">
                  <a:pos x="T8" y="T9"/>
                </a:cxn>
              </a:cxnLst>
              <a:rect l="0" t="0" r="r" b="b"/>
              <a:pathLst>
                <a:path w="955" h="224">
                  <a:moveTo>
                    <a:pt x="591" y="35"/>
                  </a:moveTo>
                  <a:cubicBezTo>
                    <a:pt x="383" y="0"/>
                    <a:pt x="161" y="63"/>
                    <a:pt x="0" y="224"/>
                  </a:cubicBezTo>
                  <a:cubicBezTo>
                    <a:pt x="338" y="224"/>
                    <a:pt x="338" y="224"/>
                    <a:pt x="338" y="224"/>
                  </a:cubicBezTo>
                  <a:cubicBezTo>
                    <a:pt x="955" y="224"/>
                    <a:pt x="955" y="224"/>
                    <a:pt x="955" y="224"/>
                  </a:cubicBezTo>
                  <a:cubicBezTo>
                    <a:pt x="852" y="121"/>
                    <a:pt x="724" y="58"/>
                    <a:pt x="591" y="3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9" name="Freeform 32"/>
            <p:cNvSpPr>
              <a:spLocks/>
            </p:cNvSpPr>
            <p:nvPr userDrawn="1"/>
          </p:nvSpPr>
          <p:spPr bwMode="auto">
            <a:xfrm>
              <a:off x="12000417" y="5201562"/>
              <a:ext cx="191583" cy="1190397"/>
            </a:xfrm>
            <a:custGeom>
              <a:avLst/>
              <a:gdLst>
                <a:gd name="T0" fmla="*/ 63 w 99"/>
                <a:gd name="T1" fmla="*/ 41 h 615"/>
                <a:gd name="T2" fmla="*/ 0 w 99"/>
                <a:gd name="T3" fmla="*/ 318 h 615"/>
                <a:gd name="T4" fmla="*/ 60 w 99"/>
                <a:gd name="T5" fmla="*/ 572 h 615"/>
                <a:gd name="T6" fmla="*/ 99 w 99"/>
                <a:gd name="T7" fmla="*/ 615 h 615"/>
                <a:gd name="T8" fmla="*/ 99 w 99"/>
                <a:gd name="T9" fmla="*/ 0 h 615"/>
                <a:gd name="T10" fmla="*/ 63 w 99"/>
                <a:gd name="T11" fmla="*/ 41 h 615"/>
              </a:gdLst>
              <a:ahLst/>
              <a:cxnLst>
                <a:cxn ang="0">
                  <a:pos x="T0" y="T1"/>
                </a:cxn>
                <a:cxn ang="0">
                  <a:pos x="T2" y="T3"/>
                </a:cxn>
                <a:cxn ang="0">
                  <a:pos x="T4" y="T5"/>
                </a:cxn>
                <a:cxn ang="0">
                  <a:pos x="T6" y="T7"/>
                </a:cxn>
                <a:cxn ang="0">
                  <a:pos x="T8" y="T9"/>
                </a:cxn>
                <a:cxn ang="0">
                  <a:pos x="T10" y="T11"/>
                </a:cxn>
              </a:cxnLst>
              <a:rect l="0" t="0" r="r" b="b"/>
              <a:pathLst>
                <a:path w="99" h="615">
                  <a:moveTo>
                    <a:pt x="63" y="41"/>
                  </a:moveTo>
                  <a:cubicBezTo>
                    <a:pt x="21" y="104"/>
                    <a:pt x="0" y="196"/>
                    <a:pt x="0" y="318"/>
                  </a:cubicBezTo>
                  <a:cubicBezTo>
                    <a:pt x="0" y="428"/>
                    <a:pt x="20" y="513"/>
                    <a:pt x="60" y="572"/>
                  </a:cubicBezTo>
                  <a:cubicBezTo>
                    <a:pt x="72" y="588"/>
                    <a:pt x="85" y="603"/>
                    <a:pt x="99" y="615"/>
                  </a:cubicBezTo>
                  <a:cubicBezTo>
                    <a:pt x="99" y="0"/>
                    <a:pt x="99" y="0"/>
                    <a:pt x="99" y="0"/>
                  </a:cubicBezTo>
                  <a:cubicBezTo>
                    <a:pt x="86" y="12"/>
                    <a:pt x="74" y="25"/>
                    <a:pt x="63" y="4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40" name="Freeform 33"/>
            <p:cNvSpPr>
              <a:spLocks/>
            </p:cNvSpPr>
            <p:nvPr userDrawn="1"/>
          </p:nvSpPr>
          <p:spPr bwMode="auto">
            <a:xfrm>
              <a:off x="11927228" y="5791378"/>
              <a:ext cx="264772" cy="897641"/>
            </a:xfrm>
            <a:custGeom>
              <a:avLst/>
              <a:gdLst>
                <a:gd name="T0" fmla="*/ 75 w 137"/>
                <a:gd name="T1" fmla="*/ 238 h 464"/>
                <a:gd name="T2" fmla="*/ 137 w 137"/>
                <a:gd name="T3" fmla="*/ 60 h 464"/>
                <a:gd name="T4" fmla="*/ 137 w 137"/>
                <a:gd name="T5" fmla="*/ 0 h 464"/>
                <a:gd name="T6" fmla="*/ 41 w 137"/>
                <a:gd name="T7" fmla="*/ 60 h 464"/>
                <a:gd name="T8" fmla="*/ 0 w 137"/>
                <a:gd name="T9" fmla="*/ 241 h 464"/>
                <a:gd name="T10" fmla="*/ 40 w 137"/>
                <a:gd name="T11" fmla="*/ 407 h 464"/>
                <a:gd name="T12" fmla="*/ 137 w 137"/>
                <a:gd name="T13" fmla="*/ 464 h 464"/>
                <a:gd name="T14" fmla="*/ 137 w 137"/>
                <a:gd name="T15" fmla="*/ 404 h 464"/>
                <a:gd name="T16" fmla="*/ 75 w 137"/>
                <a:gd name="T17" fmla="*/ 23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464">
                  <a:moveTo>
                    <a:pt x="75" y="238"/>
                  </a:moveTo>
                  <a:cubicBezTo>
                    <a:pt x="75" y="133"/>
                    <a:pt x="95" y="74"/>
                    <a:pt x="137" y="60"/>
                  </a:cubicBezTo>
                  <a:cubicBezTo>
                    <a:pt x="137" y="0"/>
                    <a:pt x="137" y="0"/>
                    <a:pt x="137" y="0"/>
                  </a:cubicBezTo>
                  <a:cubicBezTo>
                    <a:pt x="96" y="6"/>
                    <a:pt x="65" y="26"/>
                    <a:pt x="41" y="60"/>
                  </a:cubicBezTo>
                  <a:cubicBezTo>
                    <a:pt x="14" y="101"/>
                    <a:pt x="0" y="161"/>
                    <a:pt x="0" y="241"/>
                  </a:cubicBezTo>
                  <a:cubicBezTo>
                    <a:pt x="0" y="313"/>
                    <a:pt x="13" y="369"/>
                    <a:pt x="40" y="407"/>
                  </a:cubicBezTo>
                  <a:cubicBezTo>
                    <a:pt x="63" y="442"/>
                    <a:pt x="96" y="461"/>
                    <a:pt x="137" y="464"/>
                  </a:cubicBezTo>
                  <a:cubicBezTo>
                    <a:pt x="137" y="404"/>
                    <a:pt x="137" y="404"/>
                    <a:pt x="137" y="404"/>
                  </a:cubicBezTo>
                  <a:cubicBezTo>
                    <a:pt x="95" y="392"/>
                    <a:pt x="75" y="337"/>
                    <a:pt x="75" y="23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nvGrpSpPr>
            <p:cNvPr id="71" name="Group 70"/>
            <p:cNvGrpSpPr/>
            <p:nvPr userDrawn="1"/>
          </p:nvGrpSpPr>
          <p:grpSpPr>
            <a:xfrm>
              <a:off x="11096318" y="4396485"/>
              <a:ext cx="720050" cy="491872"/>
              <a:chOff x="10236200" y="3170238"/>
              <a:chExt cx="1062038" cy="725487"/>
            </a:xfrm>
            <a:solidFill>
              <a:schemeClr val="bg1">
                <a:lumMod val="75000"/>
              </a:schemeClr>
            </a:solidFill>
          </p:grpSpPr>
          <p:sp>
            <p:nvSpPr>
              <p:cNvPr id="72" name="Freeform 7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3" name="Freeform 7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4" name="Freeform 7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5" name="Freeform 7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6" name="Freeform 7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7" name="Freeform 7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8" name="Freeform 7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9" name="Freeform 7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0" name="Freeform 7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1" name="Freeform 8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2" name="Freeform 8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3" name="Freeform 8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4" name="Freeform 8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5" name="Freeform 8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6" name="Freeform 8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7" name="Freeform 8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8" name="Freeform 8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9" name="Freeform 8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0" name="Freeform 8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1" name="Freeform 9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2" name="Freeform 9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3" name="Freeform 9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4" name="Freeform 9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5" name="Freeform 9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6" name="Freeform 9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7" name="Freeform 9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8" name="Freeform 9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9" name="Freeform 9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00" name="Freeform 9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gr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6392" y="201591"/>
            <a:ext cx="2535995" cy="932718"/>
          </a:xfrm>
          <a:prstGeom prst="rect">
            <a:avLst/>
          </a:prstGeom>
        </p:spPr>
      </p:pic>
    </p:spTree>
    <p:extLst>
      <p:ext uri="{BB962C8B-B14F-4D97-AF65-F5344CB8AC3E}">
        <p14:creationId xmlns:p14="http://schemas.microsoft.com/office/powerpoint/2010/main" val="270448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0999" y="99948"/>
            <a:ext cx="10726460" cy="1351952"/>
          </a:xfrm>
        </p:spPr>
        <p:txBody>
          <a:bodyPr>
            <a:normAutofit/>
          </a:bodyPr>
          <a:lstStyle>
            <a:lvl1pPr>
              <a:defRPr sz="5303">
                <a:solidFill>
                  <a:schemeClr val="bg2">
                    <a:lumMod val="25000"/>
                  </a:schemeClr>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81D9E3D-092D-4520-BA4B-4854E875A2BA}" type="datetimeFigureOut">
              <a:rPr lang="en-US" smtClean="0">
                <a:solidFill>
                  <a:prstClr val="black">
                    <a:tint val="75000"/>
                  </a:prstClr>
                </a:solidFill>
              </a:rPr>
              <a:pPr/>
              <a:t>2/1/2016</a:t>
            </a:fld>
            <a:endParaRPr lang="en-US" dirty="0">
              <a:solidFill>
                <a:prstClr val="black">
                  <a:tint val="75000"/>
                </a:prstClr>
              </a:solidFill>
            </a:endParaRPr>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780EA0DF-B2D2-4052-BADD-FCC03C52398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6194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1111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Gray Title and 2-color bulleted">
    <p:spTree>
      <p:nvGrpSpPr>
        <p:cNvPr id="1" name=""/>
        <p:cNvGrpSpPr/>
        <p:nvPr/>
      </p:nvGrpSpPr>
      <p:grpSpPr>
        <a:xfrm>
          <a:off x="0" y="0"/>
          <a:ext cx="0" cy="0"/>
          <a:chOff x="0" y="0"/>
          <a:chExt cx="0" cy="0"/>
        </a:xfrm>
      </p:grpSpPr>
      <p:sp>
        <p:nvSpPr>
          <p:cNvPr id="5" name="Rectangle 4"/>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marL="0" marR="0" lvl="0" indent="0" algn="r" defTabSz="912979" eaLnBrk="1" fontAlgn="base" latinLnBrk="0" hangingPunct="1">
              <a:lnSpc>
                <a:spcPct val="90000"/>
              </a:lnSpc>
              <a:spcBef>
                <a:spcPct val="0"/>
              </a:spcBef>
              <a:spcAft>
                <a:spcPts val="587"/>
              </a:spcAft>
              <a:buClrTx/>
              <a:buSzTx/>
              <a:buFontTx/>
              <a:buNone/>
              <a:tabLst/>
              <a:defRPr/>
            </a:pPr>
            <a:endParaRPr kumimoji="0" lang="en-US" sz="1764" b="0" i="0" u="none" strike="noStrike" kern="0" cap="none" spc="0" normalizeH="0" baseline="0" noProof="0" dirty="0">
              <a:ln>
                <a:noFill/>
              </a:ln>
              <a:solidFill>
                <a:schemeClr val="bg1">
                  <a:lumMod val="50000"/>
                </a:schemeClr>
              </a:solidFill>
              <a:effectLst/>
              <a:uLnTx/>
              <a:uFillTx/>
              <a:latin typeface="Segoe UI Semibold" panose="020B0702040204020203" pitchFamily="34" charset="0"/>
              <a:cs typeface="Segoe UI Semibold" panose="020B0702040204020203" pitchFamily="34" charset="0"/>
            </a:endParaRPr>
          </a:p>
        </p:txBody>
      </p:sp>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110398876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25389934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5433741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35422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52767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6356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25465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384225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8283795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645587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1832635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2991601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7745994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0985870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0591086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dirty="0"/>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7058927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62939438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550719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08397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7701693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6534319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10371990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54455657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59331269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236734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12394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40268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29542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928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34159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428129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45995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2"/>
            <a:ext cx="11375536" cy="2289927"/>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2551" indent="-349656">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656" indent="-349656">
              <a:spcBef>
                <a:spcPts val="0"/>
              </a:spcBef>
              <a:spcAft>
                <a:spcPts val="408"/>
              </a:spcAft>
              <a:buFont typeface="Arial" pitchFamily="34" charset="0"/>
              <a:buChar char="•"/>
              <a:defRPr/>
            </a:lvl5pPr>
            <a:lvl6pPr marL="1053826" indent="-349656">
              <a:buFont typeface="Arial" pitchFamily="34" charset="0"/>
              <a:buChar char="•"/>
              <a:defRPr sz="2448">
                <a:gradFill>
                  <a:gsLst>
                    <a:gs pos="0">
                      <a:srgbClr val="595959"/>
                    </a:gs>
                    <a:gs pos="86000">
                      <a:srgbClr val="595959"/>
                    </a:gs>
                  </a:gsLst>
                  <a:lin ang="5400000" scaled="0"/>
                </a:gradFill>
              </a:defRPr>
            </a:lvl6pPr>
            <a:lvl7pPr marL="1280456" indent="-229867">
              <a:defRPr>
                <a:gradFill>
                  <a:gsLst>
                    <a:gs pos="0">
                      <a:srgbClr val="595959"/>
                    </a:gs>
                    <a:gs pos="86000">
                      <a:srgbClr val="595959"/>
                    </a:gs>
                  </a:gsLst>
                  <a:lin ang="5400000" scaled="0"/>
                </a:gradFill>
              </a:defRPr>
            </a:lvl7pPr>
            <a:lvl8pPr marL="1516797" indent="-236341">
              <a:defRPr>
                <a:gradFill>
                  <a:gsLst>
                    <a:gs pos="0">
                      <a:srgbClr val="595959"/>
                    </a:gs>
                    <a:gs pos="86000">
                      <a:srgbClr val="595959"/>
                    </a:gs>
                  </a:gsLst>
                  <a:lin ang="5400000" scaled="0"/>
                </a:gradFill>
              </a:defRPr>
            </a:lvl8pPr>
          </a:lstStyle>
          <a:p>
            <a:pPr marL="352895" lvl="0" indent="-352895" algn="l" defTabSz="932380" rtl="0" eaLnBrk="1" latinLnBrk="0" hangingPunct="1">
              <a:lnSpc>
                <a:spcPct val="90000"/>
              </a:lnSpc>
              <a:spcBef>
                <a:spcPct val="20000"/>
              </a:spcBef>
              <a:buSzPct val="90000"/>
              <a:buFont typeface="Arial" pitchFamily="34" charset="0"/>
              <a:buChar char="•"/>
            </a:pPr>
            <a:r>
              <a:rPr lang="en-US"/>
              <a:t>Click to edit Master text styles</a:t>
            </a:r>
          </a:p>
          <a:p>
            <a:pPr marL="352895" lvl="1" indent="-352895" algn="l" defTabSz="932380" rtl="0" eaLnBrk="1" latinLnBrk="0" hangingPunct="1">
              <a:lnSpc>
                <a:spcPct val="90000"/>
              </a:lnSpc>
              <a:spcBef>
                <a:spcPct val="20000"/>
              </a:spcBef>
              <a:buSzPct val="90000"/>
              <a:buFont typeface="Arial" pitchFamily="34" charset="0"/>
              <a:buChar char="•"/>
            </a:pPr>
            <a:r>
              <a:rPr lang="en-US"/>
              <a:t>Second level</a:t>
            </a:r>
          </a:p>
          <a:p>
            <a:pPr marL="352895" lvl="2" indent="-352895" algn="l" defTabSz="932380" rtl="0" eaLnBrk="1" latinLnBrk="0" hangingPunct="1">
              <a:lnSpc>
                <a:spcPct val="90000"/>
              </a:lnSpc>
              <a:spcBef>
                <a:spcPct val="20000"/>
              </a:spcBef>
              <a:buSzPct val="90000"/>
              <a:buFont typeface="Arial" pitchFamily="34" charset="0"/>
              <a:buChar char="•"/>
            </a:pPr>
            <a:r>
              <a:rPr lang="en-US"/>
              <a:t>Third level</a:t>
            </a:r>
          </a:p>
          <a:p>
            <a:pPr marL="352895" lvl="3" indent="-352895" algn="l" defTabSz="932380" rtl="0" eaLnBrk="1" latinLnBrk="0" hangingPunct="1">
              <a:lnSpc>
                <a:spcPct val="90000"/>
              </a:lnSpc>
              <a:spcBef>
                <a:spcPct val="20000"/>
              </a:spcBef>
              <a:buSzPct val="90000"/>
              <a:buFont typeface="Arial" pitchFamily="34" charset="0"/>
              <a:buChar char="•"/>
            </a:pPr>
            <a:r>
              <a:rPr lang="en-US"/>
              <a:t>Fourth level</a:t>
            </a:r>
          </a:p>
          <a:p>
            <a:pPr marL="352895" lvl="4" indent="-352895" algn="l" defTabSz="932380" rtl="0" eaLnBrk="1" latinLnBrk="0" hangingPunct="1">
              <a:lnSpc>
                <a:spcPct val="90000"/>
              </a:lnSpc>
              <a:spcBef>
                <a:spcPct val="20000"/>
              </a:spcBef>
              <a:buSzPct val="90000"/>
              <a:buFont typeface="Arial" pitchFamily="34" charset="0"/>
              <a:buChar char="•"/>
            </a:pPr>
            <a:r>
              <a:rPr lang="en-US"/>
              <a:t>Fifth level</a:t>
            </a:r>
            <a:endParaRPr lang="en-US" dirty="0"/>
          </a:p>
        </p:txBody>
      </p:sp>
      <p:sp>
        <p:nvSpPr>
          <p:cNvPr id="6" name="Title Placeholder 1"/>
          <p:cNvSpPr>
            <a:spLocks noGrp="1"/>
          </p:cNvSpPr>
          <p:nvPr>
            <p:ph type="title"/>
          </p:nvPr>
        </p:nvSpPr>
        <p:spPr>
          <a:xfrm>
            <a:off x="462164" y="1"/>
            <a:ext cx="11375536" cy="747897"/>
          </a:xfrm>
          <a:prstGeom prst="rect">
            <a:avLst/>
          </a:prstGeom>
        </p:spPr>
        <p:txBody>
          <a:bodyPr vert="horz" wrap="square" lIns="0" tIns="0" rIns="0" bIns="0" rtlCol="0" anchor="t">
            <a:spAutoFit/>
          </a:bodyPr>
          <a:lstStyle/>
          <a:p>
            <a:r>
              <a:rPr lang="en-US" dirty="0"/>
              <a:t>Click to edit Master title style</a:t>
            </a:r>
          </a:p>
        </p:txBody>
      </p:sp>
    </p:spTree>
    <p:extLst>
      <p:ext uri="{BB962C8B-B14F-4D97-AF65-F5344CB8AC3E}">
        <p14:creationId xmlns:p14="http://schemas.microsoft.com/office/powerpoint/2010/main" val="377220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Gray Title and 2-color bulleted">
    <p:spTree>
      <p:nvGrpSpPr>
        <p:cNvPr id="1" name=""/>
        <p:cNvGrpSpPr/>
        <p:nvPr/>
      </p:nvGrpSpPr>
      <p:grpSpPr>
        <a:xfrm>
          <a:off x="0" y="0"/>
          <a:ext cx="0" cy="0"/>
          <a:chOff x="0" y="0"/>
          <a:chExt cx="0" cy="0"/>
        </a:xfrm>
      </p:grpSpPr>
      <p:sp>
        <p:nvSpPr>
          <p:cNvPr id="5" name="Rectangle 4"/>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marL="0" marR="0" lvl="0" indent="0" algn="r" defTabSz="912979" eaLnBrk="1" fontAlgn="base" latinLnBrk="0" hangingPunct="1">
              <a:lnSpc>
                <a:spcPct val="90000"/>
              </a:lnSpc>
              <a:spcBef>
                <a:spcPct val="0"/>
              </a:spcBef>
              <a:spcAft>
                <a:spcPts val="587"/>
              </a:spcAft>
              <a:buClrTx/>
              <a:buSzTx/>
              <a:buFontTx/>
              <a:buNone/>
              <a:tabLst/>
              <a:defRPr/>
            </a:pPr>
            <a:endParaRPr kumimoji="0" lang="en-US" sz="1764" b="0" i="0" u="none" strike="noStrike" kern="0" cap="none" spc="0" normalizeH="0" baseline="0" noProof="0" dirty="0">
              <a:ln>
                <a:noFill/>
              </a:ln>
              <a:solidFill>
                <a:schemeClr val="bg1">
                  <a:lumMod val="50000"/>
                </a:schemeClr>
              </a:solidFill>
              <a:effectLst/>
              <a:uLnTx/>
              <a:uFillTx/>
              <a:latin typeface="Segoe UI Semibold" panose="020B0702040204020203" pitchFamily="34" charset="0"/>
              <a:cs typeface="Segoe UI Semibold" panose="020B0702040204020203" pitchFamily="34" charset="0"/>
            </a:endParaRPr>
          </a:p>
        </p:txBody>
      </p:sp>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308879613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agram">
    <p:spTree>
      <p:nvGrpSpPr>
        <p:cNvPr id="1" name=""/>
        <p:cNvGrpSpPr/>
        <p:nvPr/>
      </p:nvGrpSpPr>
      <p:grpSpPr>
        <a:xfrm>
          <a:off x="0" y="0"/>
          <a:ext cx="0" cy="0"/>
          <a:chOff x="0" y="0"/>
          <a:chExt cx="0" cy="0"/>
        </a:xfrm>
      </p:grpSpPr>
      <p:sp>
        <p:nvSpPr>
          <p:cNvPr id="4" name="Rectangle 3"/>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algn="r" defTabSz="912979" fontAlgn="base">
              <a:lnSpc>
                <a:spcPct val="90000"/>
              </a:lnSpc>
              <a:spcBef>
                <a:spcPct val="0"/>
              </a:spcBef>
              <a:spcAft>
                <a:spcPts val="587"/>
              </a:spcAft>
              <a:defRPr/>
            </a:pPr>
            <a:endParaRPr lang="en-US" sz="1764" kern="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5" name="Text Placeholder 4"/>
          <p:cNvSpPr>
            <a:spLocks noGrp="1"/>
          </p:cNvSpPr>
          <p:nvPr>
            <p:ph type="body" sz="quarter" idx="10"/>
          </p:nvPr>
        </p:nvSpPr>
        <p:spPr>
          <a:xfrm>
            <a:off x="422190" y="1514668"/>
            <a:ext cx="6565091" cy="1765643"/>
          </a:xfrm>
        </p:spPr>
        <p:txBody>
          <a:bodyPr/>
          <a:lstStyle>
            <a:lvl1pPr marL="0" indent="0">
              <a:spcBef>
                <a:spcPts val="0"/>
              </a:spcBef>
              <a:spcAft>
                <a:spcPts val="0"/>
              </a:spcAft>
              <a:buFont typeface="Arial" pitchFamily="34" charset="0"/>
              <a:buNone/>
              <a:defRPr lang="en-US" sz="2448" kern="1200" dirty="0" smtClean="0">
                <a:gradFill>
                  <a:gsLst>
                    <a:gs pos="0">
                      <a:srgbClr val="595959"/>
                    </a:gs>
                    <a:gs pos="86000">
                      <a:srgbClr val="595959"/>
                    </a:gs>
                  </a:gsLst>
                  <a:lin ang="5400000" scaled="0"/>
                </a:gradFill>
                <a:latin typeface="+mn-lt"/>
                <a:ea typeface="+mn-ea"/>
                <a:cs typeface="+mn-cs"/>
              </a:defRPr>
            </a:lvl1pPr>
            <a:lvl2pPr marL="702551" indent="-349656">
              <a:spcBef>
                <a:spcPts val="0"/>
              </a:spcBef>
              <a:spcAft>
                <a:spcPts val="0"/>
              </a:spcAft>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1632"/>
            </a:lvl3pPr>
            <a:lvl4pPr marL="0" indent="0">
              <a:spcBef>
                <a:spcPts val="0"/>
              </a:spcBef>
              <a:spcAft>
                <a:spcPts val="408"/>
              </a:spcAft>
              <a:buNone/>
              <a:defRPr sz="1428"/>
            </a:lvl4pPr>
            <a:lvl5pPr marL="349656" indent="-349656">
              <a:spcBef>
                <a:spcPts val="0"/>
              </a:spcBef>
              <a:spcAft>
                <a:spcPts val="408"/>
              </a:spcAft>
              <a:buFont typeface="Arial" pitchFamily="34" charset="0"/>
              <a:buChar char="•"/>
              <a:defRPr sz="1428"/>
            </a:lvl5pPr>
            <a:lvl6pPr marL="1053826" indent="-349656">
              <a:buFont typeface="Arial" pitchFamily="34" charset="0"/>
              <a:buChar char="•"/>
              <a:defRPr sz="2448">
                <a:gradFill>
                  <a:gsLst>
                    <a:gs pos="0">
                      <a:srgbClr val="595959"/>
                    </a:gs>
                    <a:gs pos="86000">
                      <a:srgbClr val="595959"/>
                    </a:gs>
                  </a:gsLst>
                  <a:lin ang="5400000" scaled="0"/>
                </a:gradFill>
              </a:defRPr>
            </a:lvl6pPr>
            <a:lvl7pPr marL="1280456" indent="-229867">
              <a:defRPr>
                <a:gradFill>
                  <a:gsLst>
                    <a:gs pos="0">
                      <a:srgbClr val="595959"/>
                    </a:gs>
                    <a:gs pos="86000">
                      <a:srgbClr val="595959"/>
                    </a:gs>
                  </a:gsLst>
                  <a:lin ang="5400000" scaled="0"/>
                </a:gradFill>
              </a:defRPr>
            </a:lvl7pPr>
            <a:lvl8pPr marL="1516797" indent="-236341">
              <a:defRPr>
                <a:gradFill>
                  <a:gsLst>
                    <a:gs pos="0">
                      <a:srgbClr val="595959"/>
                    </a:gs>
                    <a:gs pos="86000">
                      <a:srgbClr val="595959"/>
                    </a:gs>
                  </a:gsLst>
                  <a:lin ang="5400000" scaled="0"/>
                </a:gradFill>
              </a:defRPr>
            </a:lvl8pPr>
          </a:lstStyle>
          <a:p>
            <a:pPr marL="352895" lvl="0" indent="-352895" algn="l" defTabSz="932380" rtl="0" eaLnBrk="1" latinLnBrk="0" hangingPunct="1">
              <a:lnSpc>
                <a:spcPct val="90000"/>
              </a:lnSpc>
              <a:spcBef>
                <a:spcPct val="20000"/>
              </a:spcBef>
              <a:buSzPct val="90000"/>
              <a:buFont typeface="Arial" pitchFamily="34" charset="0"/>
              <a:buChar char="•"/>
            </a:pPr>
            <a:r>
              <a:rPr lang="en-US" dirty="0"/>
              <a:t>Click to edit Master text styles</a:t>
            </a:r>
          </a:p>
          <a:p>
            <a:pPr marL="352895" lvl="1" indent="-352895" algn="l" defTabSz="932380" rtl="0" eaLnBrk="1" latinLnBrk="0" hangingPunct="1">
              <a:lnSpc>
                <a:spcPct val="90000"/>
              </a:lnSpc>
              <a:spcBef>
                <a:spcPct val="20000"/>
              </a:spcBef>
              <a:buSzPct val="90000"/>
              <a:buFont typeface="Arial" pitchFamily="34" charset="0"/>
              <a:buChar char="•"/>
            </a:pPr>
            <a:r>
              <a:rPr lang="en-US" dirty="0"/>
              <a:t>Second level</a:t>
            </a:r>
          </a:p>
          <a:p>
            <a:pPr marL="352895" lvl="2" indent="-352895" algn="l" defTabSz="932380" rtl="0" eaLnBrk="1" latinLnBrk="0" hangingPunct="1">
              <a:lnSpc>
                <a:spcPct val="90000"/>
              </a:lnSpc>
              <a:spcBef>
                <a:spcPct val="20000"/>
              </a:spcBef>
              <a:buSzPct val="90000"/>
              <a:buFont typeface="Arial" pitchFamily="34" charset="0"/>
              <a:buChar char="•"/>
            </a:pPr>
            <a:r>
              <a:rPr lang="en-US" dirty="0"/>
              <a:t>Third level</a:t>
            </a:r>
          </a:p>
          <a:p>
            <a:pPr marL="352895" lvl="3" indent="-352895" algn="l" defTabSz="932380" rtl="0" eaLnBrk="1" latinLnBrk="0" hangingPunct="1">
              <a:lnSpc>
                <a:spcPct val="90000"/>
              </a:lnSpc>
              <a:spcBef>
                <a:spcPct val="20000"/>
              </a:spcBef>
              <a:buSzPct val="90000"/>
              <a:buFont typeface="Arial" pitchFamily="34" charset="0"/>
              <a:buChar char="•"/>
            </a:pPr>
            <a:r>
              <a:rPr lang="en-US" dirty="0"/>
              <a:t>Fourth level</a:t>
            </a:r>
          </a:p>
          <a:p>
            <a:pPr marL="352895" lvl="4" indent="-352895" algn="l" defTabSz="932380" rtl="0" eaLnBrk="1" latinLnBrk="0" hangingPunct="1">
              <a:lnSpc>
                <a:spcPct val="90000"/>
              </a:lnSpc>
              <a:spcBef>
                <a:spcPct val="20000"/>
              </a:spcBef>
              <a:buSzPct val="90000"/>
              <a:buFont typeface="Arial" pitchFamily="34" charset="0"/>
              <a:buChar char="•"/>
            </a:pPr>
            <a:r>
              <a:rPr lang="en-US" dirty="0"/>
              <a:t>Fifth level</a:t>
            </a:r>
          </a:p>
        </p:txBody>
      </p:sp>
      <p:sp>
        <p:nvSpPr>
          <p:cNvPr id="6" name="Title Placeholder 1"/>
          <p:cNvSpPr>
            <a:spLocks noGrp="1"/>
          </p:cNvSpPr>
          <p:nvPr>
            <p:ph type="title"/>
          </p:nvPr>
        </p:nvSpPr>
        <p:spPr>
          <a:xfrm>
            <a:off x="422190" y="390806"/>
            <a:ext cx="11375536" cy="747897"/>
          </a:xfrm>
          <a:prstGeom prst="rect">
            <a:avLst/>
          </a:prstGeom>
        </p:spPr>
        <p:txBody>
          <a:bodyPr vert="horz" wrap="square" lIns="0" tIns="0" rIns="0" bIns="0" rtlCol="0" anchor="t">
            <a:spAutoFit/>
          </a:bodyPr>
          <a:lstStyle/>
          <a:p>
            <a:r>
              <a:rPr lang="en-US" dirty="0"/>
              <a:t>Click to edit Master title style</a:t>
            </a:r>
          </a:p>
        </p:txBody>
      </p:sp>
      <p:sp>
        <p:nvSpPr>
          <p:cNvPr id="9" name="TextBox 8"/>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335374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27940773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6468329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95402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70377362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276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272478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8695198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183505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8621773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61278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108574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23333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9804699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8256600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6036922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4760848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73993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78380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770105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5684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205427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594456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887677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288422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9784017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432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8236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a:t>Headline here, second line here</a:t>
            </a:r>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Name</a:t>
            </a:r>
            <a:br>
              <a:rPr lang="en-US" dirty="0"/>
            </a:br>
            <a:r>
              <a:rPr lang="en-US" dirty="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773569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defTabSz="932688">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413733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744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15913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14108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1857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207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289288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9999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latin typeface="+mj-lt"/>
              </a:defRPr>
            </a:lvl1pPr>
          </a:lstStyle>
          <a:p>
            <a:r>
              <a:rPr lang="en-US" dirty="0"/>
              <a:t>Click to edit Master title style</a:t>
            </a:r>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742"/>
              <a:endParaRPr lang="en-US" dirty="0">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dirty="0">
                <a:solidFill>
                  <a:srgbClr val="000000"/>
                </a:solidFill>
              </a:endParaRPr>
            </a:p>
          </p:txBody>
        </p:sp>
      </p:grpSp>
    </p:spTree>
    <p:extLst>
      <p:ext uri="{BB962C8B-B14F-4D97-AF65-F5344CB8AC3E}">
        <p14:creationId xmlns:p14="http://schemas.microsoft.com/office/powerpoint/2010/main" val="416999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endParaRPr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36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911336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008826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5"/>
            <a:ext cx="11192828" cy="57478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1824" y="1010320"/>
            <a:ext cx="11192828" cy="52847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1824" y="6482889"/>
            <a:ext cx="2901844" cy="372394"/>
          </a:xfrm>
          <a:prstGeom prst="rect">
            <a:avLst/>
          </a:prstGeom>
        </p:spPr>
        <p:txBody>
          <a:bodyPr/>
          <a:lstStyle/>
          <a:p>
            <a:pPr defTabSz="932742"/>
            <a:endParaRPr lang="en-US" dirty="0">
              <a:solidFill>
                <a:srgbClr val="FFFFFF">
                  <a:tint val="75000"/>
                </a:srgbClr>
              </a:solidFill>
            </a:endParaRPr>
          </a:p>
        </p:txBody>
      </p:sp>
      <p:sp>
        <p:nvSpPr>
          <p:cNvPr id="5" name="Footer Placeholder 4"/>
          <p:cNvSpPr>
            <a:spLocks noGrp="1"/>
          </p:cNvSpPr>
          <p:nvPr>
            <p:ph type="ftr" sz="quarter" idx="11"/>
          </p:nvPr>
        </p:nvSpPr>
        <p:spPr/>
        <p:txBody>
          <a:bodyPr/>
          <a:lstStyle/>
          <a:p>
            <a:endParaRPr dirty="0">
              <a:solidFill>
                <a:srgbClr val="FFFFFF">
                  <a:tint val="75000"/>
                </a:srgbClr>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9968355" y="6502318"/>
            <a:ext cx="1742658" cy="360385"/>
          </a:xfrm>
          <a:prstGeom prst="rect">
            <a:avLst/>
          </a:prstGeom>
        </p:spPr>
      </p:pic>
      <p:sp>
        <p:nvSpPr>
          <p:cNvPr id="9" name="Slide Number Placeholder 3"/>
          <p:cNvSpPr txBox="1">
            <a:spLocks/>
          </p:cNvSpPr>
          <p:nvPr userDrawn="1">
            <p:custDataLst>
              <p:tags r:id="rId1"/>
            </p:custDataLst>
          </p:nvPr>
        </p:nvSpPr>
        <p:spPr>
          <a:xfrm>
            <a:off x="11931244" y="6485048"/>
            <a:ext cx="505232" cy="496525"/>
          </a:xfrm>
          <a:prstGeom prst="rect">
            <a:avLst/>
          </a:prstGeom>
        </p:spPr>
        <p:txBody>
          <a:bodyPr vert="horz" lIns="124347" tIns="62174" rIns="124347" bIns="62174" rtlCol="0" anchor="ctr"/>
          <a:lstStyle>
            <a:defPPr>
              <a:defRPr lang="en-US"/>
            </a:defPPr>
            <a:lvl1pPr marL="0" algn="r" defTabSz="914400" rtl="0" eaLnBrk="1" latinLnBrk="0" hangingPunct="1">
              <a:defRPr sz="800" kern="1200">
                <a:gradFill>
                  <a:gsLst>
                    <a:gs pos="0">
                      <a:schemeClr val="bg1"/>
                    </a:gs>
                    <a:gs pos="100000">
                      <a:schemeClr val="bg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271169-D5A2-4E26-9D3F-58E320BF9E89}" type="slidenum">
              <a:rPr lang="en-US" sz="1088" smtClean="0">
                <a:gradFill>
                  <a:gsLst>
                    <a:gs pos="0">
                      <a:srgbClr val="FFFFFF"/>
                    </a:gs>
                    <a:gs pos="100000">
                      <a:srgbClr val="FFFFFF"/>
                    </a:gs>
                  </a:gsLst>
                  <a:lin ang="5400000" scaled="0"/>
                </a:gradFill>
              </a:rPr>
              <a:pPr/>
              <a:t>‹#›</a:t>
            </a:fld>
            <a:endParaRPr lang="en-US" sz="1088" dirty="0">
              <a:gradFill>
                <a:gsLst>
                  <a:gs pos="0">
                    <a:srgbClr val="FFFFFF"/>
                  </a:gs>
                  <a:gs pos="100000">
                    <a:srgbClr val="FFFFFF"/>
                  </a:gs>
                </a:gsLst>
                <a:lin ang="5400000" scaled="0"/>
              </a:gradFill>
            </a:endParaRPr>
          </a:p>
        </p:txBody>
      </p:sp>
      <p:pic>
        <p:nvPicPr>
          <p:cNvPr id="10" name="Picture 9" descr="C:\Users\Dallas - Work\Desktop\Projects\Microsoft\NEW_MS_Logo\MSFT_logo_rgb_C-Wht.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2" y="6472338"/>
            <a:ext cx="1420355" cy="52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9768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Gray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90806"/>
            <a:ext cx="11889564" cy="747897"/>
          </a:xfrm>
        </p:spPr>
        <p:txBody>
          <a:bodyPr anchor="ctr"/>
          <a:lstStyle/>
          <a:p>
            <a:r>
              <a:rPr lang="en-US" dirty="0"/>
              <a:t>Click to edit Master title style</a:t>
            </a:r>
          </a:p>
        </p:txBody>
      </p:sp>
      <p:sp>
        <p:nvSpPr>
          <p:cNvPr id="3" name="Rectangle 2"/>
          <p:cNvSpPr/>
          <p:nvPr userDrawn="1"/>
        </p:nvSpPr>
        <p:spPr bwMode="auto">
          <a:xfrm>
            <a:off x="0" y="1268487"/>
            <a:ext cx="12436475" cy="572603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89604" tIns="179209" rIns="179209" bIns="44801" numCol="1" spcCol="0" rtlCol="0" fromWordArt="0" anchor="t" anchorCtr="0" forceAA="0" compatLnSpc="1">
            <a:prstTxWarp prst="textNoShape">
              <a:avLst/>
            </a:prstTxWarp>
            <a:noAutofit/>
          </a:bodyPr>
          <a:lstStyle/>
          <a:p>
            <a:pPr algn="r" defTabSz="912979" fontAlgn="base">
              <a:lnSpc>
                <a:spcPct val="90000"/>
              </a:lnSpc>
              <a:spcBef>
                <a:spcPct val="0"/>
              </a:spcBef>
              <a:spcAft>
                <a:spcPts val="587"/>
              </a:spcAft>
              <a:defRPr/>
            </a:pPr>
            <a:endParaRPr lang="en-US" sz="1764" kern="0" dirty="0">
              <a:solidFill>
                <a:schemeClr val="bg1">
                  <a:lumMod val="50000"/>
                </a:schemeClr>
              </a:solidFill>
              <a:latin typeface="Segoe UI Semibold" panose="020B0702040204020203" pitchFamily="34" charset="0"/>
              <a:cs typeface="Segoe UI Semibold" panose="020B0702040204020203" pitchFamily="34" charset="0"/>
            </a:endParaRPr>
          </a:p>
        </p:txBody>
      </p:sp>
      <p:sp>
        <p:nvSpPr>
          <p:cNvPr id="4" name="TextBox 3"/>
          <p:cNvSpPr txBox="1"/>
          <p:nvPr userDrawn="1"/>
        </p:nvSpPr>
        <p:spPr>
          <a:xfrm>
            <a:off x="111954" y="6777304"/>
            <a:ext cx="1429651" cy="155427"/>
          </a:xfrm>
          <a:prstGeom prst="rect">
            <a:avLst/>
          </a:prstGeom>
          <a:noFill/>
        </p:spPr>
        <p:txBody>
          <a:bodyPr wrap="square" lIns="0" tIns="0" rIns="0" bIns="0"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415076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7" y="296867"/>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46260" rIns="182826" bIns="146260" numCol="1" spcCol="0" rtlCol="0" fromWordArt="0" anchor="t" anchorCtr="0" forceAA="0" compatLnSpc="1">
            <a:prstTxWarp prst="textNoShape">
              <a:avLst/>
            </a:prstTxWarp>
            <a:noAutofit/>
          </a:bodyPr>
          <a:lstStyle/>
          <a:p>
            <a:pPr algn="ctr" defTabSz="93219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2" y="1456839"/>
            <a:ext cx="5486399" cy="897427"/>
          </a:xfrm>
          <a:prstGeom prst="rect">
            <a:avLst/>
          </a:prstGeom>
        </p:spPr>
        <p:txBody>
          <a:bodyPr lIns="91413" tIns="45708" rIns="91413" bIns="45708"/>
          <a:lstStyle>
            <a:lvl1pPr>
              <a:defRPr sz="5200" baseline="0">
                <a:solidFill>
                  <a:schemeClr val="bg1"/>
                </a:solidFill>
              </a:defRPr>
            </a:lvl1pPr>
          </a:lstStyle>
          <a:p>
            <a:r>
              <a:rPr lang="en-US" dirty="0"/>
              <a:t>Headline here, second line here</a:t>
            </a:r>
          </a:p>
        </p:txBody>
      </p:sp>
      <p:sp>
        <p:nvSpPr>
          <p:cNvPr id="3" name="Subtitle 2"/>
          <p:cNvSpPr>
            <a:spLocks noGrp="1"/>
          </p:cNvSpPr>
          <p:nvPr>
            <p:ph type="subTitle" idx="1" hasCustomPrompt="1"/>
          </p:nvPr>
        </p:nvSpPr>
        <p:spPr>
          <a:xfrm>
            <a:off x="274704" y="4440119"/>
            <a:ext cx="5486337" cy="1055382"/>
          </a:xfrm>
          <a:prstGeom prst="rect">
            <a:avLst/>
          </a:prstGeom>
        </p:spPr>
        <p:txBody>
          <a:bodyPr lIns="91413" tIns="45708" rIns="91413" bIns="45708"/>
          <a:lstStyle>
            <a:lvl1pPr marL="0" indent="0" algn="l">
              <a:lnSpc>
                <a:spcPts val="2700"/>
              </a:lnSpc>
              <a:buNone/>
              <a:defRPr sz="2200">
                <a:solidFill>
                  <a:schemeClr val="bg1"/>
                </a:solidFill>
                <a:latin typeface="+mj-lt"/>
              </a:defRPr>
            </a:lvl1pPr>
            <a:lvl2pPr marL="457065" indent="0" algn="ctr">
              <a:buNone/>
              <a:defRPr>
                <a:solidFill>
                  <a:schemeClr val="tx1">
                    <a:tint val="75000"/>
                  </a:schemeClr>
                </a:solidFill>
              </a:defRPr>
            </a:lvl2pPr>
            <a:lvl3pPr marL="914132" indent="0" algn="ctr">
              <a:buNone/>
              <a:defRPr>
                <a:solidFill>
                  <a:schemeClr val="tx1">
                    <a:tint val="75000"/>
                  </a:schemeClr>
                </a:solidFill>
              </a:defRPr>
            </a:lvl3pPr>
            <a:lvl4pPr marL="1371197" indent="0" algn="ctr">
              <a:buNone/>
              <a:defRPr>
                <a:solidFill>
                  <a:schemeClr val="tx1">
                    <a:tint val="75000"/>
                  </a:schemeClr>
                </a:solidFill>
              </a:defRPr>
            </a:lvl4pPr>
            <a:lvl5pPr marL="1828263" indent="0" algn="ctr">
              <a:buNone/>
              <a:defRPr>
                <a:solidFill>
                  <a:schemeClr val="tx1">
                    <a:tint val="75000"/>
                  </a:schemeClr>
                </a:solidFill>
              </a:defRPr>
            </a:lvl5pPr>
            <a:lvl6pPr marL="2285328" indent="0" algn="ctr">
              <a:buNone/>
              <a:defRPr>
                <a:solidFill>
                  <a:schemeClr val="tx1">
                    <a:tint val="75000"/>
                  </a:schemeClr>
                </a:solidFill>
              </a:defRPr>
            </a:lvl6pPr>
            <a:lvl7pPr marL="2742394" indent="0" algn="ctr">
              <a:buNone/>
              <a:defRPr>
                <a:solidFill>
                  <a:schemeClr val="tx1">
                    <a:tint val="75000"/>
                  </a:schemeClr>
                </a:solidFill>
              </a:defRPr>
            </a:lvl7pPr>
            <a:lvl8pPr marL="3199459" indent="0" algn="ctr">
              <a:buNone/>
              <a:defRPr>
                <a:solidFill>
                  <a:schemeClr val="tx1">
                    <a:tint val="75000"/>
                  </a:schemeClr>
                </a:solidFill>
              </a:defRPr>
            </a:lvl8pPr>
            <a:lvl9pPr marL="3656526" indent="0" algn="ctr">
              <a:buNone/>
              <a:defRPr>
                <a:solidFill>
                  <a:schemeClr val="tx1">
                    <a:tint val="75000"/>
                  </a:schemeClr>
                </a:solidFill>
              </a:defRPr>
            </a:lvl9pPr>
          </a:lstStyle>
          <a:p>
            <a:r>
              <a:rPr lang="en-US" dirty="0"/>
              <a:t>Speaker Name</a:t>
            </a:r>
            <a:br>
              <a:rPr lang="en-US" dirty="0"/>
            </a:br>
            <a:r>
              <a:rPr lang="en-US" dirty="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8" name="Text Placeholder 7"/>
          <p:cNvSpPr>
            <a:spLocks noGrp="1"/>
          </p:cNvSpPr>
          <p:nvPr>
            <p:ph type="body" sz="quarter" idx="10" hasCustomPrompt="1"/>
          </p:nvPr>
        </p:nvSpPr>
        <p:spPr>
          <a:xfrm>
            <a:off x="277816" y="3056731"/>
            <a:ext cx="5500687" cy="881063"/>
          </a:xfrm>
          <a:prstGeom prst="rect">
            <a:avLst/>
          </a:prstGeom>
        </p:spPr>
        <p:txBody>
          <a:bodyPr lIns="91413" tIns="45708" rIns="91413" bIns="45708"/>
          <a:lstStyle>
            <a:lvl1pPr marL="0" indent="0">
              <a:buNone/>
              <a:defRPr sz="2800" baseline="0">
                <a:solidFill>
                  <a:schemeClr val="bg1"/>
                </a:solidFill>
                <a:latin typeface="+mj-lt"/>
              </a:defRPr>
            </a:lvl1pPr>
            <a:lvl2pPr marL="342800" indent="0">
              <a:buNone/>
              <a:defRPr sz="1600">
                <a:solidFill>
                  <a:schemeClr val="bg1"/>
                </a:solidFill>
                <a:latin typeface="+mj-lt"/>
              </a:defRPr>
            </a:lvl2pPr>
            <a:lvl3pPr marL="571333" indent="0">
              <a:buNone/>
              <a:defRPr sz="1400">
                <a:solidFill>
                  <a:schemeClr val="bg1"/>
                </a:solidFill>
                <a:latin typeface="+mj-lt"/>
              </a:defRPr>
            </a:lvl3pPr>
            <a:lvl4pPr marL="799866" indent="0">
              <a:buNone/>
              <a:defRPr sz="1200">
                <a:solidFill>
                  <a:schemeClr val="bg1"/>
                </a:solidFill>
                <a:latin typeface="+mj-lt"/>
              </a:defRPr>
            </a:lvl4pPr>
            <a:lvl5pPr marL="1028397" indent="0">
              <a:buNone/>
              <a:defRPr sz="1200">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9401079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783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1" y="2071456"/>
            <a:ext cx="10463986" cy="1720381"/>
          </a:xfrm>
          <a:prstGeom prst="rect">
            <a:avLst/>
          </a:prstGeom>
        </p:spPr>
        <p:txBody>
          <a:bodyPr lIns="146260" tIns="91413" rIns="146260" bIns="91413"/>
          <a:lstStyle>
            <a:lvl1pPr algn="l">
              <a:defRPr sz="600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3642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sz="5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4546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lIns="91413" tIns="45708" rIns="91413" bIns="45708"/>
          <a:lstStyle>
            <a:lvl1pPr algn="l">
              <a:defRPr sz="5200">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03379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4"/>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69"/>
            <a:ext cx="3288506" cy="704445"/>
          </a:xfrm>
          <a:prstGeom prst="rect">
            <a:avLst/>
          </a:prstGeom>
        </p:spPr>
      </p:pic>
    </p:spTree>
    <p:extLst>
      <p:ext uri="{BB962C8B-B14F-4D97-AF65-F5344CB8AC3E}">
        <p14:creationId xmlns:p14="http://schemas.microsoft.com/office/powerpoint/2010/main" val="8070942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0606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a:prstGeom prst="rect">
            <a:avLst/>
          </a:prstGeo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10520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482748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45324225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896744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287345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8915150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8388905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3462982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3850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21292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pSp>
        <p:nvGrpSpPr>
          <p:cNvPr id="3" name="Group 2"/>
          <p:cNvGrpSpPr/>
          <p:nvPr userDrawn="1"/>
        </p:nvGrpSpPr>
        <p:grpSpPr>
          <a:xfrm>
            <a:off x="29937" y="3604123"/>
            <a:ext cx="12306895" cy="2655329"/>
            <a:chOff x="0" y="3533775"/>
            <a:chExt cx="12061825" cy="2603500"/>
          </a:xfrm>
        </p:grpSpPr>
        <p:grpSp>
          <p:nvGrpSpPr>
            <p:cNvPr id="4" name="Group 3"/>
            <p:cNvGrpSpPr/>
            <p:nvPr/>
          </p:nvGrpSpPr>
          <p:grpSpPr>
            <a:xfrm>
              <a:off x="0" y="3533775"/>
              <a:ext cx="12061825" cy="250825"/>
              <a:chOff x="0" y="3533775"/>
              <a:chExt cx="12061825" cy="250825"/>
            </a:xfrm>
          </p:grpSpPr>
          <p:sp>
            <p:nvSpPr>
              <p:cNvPr id="720"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1"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2"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3"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4"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5"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6"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7"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8"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9"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0"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1"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2"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3"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4"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5"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6"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7"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8"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9"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0"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1"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2"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3"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4"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5"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6"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7"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8"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9"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0"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1"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2"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3"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4"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5"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6"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7"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8"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9"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0"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1"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2"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3"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4"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5"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6"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7"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8"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9"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0"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1"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2"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3"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4"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5"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6"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7"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8"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9"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0"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1"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2"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3"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4"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5"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6"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7"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8"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9"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0"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1"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2"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3"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4"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5"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796"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7"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8"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9"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0"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1"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2"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3"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4"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5"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6"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7"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8"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9"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0"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1"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2"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3"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4" name="Freeform 2086"/>
              <p:cNvSpPr>
                <a:spLocks noEditPoints="1"/>
              </p:cNvSpPr>
              <p:nvPr/>
            </p:nvSpPr>
            <p:spPr bwMode="auto">
              <a:xfrm>
                <a:off x="10873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5"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6"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7"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8"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9"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0"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1"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2"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3"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4"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5"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6"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7"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8"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9"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0"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1"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2"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3"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4"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5"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6"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7"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8"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9"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0"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1"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2"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3"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4"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5"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6"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7"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8"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9"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0"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1"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2"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3"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4"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5"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6"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7"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8"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9"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60"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5" name="Group 4"/>
            <p:cNvGrpSpPr/>
            <p:nvPr/>
          </p:nvGrpSpPr>
          <p:grpSpPr>
            <a:xfrm>
              <a:off x="0" y="3863975"/>
              <a:ext cx="12061825" cy="250825"/>
              <a:chOff x="0" y="3533775"/>
              <a:chExt cx="12061825" cy="250825"/>
            </a:xfrm>
          </p:grpSpPr>
          <p:sp>
            <p:nvSpPr>
              <p:cNvPr id="579"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0"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1"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2"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3"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4"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5"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6"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7"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8"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9"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0"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1"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2"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3"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4"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5"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6"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7"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8"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9"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0"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1"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2"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3"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4"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5"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6"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7"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8"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9"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0"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1"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2"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3"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4"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5"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6"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7"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8"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9"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0"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1"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2"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3"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4"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5"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6"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7"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8"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9"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0"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1"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2"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3"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4"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5"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6"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7"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8"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9"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0"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1"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2"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3"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4"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5"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6"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7"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8"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9"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0"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1"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2"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3"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4"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655"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6"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7"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8"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9"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0"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1"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2"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3"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4"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5"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6"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7"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8"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9"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0"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1"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2"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3" name="Freeform 2086"/>
              <p:cNvSpPr>
                <a:spLocks noEditPoints="1"/>
              </p:cNvSpPr>
              <p:nvPr/>
            </p:nvSpPr>
            <p:spPr bwMode="auto">
              <a:xfrm>
                <a:off x="10873170" y="35369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4"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5"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6"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7"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8"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9"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0"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1"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2"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3"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4"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5"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6"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7"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8"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9"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0"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1"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2"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3"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4"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5"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6"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7"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8"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9"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0"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1"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2"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3"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4"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5"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6"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7"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8"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9"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0"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1"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2"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3"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4"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5"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6"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7"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8"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9"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6" name="Group 5"/>
            <p:cNvGrpSpPr/>
            <p:nvPr/>
          </p:nvGrpSpPr>
          <p:grpSpPr>
            <a:xfrm>
              <a:off x="0" y="4206875"/>
              <a:ext cx="12061825" cy="250825"/>
              <a:chOff x="0" y="3533775"/>
              <a:chExt cx="12061825" cy="250825"/>
            </a:xfrm>
          </p:grpSpPr>
          <p:sp>
            <p:nvSpPr>
              <p:cNvPr id="438" name="Freeform 2058"/>
              <p:cNvSpPr>
                <a:spLocks/>
              </p:cNvSpPr>
              <p:nvPr/>
            </p:nvSpPr>
            <p:spPr bwMode="auto">
              <a:xfrm>
                <a:off x="390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9" name="Freeform 2059"/>
              <p:cNvSpPr>
                <a:spLocks/>
              </p:cNvSpPr>
              <p:nvPr/>
            </p:nvSpPr>
            <p:spPr bwMode="auto">
              <a:xfrm>
                <a:off x="539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0" name="Freeform 2060"/>
              <p:cNvSpPr>
                <a:spLocks/>
              </p:cNvSpPr>
              <p:nvPr/>
            </p:nvSpPr>
            <p:spPr bwMode="auto">
              <a:xfrm>
                <a:off x="68580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1" name="Freeform 2061"/>
              <p:cNvSpPr>
                <a:spLocks/>
              </p:cNvSpPr>
              <p:nvPr/>
            </p:nvSpPr>
            <p:spPr bwMode="auto">
              <a:xfrm>
                <a:off x="828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2" name="Freeform 2062"/>
              <p:cNvSpPr>
                <a:spLocks/>
              </p:cNvSpPr>
              <p:nvPr/>
            </p:nvSpPr>
            <p:spPr bwMode="auto">
              <a:xfrm>
                <a:off x="1212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3" name="Freeform 2063"/>
              <p:cNvSpPr>
                <a:spLocks/>
              </p:cNvSpPr>
              <p:nvPr/>
            </p:nvSpPr>
            <p:spPr bwMode="auto">
              <a:xfrm>
                <a:off x="1358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4" name="Freeform 2064"/>
              <p:cNvSpPr>
                <a:spLocks/>
              </p:cNvSpPr>
              <p:nvPr/>
            </p:nvSpPr>
            <p:spPr bwMode="auto">
              <a:xfrm>
                <a:off x="150812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5" name="Freeform 2068"/>
              <p:cNvSpPr>
                <a:spLocks/>
              </p:cNvSpPr>
              <p:nvPr/>
            </p:nvSpPr>
            <p:spPr bwMode="auto">
              <a:xfrm>
                <a:off x="1073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6" name="Freeform 2069"/>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7" name="Freeform 2070"/>
              <p:cNvSpPr>
                <a:spLocks/>
              </p:cNvSpPr>
              <p:nvPr/>
            </p:nvSpPr>
            <p:spPr bwMode="auto">
              <a:xfrm>
                <a:off x="2165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8" name="Freeform 2071"/>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9" name="Freeform 2072"/>
              <p:cNvSpPr>
                <a:spLocks/>
              </p:cNvSpPr>
              <p:nvPr/>
            </p:nvSpPr>
            <p:spPr bwMode="auto">
              <a:xfrm>
                <a:off x="2260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0" name="Freeform 2073"/>
              <p:cNvSpPr>
                <a:spLocks/>
              </p:cNvSpPr>
              <p:nvPr/>
            </p:nvSpPr>
            <p:spPr bwMode="auto">
              <a:xfrm>
                <a:off x="24003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1" name="Freeform 2075"/>
              <p:cNvSpPr>
                <a:spLocks/>
              </p:cNvSpPr>
              <p:nvPr/>
            </p:nvSpPr>
            <p:spPr bwMode="auto">
              <a:xfrm>
                <a:off x="2692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2" name="Freeform 2076"/>
              <p:cNvSpPr>
                <a:spLocks/>
              </p:cNvSpPr>
              <p:nvPr/>
            </p:nvSpPr>
            <p:spPr bwMode="auto">
              <a:xfrm>
                <a:off x="3073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3" name="Freeform 2077"/>
              <p:cNvSpPr>
                <a:spLocks/>
              </p:cNvSpPr>
              <p:nvPr/>
            </p:nvSpPr>
            <p:spPr bwMode="auto">
              <a:xfrm>
                <a:off x="3219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4" name="Freeform 2078"/>
              <p:cNvSpPr>
                <a:spLocks/>
              </p:cNvSpPr>
              <p:nvPr/>
            </p:nvSpPr>
            <p:spPr bwMode="auto">
              <a:xfrm>
                <a:off x="3368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5" name="Freeform 2079"/>
              <p:cNvSpPr>
                <a:spLocks noEditPoints="1"/>
              </p:cNvSpPr>
              <p:nvPr/>
            </p:nvSpPr>
            <p:spPr bwMode="auto">
              <a:xfrm>
                <a:off x="3514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6" name="Freeform 2080"/>
              <p:cNvSpPr>
                <a:spLocks noEditPoints="1"/>
              </p:cNvSpPr>
              <p:nvPr/>
            </p:nvSpPr>
            <p:spPr bwMode="auto">
              <a:xfrm>
                <a:off x="3733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7" name="Freeform 2082"/>
              <p:cNvSpPr>
                <a:spLocks/>
              </p:cNvSpPr>
              <p:nvPr/>
            </p:nvSpPr>
            <p:spPr bwMode="auto">
              <a:xfrm>
                <a:off x="2838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8" name="Freeform 2084"/>
              <p:cNvSpPr>
                <a:spLocks/>
              </p:cNvSpPr>
              <p:nvPr/>
            </p:nvSpPr>
            <p:spPr bwMode="auto">
              <a:xfrm>
                <a:off x="2933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9" name="Freeform 2085"/>
              <p:cNvSpPr>
                <a:spLocks noEditPoints="1"/>
              </p:cNvSpPr>
              <p:nvPr/>
            </p:nvSpPr>
            <p:spPr bwMode="auto">
              <a:xfrm>
                <a:off x="4412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0" name="Freeform 2086"/>
              <p:cNvSpPr>
                <a:spLocks noEditPoints="1"/>
              </p:cNvSpPr>
              <p:nvPr/>
            </p:nvSpPr>
            <p:spPr bwMode="auto">
              <a:xfrm>
                <a:off x="4777170" y="35337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1" name="Freeform 2087"/>
              <p:cNvSpPr>
                <a:spLocks/>
              </p:cNvSpPr>
              <p:nvPr/>
            </p:nvSpPr>
            <p:spPr bwMode="auto">
              <a:xfrm>
                <a:off x="46164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2" name="Freeform 2088"/>
              <p:cNvSpPr>
                <a:spLocks noEditPoints="1"/>
              </p:cNvSpPr>
              <p:nvPr/>
            </p:nvSpPr>
            <p:spPr bwMode="auto">
              <a:xfrm>
                <a:off x="4981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3" name="Freeform 2089"/>
              <p:cNvSpPr>
                <a:spLocks/>
              </p:cNvSpPr>
              <p:nvPr/>
            </p:nvSpPr>
            <p:spPr bwMode="auto">
              <a:xfrm>
                <a:off x="5203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4" name="Freeform 2091"/>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5" name="Freeform 2092"/>
              <p:cNvSpPr>
                <a:spLocks/>
              </p:cNvSpPr>
              <p:nvPr/>
            </p:nvSpPr>
            <p:spPr bwMode="auto">
              <a:xfrm>
                <a:off x="5299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6" name="Freeform 2093"/>
              <p:cNvSpPr>
                <a:spLocks noEditPoints="1"/>
              </p:cNvSpPr>
              <p:nvPr/>
            </p:nvSpPr>
            <p:spPr bwMode="auto">
              <a:xfrm>
                <a:off x="5673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7" name="Freeform 2094"/>
              <p:cNvSpPr>
                <a:spLocks/>
              </p:cNvSpPr>
              <p:nvPr/>
            </p:nvSpPr>
            <p:spPr bwMode="auto">
              <a:xfrm>
                <a:off x="5883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8" name="Freeform 2096"/>
              <p:cNvSpPr>
                <a:spLocks/>
              </p:cNvSpPr>
              <p:nvPr/>
            </p:nvSpPr>
            <p:spPr bwMode="auto">
              <a:xfrm>
                <a:off x="5508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9" name="Freeform 2097"/>
              <p:cNvSpPr>
                <a:spLocks/>
              </p:cNvSpPr>
              <p:nvPr/>
            </p:nvSpPr>
            <p:spPr bwMode="auto">
              <a:xfrm>
                <a:off x="5438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0" name="Freeform 2098"/>
              <p:cNvSpPr>
                <a:spLocks noEditPoints="1"/>
              </p:cNvSpPr>
              <p:nvPr/>
            </p:nvSpPr>
            <p:spPr bwMode="auto">
              <a:xfrm>
                <a:off x="1814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1" name="Freeform 2099"/>
              <p:cNvSpPr>
                <a:spLocks/>
              </p:cNvSpPr>
              <p:nvPr/>
            </p:nvSpPr>
            <p:spPr bwMode="auto">
              <a:xfrm>
                <a:off x="1965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2" name="Freeform 2100"/>
              <p:cNvSpPr>
                <a:spLocks/>
              </p:cNvSpPr>
              <p:nvPr/>
            </p:nvSpPr>
            <p:spPr bwMode="auto">
              <a:xfrm>
                <a:off x="1809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3" name="Freeform 2101"/>
              <p:cNvSpPr>
                <a:spLocks/>
              </p:cNvSpPr>
              <p:nvPr/>
            </p:nvSpPr>
            <p:spPr bwMode="auto">
              <a:xfrm>
                <a:off x="1803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4" name="Freeform 2102"/>
              <p:cNvSpPr>
                <a:spLocks/>
              </p:cNvSpPr>
              <p:nvPr/>
            </p:nvSpPr>
            <p:spPr bwMode="auto">
              <a:xfrm>
                <a:off x="1825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5" name="Freeform 2103"/>
              <p:cNvSpPr>
                <a:spLocks/>
              </p:cNvSpPr>
              <p:nvPr/>
            </p:nvSpPr>
            <p:spPr bwMode="auto">
              <a:xfrm>
                <a:off x="1800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6" name="Freeform 2104"/>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7" name="Freeform 2105"/>
              <p:cNvSpPr>
                <a:spLocks/>
              </p:cNvSpPr>
              <p:nvPr/>
            </p:nvSpPr>
            <p:spPr bwMode="auto">
              <a:xfrm>
                <a:off x="1809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8" name="Freeform 2106"/>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9" name="Freeform 2107"/>
              <p:cNvSpPr>
                <a:spLocks/>
              </p:cNvSpPr>
              <p:nvPr/>
            </p:nvSpPr>
            <p:spPr bwMode="auto">
              <a:xfrm>
                <a:off x="1809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0" name="Freeform 2108"/>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1" name="Freeform 2109"/>
              <p:cNvSpPr>
                <a:spLocks/>
              </p:cNvSpPr>
              <p:nvPr/>
            </p:nvSpPr>
            <p:spPr bwMode="auto">
              <a:xfrm>
                <a:off x="1965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2" name="Freeform 2110"/>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3" name="Freeform 2111"/>
              <p:cNvSpPr>
                <a:spLocks/>
              </p:cNvSpPr>
              <p:nvPr/>
            </p:nvSpPr>
            <p:spPr bwMode="auto">
              <a:xfrm>
                <a:off x="1965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4" name="Freeform 2112"/>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5" name="Freeform 2113"/>
              <p:cNvSpPr>
                <a:spLocks/>
              </p:cNvSpPr>
              <p:nvPr/>
            </p:nvSpPr>
            <p:spPr bwMode="auto">
              <a:xfrm>
                <a:off x="1803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6" name="Freeform 2114"/>
              <p:cNvSpPr>
                <a:spLocks noEditPoints="1"/>
              </p:cNvSpPr>
              <p:nvPr/>
            </p:nvSpPr>
            <p:spPr bwMode="auto">
              <a:xfrm>
                <a:off x="1803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7" name="Freeform 2115"/>
              <p:cNvSpPr>
                <a:spLocks/>
              </p:cNvSpPr>
              <p:nvPr/>
            </p:nvSpPr>
            <p:spPr bwMode="auto">
              <a:xfrm>
                <a:off x="1819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8" name="Freeform 2116"/>
              <p:cNvSpPr>
                <a:spLocks/>
              </p:cNvSpPr>
              <p:nvPr/>
            </p:nvSpPr>
            <p:spPr bwMode="auto">
              <a:xfrm>
                <a:off x="1803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9" name="Freeform 2117"/>
              <p:cNvSpPr>
                <a:spLocks noEditPoints="1"/>
              </p:cNvSpPr>
              <p:nvPr/>
            </p:nvSpPr>
            <p:spPr bwMode="auto">
              <a:xfrm>
                <a:off x="1987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0" name="Freeform 2118"/>
              <p:cNvSpPr>
                <a:spLocks/>
              </p:cNvSpPr>
              <p:nvPr/>
            </p:nvSpPr>
            <p:spPr bwMode="auto">
              <a:xfrm>
                <a:off x="1993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1" name="Freeform 2119"/>
              <p:cNvSpPr>
                <a:spLocks/>
              </p:cNvSpPr>
              <p:nvPr/>
            </p:nvSpPr>
            <p:spPr bwMode="auto">
              <a:xfrm>
                <a:off x="1987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2" name="Freeform 2120"/>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3" name="Freeform 2121"/>
              <p:cNvSpPr>
                <a:spLocks/>
              </p:cNvSpPr>
              <p:nvPr/>
            </p:nvSpPr>
            <p:spPr bwMode="auto">
              <a:xfrm>
                <a:off x="1914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4" name="Freeform 2122"/>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5" name="Freeform 2123"/>
              <p:cNvSpPr>
                <a:spLocks/>
              </p:cNvSpPr>
              <p:nvPr/>
            </p:nvSpPr>
            <p:spPr bwMode="auto">
              <a:xfrm>
                <a:off x="2063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6" name="Freeform 2124"/>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7" name="Freeform 2125"/>
              <p:cNvSpPr>
                <a:spLocks/>
              </p:cNvSpPr>
              <p:nvPr/>
            </p:nvSpPr>
            <p:spPr bwMode="auto">
              <a:xfrm>
                <a:off x="1978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8" name="Freeform 2126"/>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9" name="Freeform 2127"/>
              <p:cNvSpPr>
                <a:spLocks/>
              </p:cNvSpPr>
              <p:nvPr/>
            </p:nvSpPr>
            <p:spPr bwMode="auto">
              <a:xfrm>
                <a:off x="2000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0" name="Freeform 2128"/>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1" name="Freeform 2129"/>
              <p:cNvSpPr>
                <a:spLocks/>
              </p:cNvSpPr>
              <p:nvPr/>
            </p:nvSpPr>
            <p:spPr bwMode="auto">
              <a:xfrm>
                <a:off x="1993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2" name="Freeform 2130"/>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3" name="Freeform 2131"/>
              <p:cNvSpPr>
                <a:spLocks/>
              </p:cNvSpPr>
              <p:nvPr/>
            </p:nvSpPr>
            <p:spPr bwMode="auto">
              <a:xfrm>
                <a:off x="1993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4" name="Freeform 2133"/>
              <p:cNvSpPr>
                <a:spLocks/>
              </p:cNvSpPr>
              <p:nvPr/>
            </p:nvSpPr>
            <p:spPr bwMode="auto">
              <a:xfrm>
                <a:off x="4102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5" name="Freeform 2134"/>
              <p:cNvSpPr>
                <a:spLocks/>
              </p:cNvSpPr>
              <p:nvPr/>
            </p:nvSpPr>
            <p:spPr bwMode="auto">
              <a:xfrm>
                <a:off x="4251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6" name="Freeform 2135"/>
              <p:cNvSpPr>
                <a:spLocks/>
              </p:cNvSpPr>
              <p:nvPr/>
            </p:nvSpPr>
            <p:spPr bwMode="auto">
              <a:xfrm>
                <a:off x="0" y="35433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7" name="Freeform 2057"/>
              <p:cNvSpPr>
                <a:spLocks noEditPoints="1"/>
              </p:cNvSpPr>
              <p:nvPr/>
            </p:nvSpPr>
            <p:spPr bwMode="auto">
              <a:xfrm>
                <a:off x="6267450"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8" name="Freeform 2058"/>
              <p:cNvSpPr>
                <a:spLocks/>
              </p:cNvSpPr>
              <p:nvPr/>
            </p:nvSpPr>
            <p:spPr bwMode="auto">
              <a:xfrm>
                <a:off x="648652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9" name="Freeform 2059"/>
              <p:cNvSpPr>
                <a:spLocks/>
              </p:cNvSpPr>
              <p:nvPr/>
            </p:nvSpPr>
            <p:spPr bwMode="auto">
              <a:xfrm>
                <a:off x="6635750" y="3546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0" name="Freeform 2061"/>
              <p:cNvSpPr>
                <a:spLocks/>
              </p:cNvSpPr>
              <p:nvPr/>
            </p:nvSpPr>
            <p:spPr bwMode="auto">
              <a:xfrm>
                <a:off x="6924675"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1" name="Freeform 2062"/>
              <p:cNvSpPr>
                <a:spLocks/>
              </p:cNvSpPr>
              <p:nvPr/>
            </p:nvSpPr>
            <p:spPr bwMode="auto">
              <a:xfrm>
                <a:off x="73088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2" name="Freeform 2063"/>
              <p:cNvSpPr>
                <a:spLocks/>
              </p:cNvSpPr>
              <p:nvPr/>
            </p:nvSpPr>
            <p:spPr bwMode="auto">
              <a:xfrm>
                <a:off x="74549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3" name="Freeform 2065"/>
              <p:cNvSpPr>
                <a:spLocks/>
              </p:cNvSpPr>
              <p:nvPr/>
            </p:nvSpPr>
            <p:spPr bwMode="auto">
              <a:xfrm>
                <a:off x="7753350"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514"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8025" y="353695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5" name="Freeform 2067"/>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6" name="Freeform 2068"/>
              <p:cNvSpPr>
                <a:spLocks/>
              </p:cNvSpPr>
              <p:nvPr/>
            </p:nvSpPr>
            <p:spPr bwMode="auto">
              <a:xfrm>
                <a:off x="716915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7" name="Freeform 2069"/>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8" name="Freeform 2070"/>
              <p:cNvSpPr>
                <a:spLocks/>
              </p:cNvSpPr>
              <p:nvPr/>
            </p:nvSpPr>
            <p:spPr bwMode="auto">
              <a:xfrm>
                <a:off x="8261350" y="35433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9" name="Freeform 2071"/>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0" name="Freeform 2072"/>
              <p:cNvSpPr>
                <a:spLocks/>
              </p:cNvSpPr>
              <p:nvPr/>
            </p:nvSpPr>
            <p:spPr bwMode="auto">
              <a:xfrm>
                <a:off x="8356600" y="35433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1" name="Freeform 2074"/>
              <p:cNvSpPr>
                <a:spLocks/>
              </p:cNvSpPr>
              <p:nvPr/>
            </p:nvSpPr>
            <p:spPr bwMode="auto">
              <a:xfrm>
                <a:off x="86423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2" name="Freeform 2076"/>
              <p:cNvSpPr>
                <a:spLocks/>
              </p:cNvSpPr>
              <p:nvPr/>
            </p:nvSpPr>
            <p:spPr bwMode="auto">
              <a:xfrm>
                <a:off x="916940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3" name="Freeform 2077"/>
              <p:cNvSpPr>
                <a:spLocks/>
              </p:cNvSpPr>
              <p:nvPr/>
            </p:nvSpPr>
            <p:spPr bwMode="auto">
              <a:xfrm>
                <a:off x="931545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4" name="Freeform 2078"/>
              <p:cNvSpPr>
                <a:spLocks/>
              </p:cNvSpPr>
              <p:nvPr/>
            </p:nvSpPr>
            <p:spPr bwMode="auto">
              <a:xfrm>
                <a:off x="946467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5" name="Freeform 2079"/>
              <p:cNvSpPr>
                <a:spLocks noEditPoints="1"/>
              </p:cNvSpPr>
              <p:nvPr/>
            </p:nvSpPr>
            <p:spPr bwMode="auto">
              <a:xfrm>
                <a:off x="9610725" y="35369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6" name="Freeform 2080"/>
              <p:cNvSpPr>
                <a:spLocks noEditPoints="1"/>
              </p:cNvSpPr>
              <p:nvPr/>
            </p:nvSpPr>
            <p:spPr bwMode="auto">
              <a:xfrm>
                <a:off x="9829800"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7" name="Freeform 2081"/>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8" name="Freeform 2082"/>
              <p:cNvSpPr>
                <a:spLocks/>
              </p:cNvSpPr>
              <p:nvPr/>
            </p:nvSpPr>
            <p:spPr bwMode="auto">
              <a:xfrm>
                <a:off x="8934450" y="35433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9" name="Freeform 2083"/>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0" name="Freeform 2084"/>
              <p:cNvSpPr>
                <a:spLocks/>
              </p:cNvSpPr>
              <p:nvPr/>
            </p:nvSpPr>
            <p:spPr bwMode="auto">
              <a:xfrm>
                <a:off x="9029700"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1" name="Freeform 2085"/>
              <p:cNvSpPr>
                <a:spLocks noEditPoints="1"/>
              </p:cNvSpPr>
              <p:nvPr/>
            </p:nvSpPr>
            <p:spPr bwMode="auto">
              <a:xfrm>
                <a:off x="10508045" y="35337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2" name="Freeform 2086"/>
              <p:cNvSpPr>
                <a:spLocks noEditPoints="1"/>
              </p:cNvSpPr>
              <p:nvPr/>
            </p:nvSpPr>
            <p:spPr bwMode="auto">
              <a:xfrm>
                <a:off x="10873170" y="35369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3" name="Freeform 2088"/>
              <p:cNvSpPr>
                <a:spLocks noEditPoints="1"/>
              </p:cNvSpPr>
              <p:nvPr/>
            </p:nvSpPr>
            <p:spPr bwMode="auto">
              <a:xfrm>
                <a:off x="11077575" y="35369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4" name="Freeform 2089"/>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5" name="Freeform 2090"/>
              <p:cNvSpPr>
                <a:spLocks/>
              </p:cNvSpPr>
              <p:nvPr/>
            </p:nvSpPr>
            <p:spPr bwMode="auto">
              <a:xfrm>
                <a:off x="11299825" y="35433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6" name="Freeform 2091"/>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7" name="Freeform 2092"/>
              <p:cNvSpPr>
                <a:spLocks/>
              </p:cNvSpPr>
              <p:nvPr/>
            </p:nvSpPr>
            <p:spPr bwMode="auto">
              <a:xfrm>
                <a:off x="11395075" y="35433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8" name="Freeform 2093"/>
              <p:cNvSpPr>
                <a:spLocks noEditPoints="1"/>
              </p:cNvSpPr>
              <p:nvPr/>
            </p:nvSpPr>
            <p:spPr bwMode="auto">
              <a:xfrm>
                <a:off x="11769725" y="35369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9" name="Freeform 2094"/>
              <p:cNvSpPr>
                <a:spLocks/>
              </p:cNvSpPr>
              <p:nvPr/>
            </p:nvSpPr>
            <p:spPr bwMode="auto">
              <a:xfrm>
                <a:off x="11979275"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0" name="Freeform 2096"/>
              <p:cNvSpPr>
                <a:spLocks/>
              </p:cNvSpPr>
              <p:nvPr/>
            </p:nvSpPr>
            <p:spPr bwMode="auto">
              <a:xfrm>
                <a:off x="11604625" y="36417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1" name="Freeform 2097"/>
              <p:cNvSpPr>
                <a:spLocks/>
              </p:cNvSpPr>
              <p:nvPr/>
            </p:nvSpPr>
            <p:spPr bwMode="auto">
              <a:xfrm>
                <a:off x="11534775" y="35496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2" name="Freeform 2098"/>
              <p:cNvSpPr>
                <a:spLocks noEditPoints="1"/>
              </p:cNvSpPr>
              <p:nvPr/>
            </p:nvSpPr>
            <p:spPr bwMode="auto">
              <a:xfrm>
                <a:off x="7910895" y="35369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3" name="Freeform 2099"/>
              <p:cNvSpPr>
                <a:spLocks/>
              </p:cNvSpPr>
              <p:nvPr/>
            </p:nvSpPr>
            <p:spPr bwMode="auto">
              <a:xfrm>
                <a:off x="8061325" y="37020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4" name="Freeform 2100"/>
              <p:cNvSpPr>
                <a:spLocks/>
              </p:cNvSpPr>
              <p:nvPr/>
            </p:nvSpPr>
            <p:spPr bwMode="auto">
              <a:xfrm>
                <a:off x="7905750" y="36988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5" name="Freeform 2101"/>
              <p:cNvSpPr>
                <a:spLocks/>
              </p:cNvSpPr>
              <p:nvPr/>
            </p:nvSpPr>
            <p:spPr bwMode="auto">
              <a:xfrm>
                <a:off x="7899400" y="36195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6" name="Freeform 2102"/>
              <p:cNvSpPr>
                <a:spLocks/>
              </p:cNvSpPr>
              <p:nvPr/>
            </p:nvSpPr>
            <p:spPr bwMode="auto">
              <a:xfrm>
                <a:off x="7921625" y="35464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7" name="Freeform 2103"/>
              <p:cNvSpPr>
                <a:spLocks/>
              </p:cNvSpPr>
              <p:nvPr/>
            </p:nvSpPr>
            <p:spPr bwMode="auto">
              <a:xfrm>
                <a:off x="7896225" y="35401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8" name="Freeform 2104"/>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9" name="Freeform 2105"/>
              <p:cNvSpPr>
                <a:spLocks/>
              </p:cNvSpPr>
              <p:nvPr/>
            </p:nvSpPr>
            <p:spPr bwMode="auto">
              <a:xfrm>
                <a:off x="7905750" y="36988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0" name="Freeform 2106"/>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1" name="Freeform 2107"/>
              <p:cNvSpPr>
                <a:spLocks/>
              </p:cNvSpPr>
              <p:nvPr/>
            </p:nvSpPr>
            <p:spPr bwMode="auto">
              <a:xfrm>
                <a:off x="7905750" y="36988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2" name="Freeform 2108"/>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3" name="Freeform 2109"/>
              <p:cNvSpPr>
                <a:spLocks/>
              </p:cNvSpPr>
              <p:nvPr/>
            </p:nvSpPr>
            <p:spPr bwMode="auto">
              <a:xfrm>
                <a:off x="8061325" y="37052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4" name="Freeform 2110"/>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5" name="Freeform 2111"/>
              <p:cNvSpPr>
                <a:spLocks/>
              </p:cNvSpPr>
              <p:nvPr/>
            </p:nvSpPr>
            <p:spPr bwMode="auto">
              <a:xfrm>
                <a:off x="8061325" y="37020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6" name="Freeform 2112"/>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7" name="Freeform 2113"/>
              <p:cNvSpPr>
                <a:spLocks/>
              </p:cNvSpPr>
              <p:nvPr/>
            </p:nvSpPr>
            <p:spPr bwMode="auto">
              <a:xfrm>
                <a:off x="7899400" y="36195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8" name="Freeform 2114"/>
              <p:cNvSpPr>
                <a:spLocks noEditPoints="1"/>
              </p:cNvSpPr>
              <p:nvPr/>
            </p:nvSpPr>
            <p:spPr bwMode="auto">
              <a:xfrm>
                <a:off x="7899400" y="36195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9" name="Freeform 2115"/>
              <p:cNvSpPr>
                <a:spLocks/>
              </p:cNvSpPr>
              <p:nvPr/>
            </p:nvSpPr>
            <p:spPr bwMode="auto">
              <a:xfrm>
                <a:off x="7915275" y="36417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0" name="Freeform 2116"/>
              <p:cNvSpPr>
                <a:spLocks/>
              </p:cNvSpPr>
              <p:nvPr/>
            </p:nvSpPr>
            <p:spPr bwMode="auto">
              <a:xfrm>
                <a:off x="7899400" y="36195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1" name="Freeform 2117"/>
              <p:cNvSpPr>
                <a:spLocks noEditPoints="1"/>
              </p:cNvSpPr>
              <p:nvPr/>
            </p:nvSpPr>
            <p:spPr bwMode="auto">
              <a:xfrm>
                <a:off x="8083550" y="36004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2" name="Freeform 2118"/>
              <p:cNvSpPr>
                <a:spLocks/>
              </p:cNvSpPr>
              <p:nvPr/>
            </p:nvSpPr>
            <p:spPr bwMode="auto">
              <a:xfrm>
                <a:off x="8089900" y="36099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3" name="Freeform 2119"/>
              <p:cNvSpPr>
                <a:spLocks/>
              </p:cNvSpPr>
              <p:nvPr/>
            </p:nvSpPr>
            <p:spPr bwMode="auto">
              <a:xfrm>
                <a:off x="8083550" y="36004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4" name="Freeform 2120"/>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5" name="Freeform 2121"/>
              <p:cNvSpPr>
                <a:spLocks/>
              </p:cNvSpPr>
              <p:nvPr/>
            </p:nvSpPr>
            <p:spPr bwMode="auto">
              <a:xfrm>
                <a:off x="8010525" y="35845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6" name="Freeform 2122"/>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7" name="Freeform 2123"/>
              <p:cNvSpPr>
                <a:spLocks/>
              </p:cNvSpPr>
              <p:nvPr/>
            </p:nvSpPr>
            <p:spPr bwMode="auto">
              <a:xfrm>
                <a:off x="8159750" y="35877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8" name="Freeform 2124"/>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9" name="Freeform 2125"/>
              <p:cNvSpPr>
                <a:spLocks/>
              </p:cNvSpPr>
              <p:nvPr/>
            </p:nvSpPr>
            <p:spPr bwMode="auto">
              <a:xfrm>
                <a:off x="8074025" y="35845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0" name="Freeform 2126"/>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1" name="Freeform 2127"/>
              <p:cNvSpPr>
                <a:spLocks/>
              </p:cNvSpPr>
              <p:nvPr/>
            </p:nvSpPr>
            <p:spPr bwMode="auto">
              <a:xfrm>
                <a:off x="8096250" y="36639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2" name="Freeform 2128"/>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3" name="Freeform 2129"/>
              <p:cNvSpPr>
                <a:spLocks/>
              </p:cNvSpPr>
              <p:nvPr/>
            </p:nvSpPr>
            <p:spPr bwMode="auto">
              <a:xfrm>
                <a:off x="8089900" y="36131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4" name="Freeform 2130"/>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5" name="Freeform 2131"/>
              <p:cNvSpPr>
                <a:spLocks/>
              </p:cNvSpPr>
              <p:nvPr/>
            </p:nvSpPr>
            <p:spPr bwMode="auto">
              <a:xfrm>
                <a:off x="8089900" y="36131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6" name="Freeform 2132"/>
              <p:cNvSpPr>
                <a:spLocks/>
              </p:cNvSpPr>
              <p:nvPr/>
            </p:nvSpPr>
            <p:spPr bwMode="auto">
              <a:xfrm>
                <a:off x="10052050" y="35464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7" name="Freeform 2133"/>
              <p:cNvSpPr>
                <a:spLocks/>
              </p:cNvSpPr>
              <p:nvPr/>
            </p:nvSpPr>
            <p:spPr bwMode="auto">
              <a:xfrm>
                <a:off x="10198100" y="3546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8" name="Freeform 2134"/>
              <p:cNvSpPr>
                <a:spLocks/>
              </p:cNvSpPr>
              <p:nvPr/>
            </p:nvSpPr>
            <p:spPr bwMode="auto">
              <a:xfrm>
                <a:off x="10347325" y="35464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7" name="Freeform 2062"/>
            <p:cNvSpPr>
              <a:spLocks/>
            </p:cNvSpPr>
            <p:nvPr/>
          </p:nvSpPr>
          <p:spPr bwMode="auto">
            <a:xfrm>
              <a:off x="12128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 name="Freeform 2063"/>
            <p:cNvSpPr>
              <a:spLocks/>
            </p:cNvSpPr>
            <p:nvPr/>
          </p:nvSpPr>
          <p:spPr bwMode="auto">
            <a:xfrm>
              <a:off x="135890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 name="Freeform 2064"/>
            <p:cNvSpPr>
              <a:spLocks/>
            </p:cNvSpPr>
            <p:nvPr/>
          </p:nvSpPr>
          <p:spPr bwMode="auto">
            <a:xfrm>
              <a:off x="150812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 name="Freeform 2068"/>
            <p:cNvSpPr>
              <a:spLocks/>
            </p:cNvSpPr>
            <p:nvPr/>
          </p:nvSpPr>
          <p:spPr bwMode="auto">
            <a:xfrm>
              <a:off x="107315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 name="Freeform 2069"/>
            <p:cNvSpPr>
              <a:spLocks/>
            </p:cNvSpPr>
            <p:nvPr/>
          </p:nvSpPr>
          <p:spPr bwMode="auto">
            <a:xfrm>
              <a:off x="2165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 name="Freeform 2070"/>
            <p:cNvSpPr>
              <a:spLocks/>
            </p:cNvSpPr>
            <p:nvPr/>
          </p:nvSpPr>
          <p:spPr bwMode="auto">
            <a:xfrm>
              <a:off x="2165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 name="Freeform 2071"/>
            <p:cNvSpPr>
              <a:spLocks/>
            </p:cNvSpPr>
            <p:nvPr/>
          </p:nvSpPr>
          <p:spPr bwMode="auto">
            <a:xfrm>
              <a:off x="2260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 name="Freeform 2072"/>
            <p:cNvSpPr>
              <a:spLocks/>
            </p:cNvSpPr>
            <p:nvPr/>
          </p:nvSpPr>
          <p:spPr bwMode="auto">
            <a:xfrm>
              <a:off x="2260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 name="Freeform 2073"/>
            <p:cNvSpPr>
              <a:spLocks/>
            </p:cNvSpPr>
            <p:nvPr/>
          </p:nvSpPr>
          <p:spPr bwMode="auto">
            <a:xfrm>
              <a:off x="24003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 name="Freeform 2076"/>
            <p:cNvSpPr>
              <a:spLocks/>
            </p:cNvSpPr>
            <p:nvPr/>
          </p:nvSpPr>
          <p:spPr bwMode="auto">
            <a:xfrm>
              <a:off x="30734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 name="Freeform 2077"/>
            <p:cNvSpPr>
              <a:spLocks/>
            </p:cNvSpPr>
            <p:nvPr/>
          </p:nvSpPr>
          <p:spPr bwMode="auto">
            <a:xfrm>
              <a:off x="321945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 name="Freeform 2078"/>
            <p:cNvSpPr>
              <a:spLocks/>
            </p:cNvSpPr>
            <p:nvPr/>
          </p:nvSpPr>
          <p:spPr bwMode="auto">
            <a:xfrm>
              <a:off x="336867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 name="Freeform 2079"/>
            <p:cNvSpPr>
              <a:spLocks noEditPoints="1"/>
            </p:cNvSpPr>
            <p:nvPr/>
          </p:nvSpPr>
          <p:spPr bwMode="auto">
            <a:xfrm>
              <a:off x="3514725"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 name="Freeform 2080"/>
            <p:cNvSpPr>
              <a:spLocks noEditPoints="1"/>
            </p:cNvSpPr>
            <p:nvPr/>
          </p:nvSpPr>
          <p:spPr bwMode="auto">
            <a:xfrm>
              <a:off x="3733800"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 name="Freeform 2084"/>
            <p:cNvSpPr>
              <a:spLocks/>
            </p:cNvSpPr>
            <p:nvPr/>
          </p:nvSpPr>
          <p:spPr bwMode="auto">
            <a:xfrm>
              <a:off x="2933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 name="Freeform 2085"/>
            <p:cNvSpPr>
              <a:spLocks noEditPoints="1"/>
            </p:cNvSpPr>
            <p:nvPr/>
          </p:nvSpPr>
          <p:spPr bwMode="auto">
            <a:xfrm>
              <a:off x="4412045" y="45370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 name="Freeform 2086"/>
            <p:cNvSpPr>
              <a:spLocks noEditPoints="1"/>
            </p:cNvSpPr>
            <p:nvPr/>
          </p:nvSpPr>
          <p:spPr bwMode="auto">
            <a:xfrm>
              <a:off x="4777170" y="4537075"/>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 name="Freeform 2087"/>
            <p:cNvSpPr>
              <a:spLocks/>
            </p:cNvSpPr>
            <p:nvPr/>
          </p:nvSpPr>
          <p:spPr bwMode="auto">
            <a:xfrm>
              <a:off x="46164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 name="Freeform 2088"/>
            <p:cNvSpPr>
              <a:spLocks noEditPoints="1"/>
            </p:cNvSpPr>
            <p:nvPr/>
          </p:nvSpPr>
          <p:spPr bwMode="auto">
            <a:xfrm>
              <a:off x="4981575"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 name="Freeform 2089"/>
            <p:cNvSpPr>
              <a:spLocks/>
            </p:cNvSpPr>
            <p:nvPr/>
          </p:nvSpPr>
          <p:spPr bwMode="auto">
            <a:xfrm>
              <a:off x="5203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 name="Freeform 2091"/>
            <p:cNvSpPr>
              <a:spLocks/>
            </p:cNvSpPr>
            <p:nvPr/>
          </p:nvSpPr>
          <p:spPr bwMode="auto">
            <a:xfrm>
              <a:off x="5299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 name="Freeform 2092"/>
            <p:cNvSpPr>
              <a:spLocks/>
            </p:cNvSpPr>
            <p:nvPr/>
          </p:nvSpPr>
          <p:spPr bwMode="auto">
            <a:xfrm>
              <a:off x="5299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 name="Freeform 2093"/>
            <p:cNvSpPr>
              <a:spLocks noEditPoints="1"/>
            </p:cNvSpPr>
            <p:nvPr/>
          </p:nvSpPr>
          <p:spPr bwMode="auto">
            <a:xfrm>
              <a:off x="5673725" y="45402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 name="Freeform 2094"/>
            <p:cNvSpPr>
              <a:spLocks/>
            </p:cNvSpPr>
            <p:nvPr/>
          </p:nvSpPr>
          <p:spPr bwMode="auto">
            <a:xfrm>
              <a:off x="588327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 name="Freeform 2096"/>
            <p:cNvSpPr>
              <a:spLocks/>
            </p:cNvSpPr>
            <p:nvPr/>
          </p:nvSpPr>
          <p:spPr bwMode="auto">
            <a:xfrm>
              <a:off x="5508625" y="46450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 name="Freeform 2097"/>
            <p:cNvSpPr>
              <a:spLocks/>
            </p:cNvSpPr>
            <p:nvPr/>
          </p:nvSpPr>
          <p:spPr bwMode="auto">
            <a:xfrm>
              <a:off x="5438775" y="45529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 name="Freeform 2098"/>
            <p:cNvSpPr>
              <a:spLocks noEditPoints="1"/>
            </p:cNvSpPr>
            <p:nvPr/>
          </p:nvSpPr>
          <p:spPr bwMode="auto">
            <a:xfrm>
              <a:off x="1814895" y="45402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 name="Freeform 2099"/>
            <p:cNvSpPr>
              <a:spLocks/>
            </p:cNvSpPr>
            <p:nvPr/>
          </p:nvSpPr>
          <p:spPr bwMode="auto">
            <a:xfrm>
              <a:off x="1965325" y="47053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 name="Freeform 2100"/>
            <p:cNvSpPr>
              <a:spLocks/>
            </p:cNvSpPr>
            <p:nvPr/>
          </p:nvSpPr>
          <p:spPr bwMode="auto">
            <a:xfrm>
              <a:off x="1809750" y="47021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 name="Freeform 2101"/>
            <p:cNvSpPr>
              <a:spLocks/>
            </p:cNvSpPr>
            <p:nvPr/>
          </p:nvSpPr>
          <p:spPr bwMode="auto">
            <a:xfrm>
              <a:off x="1803400" y="46228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 name="Freeform 2102"/>
            <p:cNvSpPr>
              <a:spLocks/>
            </p:cNvSpPr>
            <p:nvPr/>
          </p:nvSpPr>
          <p:spPr bwMode="auto">
            <a:xfrm>
              <a:off x="1825625" y="45497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 name="Freeform 2103"/>
            <p:cNvSpPr>
              <a:spLocks/>
            </p:cNvSpPr>
            <p:nvPr/>
          </p:nvSpPr>
          <p:spPr bwMode="auto">
            <a:xfrm>
              <a:off x="1800225" y="45434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 name="Freeform 2104"/>
            <p:cNvSpPr>
              <a:spLocks/>
            </p:cNvSpPr>
            <p:nvPr/>
          </p:nvSpPr>
          <p:spPr bwMode="auto">
            <a:xfrm>
              <a:off x="1809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 name="Freeform 2105"/>
            <p:cNvSpPr>
              <a:spLocks/>
            </p:cNvSpPr>
            <p:nvPr/>
          </p:nvSpPr>
          <p:spPr bwMode="auto">
            <a:xfrm>
              <a:off x="1809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 name="Freeform 2106"/>
            <p:cNvSpPr>
              <a:spLocks/>
            </p:cNvSpPr>
            <p:nvPr/>
          </p:nvSpPr>
          <p:spPr bwMode="auto">
            <a:xfrm>
              <a:off x="1809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 name="Freeform 2107"/>
            <p:cNvSpPr>
              <a:spLocks/>
            </p:cNvSpPr>
            <p:nvPr/>
          </p:nvSpPr>
          <p:spPr bwMode="auto">
            <a:xfrm>
              <a:off x="1809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 name="Freeform 2108"/>
            <p:cNvSpPr>
              <a:spLocks/>
            </p:cNvSpPr>
            <p:nvPr/>
          </p:nvSpPr>
          <p:spPr bwMode="auto">
            <a:xfrm>
              <a:off x="1965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4" name="Freeform 2109"/>
            <p:cNvSpPr>
              <a:spLocks/>
            </p:cNvSpPr>
            <p:nvPr/>
          </p:nvSpPr>
          <p:spPr bwMode="auto">
            <a:xfrm>
              <a:off x="1965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5" name="Freeform 2110"/>
            <p:cNvSpPr>
              <a:spLocks/>
            </p:cNvSpPr>
            <p:nvPr/>
          </p:nvSpPr>
          <p:spPr bwMode="auto">
            <a:xfrm>
              <a:off x="1965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6" name="Freeform 2111"/>
            <p:cNvSpPr>
              <a:spLocks/>
            </p:cNvSpPr>
            <p:nvPr/>
          </p:nvSpPr>
          <p:spPr bwMode="auto">
            <a:xfrm>
              <a:off x="1965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7" name="Freeform 2112"/>
            <p:cNvSpPr>
              <a:spLocks/>
            </p:cNvSpPr>
            <p:nvPr/>
          </p:nvSpPr>
          <p:spPr bwMode="auto">
            <a:xfrm>
              <a:off x="1803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8" name="Freeform 2113"/>
            <p:cNvSpPr>
              <a:spLocks/>
            </p:cNvSpPr>
            <p:nvPr/>
          </p:nvSpPr>
          <p:spPr bwMode="auto">
            <a:xfrm>
              <a:off x="1803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9" name="Freeform 2114"/>
            <p:cNvSpPr>
              <a:spLocks noEditPoints="1"/>
            </p:cNvSpPr>
            <p:nvPr/>
          </p:nvSpPr>
          <p:spPr bwMode="auto">
            <a:xfrm>
              <a:off x="1803400" y="46228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0" name="Freeform 2115"/>
            <p:cNvSpPr>
              <a:spLocks/>
            </p:cNvSpPr>
            <p:nvPr/>
          </p:nvSpPr>
          <p:spPr bwMode="auto">
            <a:xfrm>
              <a:off x="1819275" y="46450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1" name="Freeform 2116"/>
            <p:cNvSpPr>
              <a:spLocks/>
            </p:cNvSpPr>
            <p:nvPr/>
          </p:nvSpPr>
          <p:spPr bwMode="auto">
            <a:xfrm>
              <a:off x="1803400" y="46228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2" name="Freeform 2117"/>
            <p:cNvSpPr>
              <a:spLocks noEditPoints="1"/>
            </p:cNvSpPr>
            <p:nvPr/>
          </p:nvSpPr>
          <p:spPr bwMode="auto">
            <a:xfrm>
              <a:off x="1987550" y="46037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3" name="Freeform 2118"/>
            <p:cNvSpPr>
              <a:spLocks/>
            </p:cNvSpPr>
            <p:nvPr/>
          </p:nvSpPr>
          <p:spPr bwMode="auto">
            <a:xfrm>
              <a:off x="1993900" y="46132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4" name="Freeform 2119"/>
            <p:cNvSpPr>
              <a:spLocks/>
            </p:cNvSpPr>
            <p:nvPr/>
          </p:nvSpPr>
          <p:spPr bwMode="auto">
            <a:xfrm>
              <a:off x="1987550" y="46037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5" name="Freeform 2120"/>
            <p:cNvSpPr>
              <a:spLocks/>
            </p:cNvSpPr>
            <p:nvPr/>
          </p:nvSpPr>
          <p:spPr bwMode="auto">
            <a:xfrm>
              <a:off x="1914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6" name="Freeform 2121"/>
            <p:cNvSpPr>
              <a:spLocks/>
            </p:cNvSpPr>
            <p:nvPr/>
          </p:nvSpPr>
          <p:spPr bwMode="auto">
            <a:xfrm>
              <a:off x="1914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7" name="Freeform 2122"/>
            <p:cNvSpPr>
              <a:spLocks/>
            </p:cNvSpPr>
            <p:nvPr/>
          </p:nvSpPr>
          <p:spPr bwMode="auto">
            <a:xfrm>
              <a:off x="2063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8" name="Freeform 2123"/>
            <p:cNvSpPr>
              <a:spLocks/>
            </p:cNvSpPr>
            <p:nvPr/>
          </p:nvSpPr>
          <p:spPr bwMode="auto">
            <a:xfrm>
              <a:off x="2063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59" name="Freeform 2124"/>
            <p:cNvSpPr>
              <a:spLocks/>
            </p:cNvSpPr>
            <p:nvPr/>
          </p:nvSpPr>
          <p:spPr bwMode="auto">
            <a:xfrm>
              <a:off x="1978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0" name="Freeform 2125"/>
            <p:cNvSpPr>
              <a:spLocks/>
            </p:cNvSpPr>
            <p:nvPr/>
          </p:nvSpPr>
          <p:spPr bwMode="auto">
            <a:xfrm>
              <a:off x="1978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1" name="Freeform 2126"/>
            <p:cNvSpPr>
              <a:spLocks/>
            </p:cNvSpPr>
            <p:nvPr/>
          </p:nvSpPr>
          <p:spPr bwMode="auto">
            <a:xfrm>
              <a:off x="2000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2" name="Freeform 2127"/>
            <p:cNvSpPr>
              <a:spLocks/>
            </p:cNvSpPr>
            <p:nvPr/>
          </p:nvSpPr>
          <p:spPr bwMode="auto">
            <a:xfrm>
              <a:off x="2000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3" name="Freeform 2128"/>
            <p:cNvSpPr>
              <a:spLocks/>
            </p:cNvSpPr>
            <p:nvPr/>
          </p:nvSpPr>
          <p:spPr bwMode="auto">
            <a:xfrm>
              <a:off x="1993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4" name="Freeform 2129"/>
            <p:cNvSpPr>
              <a:spLocks/>
            </p:cNvSpPr>
            <p:nvPr/>
          </p:nvSpPr>
          <p:spPr bwMode="auto">
            <a:xfrm>
              <a:off x="1993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5" name="Freeform 2130"/>
            <p:cNvSpPr>
              <a:spLocks/>
            </p:cNvSpPr>
            <p:nvPr/>
          </p:nvSpPr>
          <p:spPr bwMode="auto">
            <a:xfrm>
              <a:off x="1993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6" name="Freeform 2131"/>
            <p:cNvSpPr>
              <a:spLocks/>
            </p:cNvSpPr>
            <p:nvPr/>
          </p:nvSpPr>
          <p:spPr bwMode="auto">
            <a:xfrm>
              <a:off x="1993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7" name="Freeform 2134"/>
            <p:cNvSpPr>
              <a:spLocks/>
            </p:cNvSpPr>
            <p:nvPr/>
          </p:nvSpPr>
          <p:spPr bwMode="auto">
            <a:xfrm>
              <a:off x="425132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8" name="Freeform 2057"/>
            <p:cNvSpPr>
              <a:spLocks noEditPoints="1"/>
            </p:cNvSpPr>
            <p:nvPr/>
          </p:nvSpPr>
          <p:spPr bwMode="auto">
            <a:xfrm>
              <a:off x="6267450"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69" name="Freeform 2058"/>
            <p:cNvSpPr>
              <a:spLocks/>
            </p:cNvSpPr>
            <p:nvPr/>
          </p:nvSpPr>
          <p:spPr bwMode="auto">
            <a:xfrm>
              <a:off x="6486525"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0" name="Freeform 2059"/>
            <p:cNvSpPr>
              <a:spLocks/>
            </p:cNvSpPr>
            <p:nvPr/>
          </p:nvSpPr>
          <p:spPr bwMode="auto">
            <a:xfrm>
              <a:off x="6635750" y="45497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1" name="Freeform 2061"/>
            <p:cNvSpPr>
              <a:spLocks/>
            </p:cNvSpPr>
            <p:nvPr/>
          </p:nvSpPr>
          <p:spPr bwMode="auto">
            <a:xfrm>
              <a:off x="6924675"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2" name="Freeform 2062"/>
            <p:cNvSpPr>
              <a:spLocks/>
            </p:cNvSpPr>
            <p:nvPr/>
          </p:nvSpPr>
          <p:spPr bwMode="auto">
            <a:xfrm>
              <a:off x="73088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3" name="Freeform 2063"/>
            <p:cNvSpPr>
              <a:spLocks/>
            </p:cNvSpPr>
            <p:nvPr/>
          </p:nvSpPr>
          <p:spPr bwMode="auto">
            <a:xfrm>
              <a:off x="745490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4" name="Freeform 2065"/>
            <p:cNvSpPr>
              <a:spLocks/>
            </p:cNvSpPr>
            <p:nvPr/>
          </p:nvSpPr>
          <p:spPr bwMode="auto">
            <a:xfrm>
              <a:off x="7753350"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5" name="Freeform 2069"/>
            <p:cNvSpPr>
              <a:spLocks/>
            </p:cNvSpPr>
            <p:nvPr/>
          </p:nvSpPr>
          <p:spPr bwMode="auto">
            <a:xfrm>
              <a:off x="8261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6" name="Freeform 2070"/>
            <p:cNvSpPr>
              <a:spLocks/>
            </p:cNvSpPr>
            <p:nvPr/>
          </p:nvSpPr>
          <p:spPr bwMode="auto">
            <a:xfrm>
              <a:off x="8261350" y="45466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7" name="Freeform 2071"/>
            <p:cNvSpPr>
              <a:spLocks/>
            </p:cNvSpPr>
            <p:nvPr/>
          </p:nvSpPr>
          <p:spPr bwMode="auto">
            <a:xfrm>
              <a:off x="8356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8" name="Freeform 2072"/>
            <p:cNvSpPr>
              <a:spLocks/>
            </p:cNvSpPr>
            <p:nvPr/>
          </p:nvSpPr>
          <p:spPr bwMode="auto">
            <a:xfrm>
              <a:off x="8356600" y="45466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79" name="Freeform 2076"/>
            <p:cNvSpPr>
              <a:spLocks/>
            </p:cNvSpPr>
            <p:nvPr/>
          </p:nvSpPr>
          <p:spPr bwMode="auto">
            <a:xfrm>
              <a:off x="916940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0" name="Freeform 2077"/>
            <p:cNvSpPr>
              <a:spLocks/>
            </p:cNvSpPr>
            <p:nvPr/>
          </p:nvSpPr>
          <p:spPr bwMode="auto">
            <a:xfrm>
              <a:off x="9315450" y="45497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1" name="Freeform 2078"/>
            <p:cNvSpPr>
              <a:spLocks/>
            </p:cNvSpPr>
            <p:nvPr/>
          </p:nvSpPr>
          <p:spPr bwMode="auto">
            <a:xfrm>
              <a:off x="9464675" y="45497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2" name="Freeform 2079"/>
            <p:cNvSpPr>
              <a:spLocks noEditPoints="1"/>
            </p:cNvSpPr>
            <p:nvPr/>
          </p:nvSpPr>
          <p:spPr bwMode="auto">
            <a:xfrm>
              <a:off x="9610725"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3" name="Freeform 2080"/>
            <p:cNvSpPr>
              <a:spLocks noEditPoints="1"/>
            </p:cNvSpPr>
            <p:nvPr/>
          </p:nvSpPr>
          <p:spPr bwMode="auto">
            <a:xfrm>
              <a:off x="9829800"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4" name="Freeform 2081"/>
            <p:cNvSpPr>
              <a:spLocks/>
            </p:cNvSpPr>
            <p:nvPr/>
          </p:nvSpPr>
          <p:spPr bwMode="auto">
            <a:xfrm>
              <a:off x="8934450" y="45466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5" name="Freeform 2082"/>
            <p:cNvSpPr>
              <a:spLocks/>
            </p:cNvSpPr>
            <p:nvPr/>
          </p:nvSpPr>
          <p:spPr bwMode="auto">
            <a:xfrm>
              <a:off x="8934450" y="45466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6" name="Freeform 2083"/>
            <p:cNvSpPr>
              <a:spLocks/>
            </p:cNvSpPr>
            <p:nvPr/>
          </p:nvSpPr>
          <p:spPr bwMode="auto">
            <a:xfrm>
              <a:off x="9029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 name="Freeform 2084"/>
            <p:cNvSpPr>
              <a:spLocks/>
            </p:cNvSpPr>
            <p:nvPr/>
          </p:nvSpPr>
          <p:spPr bwMode="auto">
            <a:xfrm>
              <a:off x="9029700"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 name="Freeform 2085"/>
            <p:cNvSpPr>
              <a:spLocks noEditPoints="1"/>
            </p:cNvSpPr>
            <p:nvPr/>
          </p:nvSpPr>
          <p:spPr bwMode="auto">
            <a:xfrm>
              <a:off x="10508045" y="45370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 name="Freeform 2086"/>
            <p:cNvSpPr>
              <a:spLocks noEditPoints="1"/>
            </p:cNvSpPr>
            <p:nvPr/>
          </p:nvSpPr>
          <p:spPr bwMode="auto">
            <a:xfrm>
              <a:off x="10873170" y="4540250"/>
              <a:ext cx="158750"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 name="Freeform 2088"/>
            <p:cNvSpPr>
              <a:spLocks noEditPoints="1"/>
            </p:cNvSpPr>
            <p:nvPr/>
          </p:nvSpPr>
          <p:spPr bwMode="auto">
            <a:xfrm>
              <a:off x="11077575" y="45402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 name="Freeform 2089"/>
            <p:cNvSpPr>
              <a:spLocks/>
            </p:cNvSpPr>
            <p:nvPr/>
          </p:nvSpPr>
          <p:spPr bwMode="auto">
            <a:xfrm>
              <a:off x="11299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 name="Freeform 2090"/>
            <p:cNvSpPr>
              <a:spLocks/>
            </p:cNvSpPr>
            <p:nvPr/>
          </p:nvSpPr>
          <p:spPr bwMode="auto">
            <a:xfrm>
              <a:off x="11299825" y="45466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 name="Freeform 2091"/>
            <p:cNvSpPr>
              <a:spLocks/>
            </p:cNvSpPr>
            <p:nvPr/>
          </p:nvSpPr>
          <p:spPr bwMode="auto">
            <a:xfrm>
              <a:off x="11395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 name="Freeform 2092"/>
            <p:cNvSpPr>
              <a:spLocks/>
            </p:cNvSpPr>
            <p:nvPr/>
          </p:nvSpPr>
          <p:spPr bwMode="auto">
            <a:xfrm>
              <a:off x="11395075" y="45466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 name="Freeform 2093"/>
            <p:cNvSpPr>
              <a:spLocks noEditPoints="1"/>
            </p:cNvSpPr>
            <p:nvPr/>
          </p:nvSpPr>
          <p:spPr bwMode="auto">
            <a:xfrm>
              <a:off x="11769725" y="45402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 name="Freeform 2094"/>
            <p:cNvSpPr>
              <a:spLocks/>
            </p:cNvSpPr>
            <p:nvPr/>
          </p:nvSpPr>
          <p:spPr bwMode="auto">
            <a:xfrm>
              <a:off x="11979275"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 name="Freeform 2096"/>
            <p:cNvSpPr>
              <a:spLocks/>
            </p:cNvSpPr>
            <p:nvPr/>
          </p:nvSpPr>
          <p:spPr bwMode="auto">
            <a:xfrm>
              <a:off x="11604625" y="46450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 name="Freeform 2097"/>
            <p:cNvSpPr>
              <a:spLocks/>
            </p:cNvSpPr>
            <p:nvPr/>
          </p:nvSpPr>
          <p:spPr bwMode="auto">
            <a:xfrm>
              <a:off x="11534775" y="45529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 name="Freeform 2098"/>
            <p:cNvSpPr>
              <a:spLocks noEditPoints="1"/>
            </p:cNvSpPr>
            <p:nvPr/>
          </p:nvSpPr>
          <p:spPr bwMode="auto">
            <a:xfrm>
              <a:off x="7910895" y="45402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 name="Freeform 2099"/>
            <p:cNvSpPr>
              <a:spLocks/>
            </p:cNvSpPr>
            <p:nvPr/>
          </p:nvSpPr>
          <p:spPr bwMode="auto">
            <a:xfrm>
              <a:off x="8061325" y="47053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 name="Freeform 2100"/>
            <p:cNvSpPr>
              <a:spLocks/>
            </p:cNvSpPr>
            <p:nvPr/>
          </p:nvSpPr>
          <p:spPr bwMode="auto">
            <a:xfrm>
              <a:off x="7905750" y="47021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 name="Freeform 2101"/>
            <p:cNvSpPr>
              <a:spLocks/>
            </p:cNvSpPr>
            <p:nvPr/>
          </p:nvSpPr>
          <p:spPr bwMode="auto">
            <a:xfrm>
              <a:off x="7899400" y="46228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 name="Freeform 2102"/>
            <p:cNvSpPr>
              <a:spLocks/>
            </p:cNvSpPr>
            <p:nvPr/>
          </p:nvSpPr>
          <p:spPr bwMode="auto">
            <a:xfrm>
              <a:off x="7921625" y="45497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 name="Freeform 2103"/>
            <p:cNvSpPr>
              <a:spLocks/>
            </p:cNvSpPr>
            <p:nvPr/>
          </p:nvSpPr>
          <p:spPr bwMode="auto">
            <a:xfrm>
              <a:off x="7896225" y="45434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 name="Freeform 2104"/>
            <p:cNvSpPr>
              <a:spLocks/>
            </p:cNvSpPr>
            <p:nvPr/>
          </p:nvSpPr>
          <p:spPr bwMode="auto">
            <a:xfrm>
              <a:off x="7905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 name="Freeform 2105"/>
            <p:cNvSpPr>
              <a:spLocks/>
            </p:cNvSpPr>
            <p:nvPr/>
          </p:nvSpPr>
          <p:spPr bwMode="auto">
            <a:xfrm>
              <a:off x="7905750" y="47021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 name="Freeform 2106"/>
            <p:cNvSpPr>
              <a:spLocks/>
            </p:cNvSpPr>
            <p:nvPr/>
          </p:nvSpPr>
          <p:spPr bwMode="auto">
            <a:xfrm>
              <a:off x="7905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 name="Freeform 2107"/>
            <p:cNvSpPr>
              <a:spLocks/>
            </p:cNvSpPr>
            <p:nvPr/>
          </p:nvSpPr>
          <p:spPr bwMode="auto">
            <a:xfrm>
              <a:off x="7905750" y="47021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 name="Freeform 2108"/>
            <p:cNvSpPr>
              <a:spLocks/>
            </p:cNvSpPr>
            <p:nvPr/>
          </p:nvSpPr>
          <p:spPr bwMode="auto">
            <a:xfrm>
              <a:off x="8061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 name="Freeform 2109"/>
            <p:cNvSpPr>
              <a:spLocks/>
            </p:cNvSpPr>
            <p:nvPr/>
          </p:nvSpPr>
          <p:spPr bwMode="auto">
            <a:xfrm>
              <a:off x="8061325" y="47085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 name="Freeform 2110"/>
            <p:cNvSpPr>
              <a:spLocks/>
            </p:cNvSpPr>
            <p:nvPr/>
          </p:nvSpPr>
          <p:spPr bwMode="auto">
            <a:xfrm>
              <a:off x="8061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 name="Freeform 2111"/>
            <p:cNvSpPr>
              <a:spLocks/>
            </p:cNvSpPr>
            <p:nvPr/>
          </p:nvSpPr>
          <p:spPr bwMode="auto">
            <a:xfrm>
              <a:off x="8061325" y="47053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 name="Freeform 2112"/>
            <p:cNvSpPr>
              <a:spLocks/>
            </p:cNvSpPr>
            <p:nvPr/>
          </p:nvSpPr>
          <p:spPr bwMode="auto">
            <a:xfrm>
              <a:off x="7899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 name="Freeform 2113"/>
            <p:cNvSpPr>
              <a:spLocks/>
            </p:cNvSpPr>
            <p:nvPr/>
          </p:nvSpPr>
          <p:spPr bwMode="auto">
            <a:xfrm>
              <a:off x="7899400" y="46228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 name="Freeform 2114"/>
            <p:cNvSpPr>
              <a:spLocks noEditPoints="1"/>
            </p:cNvSpPr>
            <p:nvPr/>
          </p:nvSpPr>
          <p:spPr bwMode="auto">
            <a:xfrm>
              <a:off x="7899400" y="46228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 name="Freeform 2115"/>
            <p:cNvSpPr>
              <a:spLocks/>
            </p:cNvSpPr>
            <p:nvPr/>
          </p:nvSpPr>
          <p:spPr bwMode="auto">
            <a:xfrm>
              <a:off x="7915275" y="46450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 name="Freeform 2116"/>
            <p:cNvSpPr>
              <a:spLocks/>
            </p:cNvSpPr>
            <p:nvPr/>
          </p:nvSpPr>
          <p:spPr bwMode="auto">
            <a:xfrm>
              <a:off x="7899400" y="46228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 name="Freeform 2117"/>
            <p:cNvSpPr>
              <a:spLocks noEditPoints="1"/>
            </p:cNvSpPr>
            <p:nvPr/>
          </p:nvSpPr>
          <p:spPr bwMode="auto">
            <a:xfrm>
              <a:off x="8083550" y="46037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 name="Freeform 2118"/>
            <p:cNvSpPr>
              <a:spLocks/>
            </p:cNvSpPr>
            <p:nvPr/>
          </p:nvSpPr>
          <p:spPr bwMode="auto">
            <a:xfrm>
              <a:off x="8089900" y="46132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 name="Freeform 2119"/>
            <p:cNvSpPr>
              <a:spLocks/>
            </p:cNvSpPr>
            <p:nvPr/>
          </p:nvSpPr>
          <p:spPr bwMode="auto">
            <a:xfrm>
              <a:off x="8083550" y="46037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 name="Freeform 2120"/>
            <p:cNvSpPr>
              <a:spLocks/>
            </p:cNvSpPr>
            <p:nvPr/>
          </p:nvSpPr>
          <p:spPr bwMode="auto">
            <a:xfrm>
              <a:off x="8010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 name="Freeform 2121"/>
            <p:cNvSpPr>
              <a:spLocks/>
            </p:cNvSpPr>
            <p:nvPr/>
          </p:nvSpPr>
          <p:spPr bwMode="auto">
            <a:xfrm>
              <a:off x="8010525" y="45878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 name="Freeform 2122"/>
            <p:cNvSpPr>
              <a:spLocks/>
            </p:cNvSpPr>
            <p:nvPr/>
          </p:nvSpPr>
          <p:spPr bwMode="auto">
            <a:xfrm>
              <a:off x="8159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 name="Freeform 2123"/>
            <p:cNvSpPr>
              <a:spLocks/>
            </p:cNvSpPr>
            <p:nvPr/>
          </p:nvSpPr>
          <p:spPr bwMode="auto">
            <a:xfrm>
              <a:off x="8159750" y="45910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 name="Freeform 2124"/>
            <p:cNvSpPr>
              <a:spLocks/>
            </p:cNvSpPr>
            <p:nvPr/>
          </p:nvSpPr>
          <p:spPr bwMode="auto">
            <a:xfrm>
              <a:off x="8074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 name="Freeform 2125"/>
            <p:cNvSpPr>
              <a:spLocks/>
            </p:cNvSpPr>
            <p:nvPr/>
          </p:nvSpPr>
          <p:spPr bwMode="auto">
            <a:xfrm>
              <a:off x="8074025" y="45878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 name="Freeform 2126"/>
            <p:cNvSpPr>
              <a:spLocks/>
            </p:cNvSpPr>
            <p:nvPr/>
          </p:nvSpPr>
          <p:spPr bwMode="auto">
            <a:xfrm>
              <a:off x="8096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 name="Freeform 2127"/>
            <p:cNvSpPr>
              <a:spLocks/>
            </p:cNvSpPr>
            <p:nvPr/>
          </p:nvSpPr>
          <p:spPr bwMode="auto">
            <a:xfrm>
              <a:off x="8096250" y="46672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 name="Freeform 2128"/>
            <p:cNvSpPr>
              <a:spLocks/>
            </p:cNvSpPr>
            <p:nvPr/>
          </p:nvSpPr>
          <p:spPr bwMode="auto">
            <a:xfrm>
              <a:off x="8089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 name="Freeform 2129"/>
            <p:cNvSpPr>
              <a:spLocks/>
            </p:cNvSpPr>
            <p:nvPr/>
          </p:nvSpPr>
          <p:spPr bwMode="auto">
            <a:xfrm>
              <a:off x="8089900" y="46164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 name="Freeform 2130"/>
            <p:cNvSpPr>
              <a:spLocks/>
            </p:cNvSpPr>
            <p:nvPr/>
          </p:nvSpPr>
          <p:spPr bwMode="auto">
            <a:xfrm>
              <a:off x="8089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 name="Freeform 2131"/>
            <p:cNvSpPr>
              <a:spLocks/>
            </p:cNvSpPr>
            <p:nvPr/>
          </p:nvSpPr>
          <p:spPr bwMode="auto">
            <a:xfrm>
              <a:off x="8089900" y="46164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 name="Freeform 2132"/>
            <p:cNvSpPr>
              <a:spLocks/>
            </p:cNvSpPr>
            <p:nvPr/>
          </p:nvSpPr>
          <p:spPr bwMode="auto">
            <a:xfrm>
              <a:off x="10052050" y="45497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 name="Freeform 2058"/>
            <p:cNvSpPr>
              <a:spLocks/>
            </p:cNvSpPr>
            <p:nvPr/>
          </p:nvSpPr>
          <p:spPr bwMode="auto">
            <a:xfrm>
              <a:off x="39052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 name="Freeform 2059"/>
            <p:cNvSpPr>
              <a:spLocks/>
            </p:cNvSpPr>
            <p:nvPr/>
          </p:nvSpPr>
          <p:spPr bwMode="auto">
            <a:xfrm>
              <a:off x="539750" y="49053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 name="Freeform 2060"/>
            <p:cNvSpPr>
              <a:spLocks/>
            </p:cNvSpPr>
            <p:nvPr/>
          </p:nvSpPr>
          <p:spPr bwMode="auto">
            <a:xfrm>
              <a:off x="685800"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 name="Freeform 2061"/>
            <p:cNvSpPr>
              <a:spLocks/>
            </p:cNvSpPr>
            <p:nvPr/>
          </p:nvSpPr>
          <p:spPr bwMode="auto">
            <a:xfrm>
              <a:off x="82867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 name="Freeform 2062"/>
            <p:cNvSpPr>
              <a:spLocks/>
            </p:cNvSpPr>
            <p:nvPr/>
          </p:nvSpPr>
          <p:spPr bwMode="auto">
            <a:xfrm>
              <a:off x="12128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 name="Freeform 2063"/>
            <p:cNvSpPr>
              <a:spLocks/>
            </p:cNvSpPr>
            <p:nvPr/>
          </p:nvSpPr>
          <p:spPr bwMode="auto">
            <a:xfrm>
              <a:off x="135890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 name="Freeform 2064"/>
            <p:cNvSpPr>
              <a:spLocks/>
            </p:cNvSpPr>
            <p:nvPr/>
          </p:nvSpPr>
          <p:spPr bwMode="auto">
            <a:xfrm>
              <a:off x="150812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 name="Freeform 2068"/>
            <p:cNvSpPr>
              <a:spLocks/>
            </p:cNvSpPr>
            <p:nvPr/>
          </p:nvSpPr>
          <p:spPr bwMode="auto">
            <a:xfrm>
              <a:off x="107315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 name="Freeform 2069"/>
            <p:cNvSpPr>
              <a:spLocks/>
            </p:cNvSpPr>
            <p:nvPr/>
          </p:nvSpPr>
          <p:spPr bwMode="auto">
            <a:xfrm>
              <a:off x="2165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 name="Freeform 2070"/>
            <p:cNvSpPr>
              <a:spLocks/>
            </p:cNvSpPr>
            <p:nvPr/>
          </p:nvSpPr>
          <p:spPr bwMode="auto">
            <a:xfrm>
              <a:off x="2165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 name="Freeform 2071"/>
            <p:cNvSpPr>
              <a:spLocks/>
            </p:cNvSpPr>
            <p:nvPr/>
          </p:nvSpPr>
          <p:spPr bwMode="auto">
            <a:xfrm>
              <a:off x="2260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 name="Freeform 2072"/>
            <p:cNvSpPr>
              <a:spLocks/>
            </p:cNvSpPr>
            <p:nvPr/>
          </p:nvSpPr>
          <p:spPr bwMode="auto">
            <a:xfrm>
              <a:off x="2260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 name="Freeform 2073"/>
            <p:cNvSpPr>
              <a:spLocks/>
            </p:cNvSpPr>
            <p:nvPr/>
          </p:nvSpPr>
          <p:spPr bwMode="auto">
            <a:xfrm>
              <a:off x="24003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 name="Freeform 2076"/>
            <p:cNvSpPr>
              <a:spLocks/>
            </p:cNvSpPr>
            <p:nvPr/>
          </p:nvSpPr>
          <p:spPr bwMode="auto">
            <a:xfrm>
              <a:off x="30734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 name="Freeform 2077"/>
            <p:cNvSpPr>
              <a:spLocks/>
            </p:cNvSpPr>
            <p:nvPr/>
          </p:nvSpPr>
          <p:spPr bwMode="auto">
            <a:xfrm>
              <a:off x="321945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 name="Freeform 2078"/>
            <p:cNvSpPr>
              <a:spLocks/>
            </p:cNvSpPr>
            <p:nvPr/>
          </p:nvSpPr>
          <p:spPr bwMode="auto">
            <a:xfrm>
              <a:off x="336867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 name="Freeform 2079"/>
            <p:cNvSpPr>
              <a:spLocks noEditPoints="1"/>
            </p:cNvSpPr>
            <p:nvPr/>
          </p:nvSpPr>
          <p:spPr bwMode="auto">
            <a:xfrm>
              <a:off x="3514725" y="48958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 name="Freeform 2084"/>
            <p:cNvSpPr>
              <a:spLocks/>
            </p:cNvSpPr>
            <p:nvPr/>
          </p:nvSpPr>
          <p:spPr bwMode="auto">
            <a:xfrm>
              <a:off x="2933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 name="Freeform 2085"/>
            <p:cNvSpPr>
              <a:spLocks noEditPoints="1"/>
            </p:cNvSpPr>
            <p:nvPr/>
          </p:nvSpPr>
          <p:spPr bwMode="auto">
            <a:xfrm>
              <a:off x="4412045" y="48926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 name="Freeform 2087"/>
            <p:cNvSpPr>
              <a:spLocks/>
            </p:cNvSpPr>
            <p:nvPr/>
          </p:nvSpPr>
          <p:spPr bwMode="auto">
            <a:xfrm>
              <a:off x="46164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 name="Freeform 2088"/>
            <p:cNvSpPr>
              <a:spLocks noEditPoints="1"/>
            </p:cNvSpPr>
            <p:nvPr/>
          </p:nvSpPr>
          <p:spPr bwMode="auto">
            <a:xfrm>
              <a:off x="4981575"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 name="Freeform 2089"/>
            <p:cNvSpPr>
              <a:spLocks/>
            </p:cNvSpPr>
            <p:nvPr/>
          </p:nvSpPr>
          <p:spPr bwMode="auto">
            <a:xfrm>
              <a:off x="5203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 name="Freeform 2091"/>
            <p:cNvSpPr>
              <a:spLocks/>
            </p:cNvSpPr>
            <p:nvPr/>
          </p:nvSpPr>
          <p:spPr bwMode="auto">
            <a:xfrm>
              <a:off x="5299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 name="Freeform 2092"/>
            <p:cNvSpPr>
              <a:spLocks/>
            </p:cNvSpPr>
            <p:nvPr/>
          </p:nvSpPr>
          <p:spPr bwMode="auto">
            <a:xfrm>
              <a:off x="5299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 name="Freeform 2094"/>
            <p:cNvSpPr>
              <a:spLocks/>
            </p:cNvSpPr>
            <p:nvPr/>
          </p:nvSpPr>
          <p:spPr bwMode="auto">
            <a:xfrm>
              <a:off x="588327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 name="Freeform 2096"/>
            <p:cNvSpPr>
              <a:spLocks/>
            </p:cNvSpPr>
            <p:nvPr/>
          </p:nvSpPr>
          <p:spPr bwMode="auto">
            <a:xfrm>
              <a:off x="5508625" y="50006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 name="Freeform 2097"/>
            <p:cNvSpPr>
              <a:spLocks/>
            </p:cNvSpPr>
            <p:nvPr/>
          </p:nvSpPr>
          <p:spPr bwMode="auto">
            <a:xfrm>
              <a:off x="5438775" y="49085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 name="Freeform 2134"/>
            <p:cNvSpPr>
              <a:spLocks/>
            </p:cNvSpPr>
            <p:nvPr/>
          </p:nvSpPr>
          <p:spPr bwMode="auto">
            <a:xfrm>
              <a:off x="425132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 name="Freeform 2057"/>
            <p:cNvSpPr>
              <a:spLocks noEditPoints="1"/>
            </p:cNvSpPr>
            <p:nvPr/>
          </p:nvSpPr>
          <p:spPr bwMode="auto">
            <a:xfrm>
              <a:off x="6267450" y="48958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 name="Freeform 2058"/>
            <p:cNvSpPr>
              <a:spLocks/>
            </p:cNvSpPr>
            <p:nvPr/>
          </p:nvSpPr>
          <p:spPr bwMode="auto">
            <a:xfrm>
              <a:off x="648652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 name="Freeform 2061"/>
            <p:cNvSpPr>
              <a:spLocks/>
            </p:cNvSpPr>
            <p:nvPr/>
          </p:nvSpPr>
          <p:spPr bwMode="auto">
            <a:xfrm>
              <a:off x="6924675"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 name="Freeform 2063"/>
            <p:cNvSpPr>
              <a:spLocks/>
            </p:cNvSpPr>
            <p:nvPr/>
          </p:nvSpPr>
          <p:spPr bwMode="auto">
            <a:xfrm>
              <a:off x="745490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 name="Freeform 2065"/>
            <p:cNvSpPr>
              <a:spLocks/>
            </p:cNvSpPr>
            <p:nvPr/>
          </p:nvSpPr>
          <p:spPr bwMode="auto">
            <a:xfrm>
              <a:off x="7753350"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 name="Freeform 2069"/>
            <p:cNvSpPr>
              <a:spLocks/>
            </p:cNvSpPr>
            <p:nvPr/>
          </p:nvSpPr>
          <p:spPr bwMode="auto">
            <a:xfrm>
              <a:off x="8261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 name="Freeform 2070"/>
            <p:cNvSpPr>
              <a:spLocks/>
            </p:cNvSpPr>
            <p:nvPr/>
          </p:nvSpPr>
          <p:spPr bwMode="auto">
            <a:xfrm>
              <a:off x="8261350" y="49022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 name="Freeform 2071"/>
            <p:cNvSpPr>
              <a:spLocks/>
            </p:cNvSpPr>
            <p:nvPr/>
          </p:nvSpPr>
          <p:spPr bwMode="auto">
            <a:xfrm>
              <a:off x="8356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 name="Freeform 2072"/>
            <p:cNvSpPr>
              <a:spLocks/>
            </p:cNvSpPr>
            <p:nvPr/>
          </p:nvSpPr>
          <p:spPr bwMode="auto">
            <a:xfrm>
              <a:off x="8356600" y="49022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 name="Freeform 2076"/>
            <p:cNvSpPr>
              <a:spLocks/>
            </p:cNvSpPr>
            <p:nvPr/>
          </p:nvSpPr>
          <p:spPr bwMode="auto">
            <a:xfrm>
              <a:off x="916940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 name="Freeform 2077"/>
            <p:cNvSpPr>
              <a:spLocks/>
            </p:cNvSpPr>
            <p:nvPr/>
          </p:nvSpPr>
          <p:spPr bwMode="auto">
            <a:xfrm>
              <a:off x="9315450" y="49053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 name="Freeform 2078"/>
            <p:cNvSpPr>
              <a:spLocks/>
            </p:cNvSpPr>
            <p:nvPr/>
          </p:nvSpPr>
          <p:spPr bwMode="auto">
            <a:xfrm>
              <a:off x="9464675" y="49053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 name="Freeform 2080"/>
            <p:cNvSpPr>
              <a:spLocks noEditPoints="1"/>
            </p:cNvSpPr>
            <p:nvPr/>
          </p:nvSpPr>
          <p:spPr bwMode="auto">
            <a:xfrm>
              <a:off x="9829800"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 name="Freeform 2081"/>
            <p:cNvSpPr>
              <a:spLocks/>
            </p:cNvSpPr>
            <p:nvPr/>
          </p:nvSpPr>
          <p:spPr bwMode="auto">
            <a:xfrm>
              <a:off x="8934450" y="49022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 name="Freeform 2082"/>
            <p:cNvSpPr>
              <a:spLocks/>
            </p:cNvSpPr>
            <p:nvPr/>
          </p:nvSpPr>
          <p:spPr bwMode="auto">
            <a:xfrm>
              <a:off x="8934450" y="49022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 name="Freeform 2083"/>
            <p:cNvSpPr>
              <a:spLocks/>
            </p:cNvSpPr>
            <p:nvPr/>
          </p:nvSpPr>
          <p:spPr bwMode="auto">
            <a:xfrm>
              <a:off x="9029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 name="Freeform 2084"/>
            <p:cNvSpPr>
              <a:spLocks/>
            </p:cNvSpPr>
            <p:nvPr/>
          </p:nvSpPr>
          <p:spPr bwMode="auto">
            <a:xfrm>
              <a:off x="9029700"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 name="Freeform 2085"/>
            <p:cNvSpPr>
              <a:spLocks noEditPoints="1"/>
            </p:cNvSpPr>
            <p:nvPr/>
          </p:nvSpPr>
          <p:spPr bwMode="auto">
            <a:xfrm>
              <a:off x="10508045" y="48926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 name="Freeform 2088"/>
            <p:cNvSpPr>
              <a:spLocks noEditPoints="1"/>
            </p:cNvSpPr>
            <p:nvPr/>
          </p:nvSpPr>
          <p:spPr bwMode="auto">
            <a:xfrm>
              <a:off x="11077575" y="48958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 name="Freeform 2089"/>
            <p:cNvSpPr>
              <a:spLocks/>
            </p:cNvSpPr>
            <p:nvPr/>
          </p:nvSpPr>
          <p:spPr bwMode="auto">
            <a:xfrm>
              <a:off x="11299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 name="Freeform 2090"/>
            <p:cNvSpPr>
              <a:spLocks/>
            </p:cNvSpPr>
            <p:nvPr/>
          </p:nvSpPr>
          <p:spPr bwMode="auto">
            <a:xfrm>
              <a:off x="11299825" y="49022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 name="Freeform 2091"/>
            <p:cNvSpPr>
              <a:spLocks/>
            </p:cNvSpPr>
            <p:nvPr/>
          </p:nvSpPr>
          <p:spPr bwMode="auto">
            <a:xfrm>
              <a:off x="11395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 name="Freeform 2092"/>
            <p:cNvSpPr>
              <a:spLocks/>
            </p:cNvSpPr>
            <p:nvPr/>
          </p:nvSpPr>
          <p:spPr bwMode="auto">
            <a:xfrm>
              <a:off x="11395075" y="49022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 name="Freeform 2093"/>
            <p:cNvSpPr>
              <a:spLocks noEditPoints="1"/>
            </p:cNvSpPr>
            <p:nvPr/>
          </p:nvSpPr>
          <p:spPr bwMode="auto">
            <a:xfrm>
              <a:off x="11769725" y="48958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 name="Freeform 2094"/>
            <p:cNvSpPr>
              <a:spLocks/>
            </p:cNvSpPr>
            <p:nvPr/>
          </p:nvSpPr>
          <p:spPr bwMode="auto">
            <a:xfrm>
              <a:off x="11979275"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 name="Freeform 2096"/>
            <p:cNvSpPr>
              <a:spLocks/>
            </p:cNvSpPr>
            <p:nvPr/>
          </p:nvSpPr>
          <p:spPr bwMode="auto">
            <a:xfrm>
              <a:off x="11604625" y="50006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 name="Freeform 2097"/>
            <p:cNvSpPr>
              <a:spLocks/>
            </p:cNvSpPr>
            <p:nvPr/>
          </p:nvSpPr>
          <p:spPr bwMode="auto">
            <a:xfrm>
              <a:off x="11534775" y="49085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 name="Freeform 2098"/>
            <p:cNvSpPr>
              <a:spLocks noEditPoints="1"/>
            </p:cNvSpPr>
            <p:nvPr/>
          </p:nvSpPr>
          <p:spPr bwMode="auto">
            <a:xfrm>
              <a:off x="7910895" y="48958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 name="Freeform 2099"/>
            <p:cNvSpPr>
              <a:spLocks/>
            </p:cNvSpPr>
            <p:nvPr/>
          </p:nvSpPr>
          <p:spPr bwMode="auto">
            <a:xfrm>
              <a:off x="8061325" y="50609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 name="Freeform 2100"/>
            <p:cNvSpPr>
              <a:spLocks/>
            </p:cNvSpPr>
            <p:nvPr/>
          </p:nvSpPr>
          <p:spPr bwMode="auto">
            <a:xfrm>
              <a:off x="7905750" y="50577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 name="Freeform 2101"/>
            <p:cNvSpPr>
              <a:spLocks/>
            </p:cNvSpPr>
            <p:nvPr/>
          </p:nvSpPr>
          <p:spPr bwMode="auto">
            <a:xfrm>
              <a:off x="7899400" y="49784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 name="Freeform 2102"/>
            <p:cNvSpPr>
              <a:spLocks/>
            </p:cNvSpPr>
            <p:nvPr/>
          </p:nvSpPr>
          <p:spPr bwMode="auto">
            <a:xfrm>
              <a:off x="7921625" y="49053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 name="Freeform 2103"/>
            <p:cNvSpPr>
              <a:spLocks/>
            </p:cNvSpPr>
            <p:nvPr/>
          </p:nvSpPr>
          <p:spPr bwMode="auto">
            <a:xfrm>
              <a:off x="7896225" y="48990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 name="Freeform 2104"/>
            <p:cNvSpPr>
              <a:spLocks/>
            </p:cNvSpPr>
            <p:nvPr/>
          </p:nvSpPr>
          <p:spPr bwMode="auto">
            <a:xfrm>
              <a:off x="7905750" y="50577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 name="Freeform 2105"/>
            <p:cNvSpPr>
              <a:spLocks/>
            </p:cNvSpPr>
            <p:nvPr/>
          </p:nvSpPr>
          <p:spPr bwMode="auto">
            <a:xfrm>
              <a:off x="7905750" y="50577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 name="Freeform 2106"/>
            <p:cNvSpPr>
              <a:spLocks/>
            </p:cNvSpPr>
            <p:nvPr/>
          </p:nvSpPr>
          <p:spPr bwMode="auto">
            <a:xfrm>
              <a:off x="7905750" y="50577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 name="Freeform 2107"/>
            <p:cNvSpPr>
              <a:spLocks/>
            </p:cNvSpPr>
            <p:nvPr/>
          </p:nvSpPr>
          <p:spPr bwMode="auto">
            <a:xfrm>
              <a:off x="7905750" y="50577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 name="Freeform 2108"/>
            <p:cNvSpPr>
              <a:spLocks/>
            </p:cNvSpPr>
            <p:nvPr/>
          </p:nvSpPr>
          <p:spPr bwMode="auto">
            <a:xfrm>
              <a:off x="8061325" y="50641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 name="Freeform 2109"/>
            <p:cNvSpPr>
              <a:spLocks/>
            </p:cNvSpPr>
            <p:nvPr/>
          </p:nvSpPr>
          <p:spPr bwMode="auto">
            <a:xfrm>
              <a:off x="8061325" y="50641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 name="Freeform 2110"/>
            <p:cNvSpPr>
              <a:spLocks/>
            </p:cNvSpPr>
            <p:nvPr/>
          </p:nvSpPr>
          <p:spPr bwMode="auto">
            <a:xfrm>
              <a:off x="8061325" y="50609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 name="Freeform 2111"/>
            <p:cNvSpPr>
              <a:spLocks/>
            </p:cNvSpPr>
            <p:nvPr/>
          </p:nvSpPr>
          <p:spPr bwMode="auto">
            <a:xfrm>
              <a:off x="8061325" y="50609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 name="Freeform 2112"/>
            <p:cNvSpPr>
              <a:spLocks/>
            </p:cNvSpPr>
            <p:nvPr/>
          </p:nvSpPr>
          <p:spPr bwMode="auto">
            <a:xfrm>
              <a:off x="7899400" y="49784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 name="Freeform 2113"/>
            <p:cNvSpPr>
              <a:spLocks/>
            </p:cNvSpPr>
            <p:nvPr/>
          </p:nvSpPr>
          <p:spPr bwMode="auto">
            <a:xfrm>
              <a:off x="7899400" y="49784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 name="Freeform 2114"/>
            <p:cNvSpPr>
              <a:spLocks noEditPoints="1"/>
            </p:cNvSpPr>
            <p:nvPr/>
          </p:nvSpPr>
          <p:spPr bwMode="auto">
            <a:xfrm>
              <a:off x="7899400" y="49784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 name="Freeform 2115"/>
            <p:cNvSpPr>
              <a:spLocks/>
            </p:cNvSpPr>
            <p:nvPr/>
          </p:nvSpPr>
          <p:spPr bwMode="auto">
            <a:xfrm>
              <a:off x="7915275" y="50006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 name="Freeform 2116"/>
            <p:cNvSpPr>
              <a:spLocks/>
            </p:cNvSpPr>
            <p:nvPr/>
          </p:nvSpPr>
          <p:spPr bwMode="auto">
            <a:xfrm>
              <a:off x="7899400" y="49784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 name="Freeform 2117"/>
            <p:cNvSpPr>
              <a:spLocks noEditPoints="1"/>
            </p:cNvSpPr>
            <p:nvPr/>
          </p:nvSpPr>
          <p:spPr bwMode="auto">
            <a:xfrm>
              <a:off x="8083550" y="49593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 name="Freeform 2118"/>
            <p:cNvSpPr>
              <a:spLocks/>
            </p:cNvSpPr>
            <p:nvPr/>
          </p:nvSpPr>
          <p:spPr bwMode="auto">
            <a:xfrm>
              <a:off x="8089900" y="49688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 name="Freeform 2119"/>
            <p:cNvSpPr>
              <a:spLocks/>
            </p:cNvSpPr>
            <p:nvPr/>
          </p:nvSpPr>
          <p:spPr bwMode="auto">
            <a:xfrm>
              <a:off x="8083550" y="49593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 name="Freeform 2120"/>
            <p:cNvSpPr>
              <a:spLocks/>
            </p:cNvSpPr>
            <p:nvPr/>
          </p:nvSpPr>
          <p:spPr bwMode="auto">
            <a:xfrm>
              <a:off x="8010525" y="49434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 name="Freeform 2121"/>
            <p:cNvSpPr>
              <a:spLocks/>
            </p:cNvSpPr>
            <p:nvPr/>
          </p:nvSpPr>
          <p:spPr bwMode="auto">
            <a:xfrm>
              <a:off x="8010525" y="49434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 name="Freeform 2122"/>
            <p:cNvSpPr>
              <a:spLocks/>
            </p:cNvSpPr>
            <p:nvPr/>
          </p:nvSpPr>
          <p:spPr bwMode="auto">
            <a:xfrm>
              <a:off x="8159750" y="49466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 name="Freeform 2123"/>
            <p:cNvSpPr>
              <a:spLocks/>
            </p:cNvSpPr>
            <p:nvPr/>
          </p:nvSpPr>
          <p:spPr bwMode="auto">
            <a:xfrm>
              <a:off x="8159750" y="49466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 name="Freeform 2124"/>
            <p:cNvSpPr>
              <a:spLocks/>
            </p:cNvSpPr>
            <p:nvPr/>
          </p:nvSpPr>
          <p:spPr bwMode="auto">
            <a:xfrm>
              <a:off x="8074025" y="49434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 name="Freeform 2125"/>
            <p:cNvSpPr>
              <a:spLocks/>
            </p:cNvSpPr>
            <p:nvPr/>
          </p:nvSpPr>
          <p:spPr bwMode="auto">
            <a:xfrm>
              <a:off x="8074025" y="49434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 name="Freeform 2126"/>
            <p:cNvSpPr>
              <a:spLocks/>
            </p:cNvSpPr>
            <p:nvPr/>
          </p:nvSpPr>
          <p:spPr bwMode="auto">
            <a:xfrm>
              <a:off x="8096250" y="50228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 name="Freeform 2127"/>
            <p:cNvSpPr>
              <a:spLocks/>
            </p:cNvSpPr>
            <p:nvPr/>
          </p:nvSpPr>
          <p:spPr bwMode="auto">
            <a:xfrm>
              <a:off x="8096250" y="50228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 name="Freeform 2128"/>
            <p:cNvSpPr>
              <a:spLocks/>
            </p:cNvSpPr>
            <p:nvPr/>
          </p:nvSpPr>
          <p:spPr bwMode="auto">
            <a:xfrm>
              <a:off x="8089900" y="49720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 name="Freeform 2129"/>
            <p:cNvSpPr>
              <a:spLocks/>
            </p:cNvSpPr>
            <p:nvPr/>
          </p:nvSpPr>
          <p:spPr bwMode="auto">
            <a:xfrm>
              <a:off x="8089900" y="49720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 name="Freeform 2130"/>
            <p:cNvSpPr>
              <a:spLocks/>
            </p:cNvSpPr>
            <p:nvPr/>
          </p:nvSpPr>
          <p:spPr bwMode="auto">
            <a:xfrm>
              <a:off x="8089900" y="49720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 name="Freeform 2131"/>
            <p:cNvSpPr>
              <a:spLocks/>
            </p:cNvSpPr>
            <p:nvPr/>
          </p:nvSpPr>
          <p:spPr bwMode="auto">
            <a:xfrm>
              <a:off x="8089900" y="49720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 name="Freeform 2132"/>
            <p:cNvSpPr>
              <a:spLocks/>
            </p:cNvSpPr>
            <p:nvPr/>
          </p:nvSpPr>
          <p:spPr bwMode="auto">
            <a:xfrm>
              <a:off x="10052050" y="49053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 name="Freeform 2063"/>
            <p:cNvSpPr>
              <a:spLocks/>
            </p:cNvSpPr>
            <p:nvPr/>
          </p:nvSpPr>
          <p:spPr bwMode="auto">
            <a:xfrm>
              <a:off x="135890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 name="Freeform 2064"/>
            <p:cNvSpPr>
              <a:spLocks/>
            </p:cNvSpPr>
            <p:nvPr/>
          </p:nvSpPr>
          <p:spPr bwMode="auto">
            <a:xfrm>
              <a:off x="150812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 name="Freeform 2068"/>
            <p:cNvSpPr>
              <a:spLocks/>
            </p:cNvSpPr>
            <p:nvPr/>
          </p:nvSpPr>
          <p:spPr bwMode="auto">
            <a:xfrm>
              <a:off x="107315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 name="Freeform 2073"/>
            <p:cNvSpPr>
              <a:spLocks/>
            </p:cNvSpPr>
            <p:nvPr/>
          </p:nvSpPr>
          <p:spPr bwMode="auto">
            <a:xfrm>
              <a:off x="24003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 name="Freeform 2076"/>
            <p:cNvSpPr>
              <a:spLocks/>
            </p:cNvSpPr>
            <p:nvPr/>
          </p:nvSpPr>
          <p:spPr bwMode="auto">
            <a:xfrm>
              <a:off x="30734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 name="Freeform 2077"/>
            <p:cNvSpPr>
              <a:spLocks/>
            </p:cNvSpPr>
            <p:nvPr/>
          </p:nvSpPr>
          <p:spPr bwMode="auto">
            <a:xfrm>
              <a:off x="321945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 name="Freeform 2084"/>
            <p:cNvSpPr>
              <a:spLocks/>
            </p:cNvSpPr>
            <p:nvPr/>
          </p:nvSpPr>
          <p:spPr bwMode="auto">
            <a:xfrm>
              <a:off x="2933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 name="Freeform 2085"/>
            <p:cNvSpPr>
              <a:spLocks noEditPoints="1"/>
            </p:cNvSpPr>
            <p:nvPr/>
          </p:nvSpPr>
          <p:spPr bwMode="auto">
            <a:xfrm>
              <a:off x="4412045" y="51974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 name="Freeform 2087"/>
            <p:cNvSpPr>
              <a:spLocks/>
            </p:cNvSpPr>
            <p:nvPr/>
          </p:nvSpPr>
          <p:spPr bwMode="auto">
            <a:xfrm>
              <a:off x="461645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 name="Freeform 2088"/>
            <p:cNvSpPr>
              <a:spLocks noEditPoints="1"/>
            </p:cNvSpPr>
            <p:nvPr/>
          </p:nvSpPr>
          <p:spPr bwMode="auto">
            <a:xfrm>
              <a:off x="4981575" y="52006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 name="Freeform 2089"/>
            <p:cNvSpPr>
              <a:spLocks/>
            </p:cNvSpPr>
            <p:nvPr/>
          </p:nvSpPr>
          <p:spPr bwMode="auto">
            <a:xfrm>
              <a:off x="5203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 name="Freeform 2091"/>
            <p:cNvSpPr>
              <a:spLocks/>
            </p:cNvSpPr>
            <p:nvPr/>
          </p:nvSpPr>
          <p:spPr bwMode="auto">
            <a:xfrm>
              <a:off x="5299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 name="Freeform 2092"/>
            <p:cNvSpPr>
              <a:spLocks/>
            </p:cNvSpPr>
            <p:nvPr/>
          </p:nvSpPr>
          <p:spPr bwMode="auto">
            <a:xfrm>
              <a:off x="5299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 name="Freeform 2094"/>
            <p:cNvSpPr>
              <a:spLocks/>
            </p:cNvSpPr>
            <p:nvPr/>
          </p:nvSpPr>
          <p:spPr bwMode="auto">
            <a:xfrm>
              <a:off x="588327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 name="Freeform 2096"/>
            <p:cNvSpPr>
              <a:spLocks/>
            </p:cNvSpPr>
            <p:nvPr/>
          </p:nvSpPr>
          <p:spPr bwMode="auto">
            <a:xfrm>
              <a:off x="5508625" y="53054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 name="Freeform 2097"/>
            <p:cNvSpPr>
              <a:spLocks/>
            </p:cNvSpPr>
            <p:nvPr/>
          </p:nvSpPr>
          <p:spPr bwMode="auto">
            <a:xfrm>
              <a:off x="5438775" y="52133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 name="Freeform 2057"/>
            <p:cNvSpPr>
              <a:spLocks noEditPoints="1"/>
            </p:cNvSpPr>
            <p:nvPr/>
          </p:nvSpPr>
          <p:spPr bwMode="auto">
            <a:xfrm>
              <a:off x="6267450" y="52006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 name="Freeform 2058"/>
            <p:cNvSpPr>
              <a:spLocks/>
            </p:cNvSpPr>
            <p:nvPr/>
          </p:nvSpPr>
          <p:spPr bwMode="auto">
            <a:xfrm>
              <a:off x="6486525"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 name="Freeform 2061"/>
            <p:cNvSpPr>
              <a:spLocks/>
            </p:cNvSpPr>
            <p:nvPr/>
          </p:nvSpPr>
          <p:spPr bwMode="auto">
            <a:xfrm>
              <a:off x="6924675"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 name="Freeform 2063"/>
            <p:cNvSpPr>
              <a:spLocks/>
            </p:cNvSpPr>
            <p:nvPr/>
          </p:nvSpPr>
          <p:spPr bwMode="auto">
            <a:xfrm>
              <a:off x="745490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 name="Freeform 2065"/>
            <p:cNvSpPr>
              <a:spLocks/>
            </p:cNvSpPr>
            <p:nvPr/>
          </p:nvSpPr>
          <p:spPr bwMode="auto">
            <a:xfrm>
              <a:off x="7753350" y="52101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 name="Freeform 2069"/>
            <p:cNvSpPr>
              <a:spLocks/>
            </p:cNvSpPr>
            <p:nvPr/>
          </p:nvSpPr>
          <p:spPr bwMode="auto">
            <a:xfrm>
              <a:off x="8261350" y="52070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 name="Freeform 2070"/>
            <p:cNvSpPr>
              <a:spLocks/>
            </p:cNvSpPr>
            <p:nvPr/>
          </p:nvSpPr>
          <p:spPr bwMode="auto">
            <a:xfrm>
              <a:off x="8261350" y="52070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 name="Freeform 2071"/>
            <p:cNvSpPr>
              <a:spLocks/>
            </p:cNvSpPr>
            <p:nvPr/>
          </p:nvSpPr>
          <p:spPr bwMode="auto">
            <a:xfrm>
              <a:off x="835660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 name="Freeform 2072"/>
            <p:cNvSpPr>
              <a:spLocks/>
            </p:cNvSpPr>
            <p:nvPr/>
          </p:nvSpPr>
          <p:spPr bwMode="auto">
            <a:xfrm>
              <a:off x="8356600" y="52070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 name="Freeform 2076"/>
            <p:cNvSpPr>
              <a:spLocks/>
            </p:cNvSpPr>
            <p:nvPr/>
          </p:nvSpPr>
          <p:spPr bwMode="auto">
            <a:xfrm>
              <a:off x="916940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 name="Freeform 2077"/>
            <p:cNvSpPr>
              <a:spLocks/>
            </p:cNvSpPr>
            <p:nvPr/>
          </p:nvSpPr>
          <p:spPr bwMode="auto">
            <a:xfrm>
              <a:off x="9315450" y="52101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 name="Freeform 2080"/>
            <p:cNvSpPr>
              <a:spLocks noEditPoints="1"/>
            </p:cNvSpPr>
            <p:nvPr/>
          </p:nvSpPr>
          <p:spPr bwMode="auto">
            <a:xfrm>
              <a:off x="9829800" y="52006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 name="Freeform 2081"/>
            <p:cNvSpPr>
              <a:spLocks/>
            </p:cNvSpPr>
            <p:nvPr/>
          </p:nvSpPr>
          <p:spPr bwMode="auto">
            <a:xfrm>
              <a:off x="8934450" y="52070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 name="Freeform 2082"/>
            <p:cNvSpPr>
              <a:spLocks/>
            </p:cNvSpPr>
            <p:nvPr/>
          </p:nvSpPr>
          <p:spPr bwMode="auto">
            <a:xfrm>
              <a:off x="8934450" y="52070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 name="Freeform 2083"/>
            <p:cNvSpPr>
              <a:spLocks/>
            </p:cNvSpPr>
            <p:nvPr/>
          </p:nvSpPr>
          <p:spPr bwMode="auto">
            <a:xfrm>
              <a:off x="9029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 name="Freeform 2084"/>
            <p:cNvSpPr>
              <a:spLocks/>
            </p:cNvSpPr>
            <p:nvPr/>
          </p:nvSpPr>
          <p:spPr bwMode="auto">
            <a:xfrm>
              <a:off x="9029700"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 name="Freeform 2085"/>
            <p:cNvSpPr>
              <a:spLocks noEditPoints="1"/>
            </p:cNvSpPr>
            <p:nvPr/>
          </p:nvSpPr>
          <p:spPr bwMode="auto">
            <a:xfrm>
              <a:off x="10508045" y="51974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 name="Freeform 2089"/>
            <p:cNvSpPr>
              <a:spLocks/>
            </p:cNvSpPr>
            <p:nvPr/>
          </p:nvSpPr>
          <p:spPr bwMode="auto">
            <a:xfrm>
              <a:off x="11299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 name="Freeform 2090"/>
            <p:cNvSpPr>
              <a:spLocks/>
            </p:cNvSpPr>
            <p:nvPr/>
          </p:nvSpPr>
          <p:spPr bwMode="auto">
            <a:xfrm>
              <a:off x="11299825" y="52070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 name="Freeform 2091"/>
            <p:cNvSpPr>
              <a:spLocks/>
            </p:cNvSpPr>
            <p:nvPr/>
          </p:nvSpPr>
          <p:spPr bwMode="auto">
            <a:xfrm>
              <a:off x="11395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 name="Freeform 2092"/>
            <p:cNvSpPr>
              <a:spLocks/>
            </p:cNvSpPr>
            <p:nvPr/>
          </p:nvSpPr>
          <p:spPr bwMode="auto">
            <a:xfrm>
              <a:off x="11395075" y="52070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 name="Freeform 2093"/>
            <p:cNvSpPr>
              <a:spLocks noEditPoints="1"/>
            </p:cNvSpPr>
            <p:nvPr/>
          </p:nvSpPr>
          <p:spPr bwMode="auto">
            <a:xfrm>
              <a:off x="11769725" y="52006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 name="Freeform 2094"/>
            <p:cNvSpPr>
              <a:spLocks/>
            </p:cNvSpPr>
            <p:nvPr/>
          </p:nvSpPr>
          <p:spPr bwMode="auto">
            <a:xfrm>
              <a:off x="11979275"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 name="Freeform 2096"/>
            <p:cNvSpPr>
              <a:spLocks/>
            </p:cNvSpPr>
            <p:nvPr/>
          </p:nvSpPr>
          <p:spPr bwMode="auto">
            <a:xfrm>
              <a:off x="11604625" y="53054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 name="Freeform 2097"/>
            <p:cNvSpPr>
              <a:spLocks/>
            </p:cNvSpPr>
            <p:nvPr/>
          </p:nvSpPr>
          <p:spPr bwMode="auto">
            <a:xfrm>
              <a:off x="11534775" y="52133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 name="Freeform 2098"/>
            <p:cNvSpPr>
              <a:spLocks noEditPoints="1"/>
            </p:cNvSpPr>
            <p:nvPr/>
          </p:nvSpPr>
          <p:spPr bwMode="auto">
            <a:xfrm>
              <a:off x="7910895" y="52006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 name="Freeform 2099"/>
            <p:cNvSpPr>
              <a:spLocks/>
            </p:cNvSpPr>
            <p:nvPr/>
          </p:nvSpPr>
          <p:spPr bwMode="auto">
            <a:xfrm>
              <a:off x="8061325" y="53657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 name="Freeform 2100"/>
            <p:cNvSpPr>
              <a:spLocks/>
            </p:cNvSpPr>
            <p:nvPr/>
          </p:nvSpPr>
          <p:spPr bwMode="auto">
            <a:xfrm>
              <a:off x="7905750" y="53625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 name="Freeform 2101"/>
            <p:cNvSpPr>
              <a:spLocks/>
            </p:cNvSpPr>
            <p:nvPr/>
          </p:nvSpPr>
          <p:spPr bwMode="auto">
            <a:xfrm>
              <a:off x="7899400" y="52832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 name="Freeform 2102"/>
            <p:cNvSpPr>
              <a:spLocks/>
            </p:cNvSpPr>
            <p:nvPr/>
          </p:nvSpPr>
          <p:spPr bwMode="auto">
            <a:xfrm>
              <a:off x="7921625" y="52101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 name="Freeform 2103"/>
            <p:cNvSpPr>
              <a:spLocks/>
            </p:cNvSpPr>
            <p:nvPr/>
          </p:nvSpPr>
          <p:spPr bwMode="auto">
            <a:xfrm>
              <a:off x="7896225" y="52038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 name="Freeform 2104"/>
            <p:cNvSpPr>
              <a:spLocks/>
            </p:cNvSpPr>
            <p:nvPr/>
          </p:nvSpPr>
          <p:spPr bwMode="auto">
            <a:xfrm>
              <a:off x="7905750" y="53625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 name="Freeform 2105"/>
            <p:cNvSpPr>
              <a:spLocks/>
            </p:cNvSpPr>
            <p:nvPr/>
          </p:nvSpPr>
          <p:spPr bwMode="auto">
            <a:xfrm>
              <a:off x="7905750" y="53625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 name="Freeform 2106"/>
            <p:cNvSpPr>
              <a:spLocks/>
            </p:cNvSpPr>
            <p:nvPr/>
          </p:nvSpPr>
          <p:spPr bwMode="auto">
            <a:xfrm>
              <a:off x="7905750" y="53625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 name="Freeform 2107"/>
            <p:cNvSpPr>
              <a:spLocks/>
            </p:cNvSpPr>
            <p:nvPr/>
          </p:nvSpPr>
          <p:spPr bwMode="auto">
            <a:xfrm>
              <a:off x="7905750" y="53625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 name="Freeform 2108"/>
            <p:cNvSpPr>
              <a:spLocks/>
            </p:cNvSpPr>
            <p:nvPr/>
          </p:nvSpPr>
          <p:spPr bwMode="auto">
            <a:xfrm>
              <a:off x="8061325" y="53689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 name="Freeform 2109"/>
            <p:cNvSpPr>
              <a:spLocks/>
            </p:cNvSpPr>
            <p:nvPr/>
          </p:nvSpPr>
          <p:spPr bwMode="auto">
            <a:xfrm>
              <a:off x="8061325" y="53689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 name="Freeform 2110"/>
            <p:cNvSpPr>
              <a:spLocks/>
            </p:cNvSpPr>
            <p:nvPr/>
          </p:nvSpPr>
          <p:spPr bwMode="auto">
            <a:xfrm>
              <a:off x="8061325" y="53657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 name="Freeform 2111"/>
            <p:cNvSpPr>
              <a:spLocks/>
            </p:cNvSpPr>
            <p:nvPr/>
          </p:nvSpPr>
          <p:spPr bwMode="auto">
            <a:xfrm>
              <a:off x="8061325" y="53657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 name="Freeform 2112"/>
            <p:cNvSpPr>
              <a:spLocks/>
            </p:cNvSpPr>
            <p:nvPr/>
          </p:nvSpPr>
          <p:spPr bwMode="auto">
            <a:xfrm>
              <a:off x="7899400" y="52832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 name="Freeform 2113"/>
            <p:cNvSpPr>
              <a:spLocks/>
            </p:cNvSpPr>
            <p:nvPr/>
          </p:nvSpPr>
          <p:spPr bwMode="auto">
            <a:xfrm>
              <a:off x="7899400" y="52832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 name="Freeform 2114"/>
            <p:cNvSpPr>
              <a:spLocks noEditPoints="1"/>
            </p:cNvSpPr>
            <p:nvPr/>
          </p:nvSpPr>
          <p:spPr bwMode="auto">
            <a:xfrm>
              <a:off x="7899400" y="52832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 name="Freeform 2115"/>
            <p:cNvSpPr>
              <a:spLocks/>
            </p:cNvSpPr>
            <p:nvPr/>
          </p:nvSpPr>
          <p:spPr bwMode="auto">
            <a:xfrm>
              <a:off x="7915275" y="53054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 name="Freeform 2116"/>
            <p:cNvSpPr>
              <a:spLocks/>
            </p:cNvSpPr>
            <p:nvPr/>
          </p:nvSpPr>
          <p:spPr bwMode="auto">
            <a:xfrm>
              <a:off x="7899400" y="52832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 name="Freeform 2117"/>
            <p:cNvSpPr>
              <a:spLocks noEditPoints="1"/>
            </p:cNvSpPr>
            <p:nvPr/>
          </p:nvSpPr>
          <p:spPr bwMode="auto">
            <a:xfrm>
              <a:off x="8083550" y="52641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 name="Freeform 2118"/>
            <p:cNvSpPr>
              <a:spLocks/>
            </p:cNvSpPr>
            <p:nvPr/>
          </p:nvSpPr>
          <p:spPr bwMode="auto">
            <a:xfrm>
              <a:off x="8089900" y="52736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 name="Freeform 2119"/>
            <p:cNvSpPr>
              <a:spLocks/>
            </p:cNvSpPr>
            <p:nvPr/>
          </p:nvSpPr>
          <p:spPr bwMode="auto">
            <a:xfrm>
              <a:off x="8083550" y="52641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 name="Freeform 2120"/>
            <p:cNvSpPr>
              <a:spLocks/>
            </p:cNvSpPr>
            <p:nvPr/>
          </p:nvSpPr>
          <p:spPr bwMode="auto">
            <a:xfrm>
              <a:off x="8010525" y="52482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 name="Freeform 2121"/>
            <p:cNvSpPr>
              <a:spLocks/>
            </p:cNvSpPr>
            <p:nvPr/>
          </p:nvSpPr>
          <p:spPr bwMode="auto">
            <a:xfrm>
              <a:off x="8010525" y="52482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 name="Freeform 2122"/>
            <p:cNvSpPr>
              <a:spLocks/>
            </p:cNvSpPr>
            <p:nvPr/>
          </p:nvSpPr>
          <p:spPr bwMode="auto">
            <a:xfrm>
              <a:off x="8159750" y="52514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 name="Freeform 2123"/>
            <p:cNvSpPr>
              <a:spLocks/>
            </p:cNvSpPr>
            <p:nvPr/>
          </p:nvSpPr>
          <p:spPr bwMode="auto">
            <a:xfrm>
              <a:off x="8159750" y="52514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 name="Freeform 2124"/>
            <p:cNvSpPr>
              <a:spLocks/>
            </p:cNvSpPr>
            <p:nvPr/>
          </p:nvSpPr>
          <p:spPr bwMode="auto">
            <a:xfrm>
              <a:off x="8074025" y="52482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 name="Freeform 2125"/>
            <p:cNvSpPr>
              <a:spLocks/>
            </p:cNvSpPr>
            <p:nvPr/>
          </p:nvSpPr>
          <p:spPr bwMode="auto">
            <a:xfrm>
              <a:off x="8074025" y="52482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 name="Freeform 2126"/>
            <p:cNvSpPr>
              <a:spLocks/>
            </p:cNvSpPr>
            <p:nvPr/>
          </p:nvSpPr>
          <p:spPr bwMode="auto">
            <a:xfrm>
              <a:off x="8096250" y="53276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 name="Freeform 2127"/>
            <p:cNvSpPr>
              <a:spLocks/>
            </p:cNvSpPr>
            <p:nvPr/>
          </p:nvSpPr>
          <p:spPr bwMode="auto">
            <a:xfrm>
              <a:off x="8096250" y="53276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 name="Freeform 2128"/>
            <p:cNvSpPr>
              <a:spLocks/>
            </p:cNvSpPr>
            <p:nvPr/>
          </p:nvSpPr>
          <p:spPr bwMode="auto">
            <a:xfrm>
              <a:off x="8089900" y="52768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 name="Freeform 2129"/>
            <p:cNvSpPr>
              <a:spLocks/>
            </p:cNvSpPr>
            <p:nvPr/>
          </p:nvSpPr>
          <p:spPr bwMode="auto">
            <a:xfrm>
              <a:off x="8089900" y="52768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 name="Freeform 2130"/>
            <p:cNvSpPr>
              <a:spLocks/>
            </p:cNvSpPr>
            <p:nvPr/>
          </p:nvSpPr>
          <p:spPr bwMode="auto">
            <a:xfrm>
              <a:off x="8089900" y="52768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 name="Freeform 2131"/>
            <p:cNvSpPr>
              <a:spLocks/>
            </p:cNvSpPr>
            <p:nvPr/>
          </p:nvSpPr>
          <p:spPr bwMode="auto">
            <a:xfrm>
              <a:off x="8089900" y="52768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 name="Freeform 2132"/>
            <p:cNvSpPr>
              <a:spLocks/>
            </p:cNvSpPr>
            <p:nvPr/>
          </p:nvSpPr>
          <p:spPr bwMode="auto">
            <a:xfrm>
              <a:off x="10052050" y="52101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0" name="Freeform 2058"/>
            <p:cNvSpPr>
              <a:spLocks/>
            </p:cNvSpPr>
            <p:nvPr/>
          </p:nvSpPr>
          <p:spPr bwMode="auto">
            <a:xfrm>
              <a:off x="390525"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1" name="Freeform 2063"/>
            <p:cNvSpPr>
              <a:spLocks/>
            </p:cNvSpPr>
            <p:nvPr/>
          </p:nvSpPr>
          <p:spPr bwMode="auto">
            <a:xfrm>
              <a:off x="1358900"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2" name="Freeform 2064"/>
            <p:cNvSpPr>
              <a:spLocks/>
            </p:cNvSpPr>
            <p:nvPr/>
          </p:nvSpPr>
          <p:spPr bwMode="auto">
            <a:xfrm>
              <a:off x="1508125"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3" name="Freeform 2068"/>
            <p:cNvSpPr>
              <a:spLocks/>
            </p:cNvSpPr>
            <p:nvPr/>
          </p:nvSpPr>
          <p:spPr bwMode="auto">
            <a:xfrm>
              <a:off x="107315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4" name="Freeform 2073"/>
            <p:cNvSpPr>
              <a:spLocks/>
            </p:cNvSpPr>
            <p:nvPr/>
          </p:nvSpPr>
          <p:spPr bwMode="auto">
            <a:xfrm>
              <a:off x="24003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5" name="Freeform 2076"/>
            <p:cNvSpPr>
              <a:spLocks/>
            </p:cNvSpPr>
            <p:nvPr/>
          </p:nvSpPr>
          <p:spPr bwMode="auto">
            <a:xfrm>
              <a:off x="30734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6" name="Freeform 2077"/>
            <p:cNvSpPr>
              <a:spLocks/>
            </p:cNvSpPr>
            <p:nvPr/>
          </p:nvSpPr>
          <p:spPr bwMode="auto">
            <a:xfrm>
              <a:off x="3219450"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7" name="Freeform 2084"/>
            <p:cNvSpPr>
              <a:spLocks/>
            </p:cNvSpPr>
            <p:nvPr/>
          </p:nvSpPr>
          <p:spPr bwMode="auto">
            <a:xfrm>
              <a:off x="2933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8" name="Freeform 2085"/>
            <p:cNvSpPr>
              <a:spLocks noEditPoints="1"/>
            </p:cNvSpPr>
            <p:nvPr/>
          </p:nvSpPr>
          <p:spPr bwMode="auto">
            <a:xfrm>
              <a:off x="4412045" y="55403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09" name="Freeform 2087"/>
            <p:cNvSpPr>
              <a:spLocks/>
            </p:cNvSpPr>
            <p:nvPr/>
          </p:nvSpPr>
          <p:spPr bwMode="auto">
            <a:xfrm>
              <a:off x="461645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0" name="Freeform 2088"/>
            <p:cNvSpPr>
              <a:spLocks noEditPoints="1"/>
            </p:cNvSpPr>
            <p:nvPr/>
          </p:nvSpPr>
          <p:spPr bwMode="auto">
            <a:xfrm>
              <a:off x="4981575" y="55435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1" name="Freeform 2096"/>
            <p:cNvSpPr>
              <a:spLocks/>
            </p:cNvSpPr>
            <p:nvPr/>
          </p:nvSpPr>
          <p:spPr bwMode="auto">
            <a:xfrm>
              <a:off x="5508625" y="56483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2" name="Freeform 2097"/>
            <p:cNvSpPr>
              <a:spLocks/>
            </p:cNvSpPr>
            <p:nvPr/>
          </p:nvSpPr>
          <p:spPr bwMode="auto">
            <a:xfrm>
              <a:off x="5438775" y="55562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3" name="Freeform 2057"/>
            <p:cNvSpPr>
              <a:spLocks noEditPoints="1"/>
            </p:cNvSpPr>
            <p:nvPr/>
          </p:nvSpPr>
          <p:spPr bwMode="auto">
            <a:xfrm>
              <a:off x="6267450" y="55435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4" name="Freeform 2061"/>
            <p:cNvSpPr>
              <a:spLocks/>
            </p:cNvSpPr>
            <p:nvPr/>
          </p:nvSpPr>
          <p:spPr bwMode="auto">
            <a:xfrm>
              <a:off x="6924675" y="55530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5" name="Freeform 2065"/>
            <p:cNvSpPr>
              <a:spLocks/>
            </p:cNvSpPr>
            <p:nvPr/>
          </p:nvSpPr>
          <p:spPr bwMode="auto">
            <a:xfrm>
              <a:off x="7753350" y="555307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6" name="Freeform 2069"/>
            <p:cNvSpPr>
              <a:spLocks/>
            </p:cNvSpPr>
            <p:nvPr/>
          </p:nvSpPr>
          <p:spPr bwMode="auto">
            <a:xfrm>
              <a:off x="8261350" y="55499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7" name="Freeform 2070"/>
            <p:cNvSpPr>
              <a:spLocks/>
            </p:cNvSpPr>
            <p:nvPr/>
          </p:nvSpPr>
          <p:spPr bwMode="auto">
            <a:xfrm>
              <a:off x="8261350" y="55499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8" name="Freeform 2071"/>
            <p:cNvSpPr>
              <a:spLocks/>
            </p:cNvSpPr>
            <p:nvPr/>
          </p:nvSpPr>
          <p:spPr bwMode="auto">
            <a:xfrm>
              <a:off x="835660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19" name="Freeform 2072"/>
            <p:cNvSpPr>
              <a:spLocks/>
            </p:cNvSpPr>
            <p:nvPr/>
          </p:nvSpPr>
          <p:spPr bwMode="auto">
            <a:xfrm>
              <a:off x="8356600" y="55499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0" name="Freeform 2076"/>
            <p:cNvSpPr>
              <a:spLocks/>
            </p:cNvSpPr>
            <p:nvPr/>
          </p:nvSpPr>
          <p:spPr bwMode="auto">
            <a:xfrm>
              <a:off x="916940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1" name="Freeform 2080"/>
            <p:cNvSpPr>
              <a:spLocks noEditPoints="1"/>
            </p:cNvSpPr>
            <p:nvPr/>
          </p:nvSpPr>
          <p:spPr bwMode="auto">
            <a:xfrm>
              <a:off x="9829800" y="55435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2" name="Freeform 2081"/>
            <p:cNvSpPr>
              <a:spLocks/>
            </p:cNvSpPr>
            <p:nvPr/>
          </p:nvSpPr>
          <p:spPr bwMode="auto">
            <a:xfrm>
              <a:off x="8934450" y="55499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3" name="Freeform 2082"/>
            <p:cNvSpPr>
              <a:spLocks/>
            </p:cNvSpPr>
            <p:nvPr/>
          </p:nvSpPr>
          <p:spPr bwMode="auto">
            <a:xfrm>
              <a:off x="8934450" y="55499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4" name="Freeform 2083"/>
            <p:cNvSpPr>
              <a:spLocks/>
            </p:cNvSpPr>
            <p:nvPr/>
          </p:nvSpPr>
          <p:spPr bwMode="auto">
            <a:xfrm>
              <a:off x="9029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5" name="Freeform 2084"/>
            <p:cNvSpPr>
              <a:spLocks/>
            </p:cNvSpPr>
            <p:nvPr/>
          </p:nvSpPr>
          <p:spPr bwMode="auto">
            <a:xfrm>
              <a:off x="9029700"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6" name="Freeform 2085"/>
            <p:cNvSpPr>
              <a:spLocks noEditPoints="1"/>
            </p:cNvSpPr>
            <p:nvPr/>
          </p:nvSpPr>
          <p:spPr bwMode="auto">
            <a:xfrm>
              <a:off x="10508045" y="55403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7" name="Freeform 2089"/>
            <p:cNvSpPr>
              <a:spLocks/>
            </p:cNvSpPr>
            <p:nvPr/>
          </p:nvSpPr>
          <p:spPr bwMode="auto">
            <a:xfrm>
              <a:off x="11299825" y="55499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8" name="Freeform 2090"/>
            <p:cNvSpPr>
              <a:spLocks/>
            </p:cNvSpPr>
            <p:nvPr/>
          </p:nvSpPr>
          <p:spPr bwMode="auto">
            <a:xfrm>
              <a:off x="11299825" y="5549900"/>
              <a:ext cx="7620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29" name="Freeform 2091"/>
            <p:cNvSpPr>
              <a:spLocks/>
            </p:cNvSpPr>
            <p:nvPr/>
          </p:nvSpPr>
          <p:spPr bwMode="auto">
            <a:xfrm>
              <a:off x="11395075"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0" name="Freeform 2092"/>
            <p:cNvSpPr>
              <a:spLocks/>
            </p:cNvSpPr>
            <p:nvPr/>
          </p:nvSpPr>
          <p:spPr bwMode="auto">
            <a:xfrm>
              <a:off x="11395075" y="55499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1" name="Freeform 2093"/>
            <p:cNvSpPr>
              <a:spLocks noEditPoints="1"/>
            </p:cNvSpPr>
            <p:nvPr/>
          </p:nvSpPr>
          <p:spPr bwMode="auto">
            <a:xfrm>
              <a:off x="11769725" y="55435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2" name="Freeform 2094"/>
            <p:cNvSpPr>
              <a:spLocks/>
            </p:cNvSpPr>
            <p:nvPr/>
          </p:nvSpPr>
          <p:spPr bwMode="auto">
            <a:xfrm>
              <a:off x="11979275"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3" name="Freeform 2096"/>
            <p:cNvSpPr>
              <a:spLocks/>
            </p:cNvSpPr>
            <p:nvPr/>
          </p:nvSpPr>
          <p:spPr bwMode="auto">
            <a:xfrm>
              <a:off x="11604625" y="56483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4" name="Freeform 2097"/>
            <p:cNvSpPr>
              <a:spLocks/>
            </p:cNvSpPr>
            <p:nvPr/>
          </p:nvSpPr>
          <p:spPr bwMode="auto">
            <a:xfrm>
              <a:off x="11534775" y="55562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5" name="Freeform 2098"/>
            <p:cNvSpPr>
              <a:spLocks noEditPoints="1"/>
            </p:cNvSpPr>
            <p:nvPr/>
          </p:nvSpPr>
          <p:spPr bwMode="auto">
            <a:xfrm>
              <a:off x="7910895" y="55435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6" name="Freeform 2099"/>
            <p:cNvSpPr>
              <a:spLocks/>
            </p:cNvSpPr>
            <p:nvPr/>
          </p:nvSpPr>
          <p:spPr bwMode="auto">
            <a:xfrm>
              <a:off x="8061325" y="57086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7" name="Freeform 2100"/>
            <p:cNvSpPr>
              <a:spLocks/>
            </p:cNvSpPr>
            <p:nvPr/>
          </p:nvSpPr>
          <p:spPr bwMode="auto">
            <a:xfrm>
              <a:off x="7905750" y="57054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8" name="Freeform 2101"/>
            <p:cNvSpPr>
              <a:spLocks/>
            </p:cNvSpPr>
            <p:nvPr/>
          </p:nvSpPr>
          <p:spPr bwMode="auto">
            <a:xfrm>
              <a:off x="7899400" y="56261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39" name="Freeform 2102"/>
            <p:cNvSpPr>
              <a:spLocks/>
            </p:cNvSpPr>
            <p:nvPr/>
          </p:nvSpPr>
          <p:spPr bwMode="auto">
            <a:xfrm>
              <a:off x="7921625" y="55530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0" name="Freeform 2103"/>
            <p:cNvSpPr>
              <a:spLocks/>
            </p:cNvSpPr>
            <p:nvPr/>
          </p:nvSpPr>
          <p:spPr bwMode="auto">
            <a:xfrm>
              <a:off x="7896225" y="55467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1" name="Freeform 2104"/>
            <p:cNvSpPr>
              <a:spLocks/>
            </p:cNvSpPr>
            <p:nvPr/>
          </p:nvSpPr>
          <p:spPr bwMode="auto">
            <a:xfrm>
              <a:off x="7905750" y="57054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2" name="Freeform 2105"/>
            <p:cNvSpPr>
              <a:spLocks/>
            </p:cNvSpPr>
            <p:nvPr/>
          </p:nvSpPr>
          <p:spPr bwMode="auto">
            <a:xfrm>
              <a:off x="7905750" y="57054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3" name="Freeform 2106"/>
            <p:cNvSpPr>
              <a:spLocks/>
            </p:cNvSpPr>
            <p:nvPr/>
          </p:nvSpPr>
          <p:spPr bwMode="auto">
            <a:xfrm>
              <a:off x="7905750" y="57054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4" name="Freeform 2107"/>
            <p:cNvSpPr>
              <a:spLocks/>
            </p:cNvSpPr>
            <p:nvPr/>
          </p:nvSpPr>
          <p:spPr bwMode="auto">
            <a:xfrm>
              <a:off x="7905750" y="57054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5" name="Freeform 2108"/>
            <p:cNvSpPr>
              <a:spLocks/>
            </p:cNvSpPr>
            <p:nvPr/>
          </p:nvSpPr>
          <p:spPr bwMode="auto">
            <a:xfrm>
              <a:off x="8061325" y="57118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6" name="Freeform 2109"/>
            <p:cNvSpPr>
              <a:spLocks/>
            </p:cNvSpPr>
            <p:nvPr/>
          </p:nvSpPr>
          <p:spPr bwMode="auto">
            <a:xfrm>
              <a:off x="8061325" y="57118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7" name="Freeform 2110"/>
            <p:cNvSpPr>
              <a:spLocks/>
            </p:cNvSpPr>
            <p:nvPr/>
          </p:nvSpPr>
          <p:spPr bwMode="auto">
            <a:xfrm>
              <a:off x="8061325" y="57086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8" name="Freeform 2111"/>
            <p:cNvSpPr>
              <a:spLocks/>
            </p:cNvSpPr>
            <p:nvPr/>
          </p:nvSpPr>
          <p:spPr bwMode="auto">
            <a:xfrm>
              <a:off x="8061325" y="57086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49" name="Freeform 2112"/>
            <p:cNvSpPr>
              <a:spLocks/>
            </p:cNvSpPr>
            <p:nvPr/>
          </p:nvSpPr>
          <p:spPr bwMode="auto">
            <a:xfrm>
              <a:off x="7899400" y="56261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0" name="Freeform 2113"/>
            <p:cNvSpPr>
              <a:spLocks/>
            </p:cNvSpPr>
            <p:nvPr/>
          </p:nvSpPr>
          <p:spPr bwMode="auto">
            <a:xfrm>
              <a:off x="7899400" y="56261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1" name="Freeform 2114"/>
            <p:cNvSpPr>
              <a:spLocks noEditPoints="1"/>
            </p:cNvSpPr>
            <p:nvPr/>
          </p:nvSpPr>
          <p:spPr bwMode="auto">
            <a:xfrm>
              <a:off x="7899400" y="56261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2" name="Freeform 2115"/>
            <p:cNvSpPr>
              <a:spLocks/>
            </p:cNvSpPr>
            <p:nvPr/>
          </p:nvSpPr>
          <p:spPr bwMode="auto">
            <a:xfrm>
              <a:off x="7915275" y="56483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3" name="Freeform 2116"/>
            <p:cNvSpPr>
              <a:spLocks/>
            </p:cNvSpPr>
            <p:nvPr/>
          </p:nvSpPr>
          <p:spPr bwMode="auto">
            <a:xfrm>
              <a:off x="7899400" y="56261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4" name="Freeform 2117"/>
            <p:cNvSpPr>
              <a:spLocks noEditPoints="1"/>
            </p:cNvSpPr>
            <p:nvPr/>
          </p:nvSpPr>
          <p:spPr bwMode="auto">
            <a:xfrm>
              <a:off x="8083550" y="56070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5" name="Freeform 2118"/>
            <p:cNvSpPr>
              <a:spLocks/>
            </p:cNvSpPr>
            <p:nvPr/>
          </p:nvSpPr>
          <p:spPr bwMode="auto">
            <a:xfrm>
              <a:off x="8089900" y="56165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6" name="Freeform 2119"/>
            <p:cNvSpPr>
              <a:spLocks/>
            </p:cNvSpPr>
            <p:nvPr/>
          </p:nvSpPr>
          <p:spPr bwMode="auto">
            <a:xfrm>
              <a:off x="8083550" y="56070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7" name="Freeform 2120"/>
            <p:cNvSpPr>
              <a:spLocks/>
            </p:cNvSpPr>
            <p:nvPr/>
          </p:nvSpPr>
          <p:spPr bwMode="auto">
            <a:xfrm>
              <a:off x="8010525" y="55911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8" name="Freeform 2121"/>
            <p:cNvSpPr>
              <a:spLocks/>
            </p:cNvSpPr>
            <p:nvPr/>
          </p:nvSpPr>
          <p:spPr bwMode="auto">
            <a:xfrm>
              <a:off x="8010525" y="55911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59" name="Freeform 2122"/>
            <p:cNvSpPr>
              <a:spLocks/>
            </p:cNvSpPr>
            <p:nvPr/>
          </p:nvSpPr>
          <p:spPr bwMode="auto">
            <a:xfrm>
              <a:off x="8159750" y="55943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0" name="Freeform 2123"/>
            <p:cNvSpPr>
              <a:spLocks/>
            </p:cNvSpPr>
            <p:nvPr/>
          </p:nvSpPr>
          <p:spPr bwMode="auto">
            <a:xfrm>
              <a:off x="8159750" y="55943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1" name="Freeform 2124"/>
            <p:cNvSpPr>
              <a:spLocks/>
            </p:cNvSpPr>
            <p:nvPr/>
          </p:nvSpPr>
          <p:spPr bwMode="auto">
            <a:xfrm>
              <a:off x="8074025" y="55911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2" name="Freeform 2125"/>
            <p:cNvSpPr>
              <a:spLocks/>
            </p:cNvSpPr>
            <p:nvPr/>
          </p:nvSpPr>
          <p:spPr bwMode="auto">
            <a:xfrm>
              <a:off x="8074025" y="55911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3" name="Freeform 2126"/>
            <p:cNvSpPr>
              <a:spLocks/>
            </p:cNvSpPr>
            <p:nvPr/>
          </p:nvSpPr>
          <p:spPr bwMode="auto">
            <a:xfrm>
              <a:off x="8096250" y="56705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4" name="Freeform 2127"/>
            <p:cNvSpPr>
              <a:spLocks/>
            </p:cNvSpPr>
            <p:nvPr/>
          </p:nvSpPr>
          <p:spPr bwMode="auto">
            <a:xfrm>
              <a:off x="8096250" y="56705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5" name="Freeform 2128"/>
            <p:cNvSpPr>
              <a:spLocks/>
            </p:cNvSpPr>
            <p:nvPr/>
          </p:nvSpPr>
          <p:spPr bwMode="auto">
            <a:xfrm>
              <a:off x="8089900" y="56197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6" name="Freeform 2129"/>
            <p:cNvSpPr>
              <a:spLocks/>
            </p:cNvSpPr>
            <p:nvPr/>
          </p:nvSpPr>
          <p:spPr bwMode="auto">
            <a:xfrm>
              <a:off x="8089900" y="56197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7" name="Freeform 2130"/>
            <p:cNvSpPr>
              <a:spLocks/>
            </p:cNvSpPr>
            <p:nvPr/>
          </p:nvSpPr>
          <p:spPr bwMode="auto">
            <a:xfrm>
              <a:off x="8089900" y="56197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8" name="Freeform 2131"/>
            <p:cNvSpPr>
              <a:spLocks/>
            </p:cNvSpPr>
            <p:nvPr/>
          </p:nvSpPr>
          <p:spPr bwMode="auto">
            <a:xfrm>
              <a:off x="8089900" y="56197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69" name="Freeform 2132"/>
            <p:cNvSpPr>
              <a:spLocks/>
            </p:cNvSpPr>
            <p:nvPr/>
          </p:nvSpPr>
          <p:spPr bwMode="auto">
            <a:xfrm>
              <a:off x="10052050" y="55530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0" name="Freeform 2058"/>
            <p:cNvSpPr>
              <a:spLocks/>
            </p:cNvSpPr>
            <p:nvPr/>
          </p:nvSpPr>
          <p:spPr bwMode="auto">
            <a:xfrm>
              <a:off x="390525"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1" name="Freeform 2064"/>
            <p:cNvSpPr>
              <a:spLocks/>
            </p:cNvSpPr>
            <p:nvPr/>
          </p:nvSpPr>
          <p:spPr bwMode="auto">
            <a:xfrm>
              <a:off x="1508125"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2" name="Freeform 2068"/>
            <p:cNvSpPr>
              <a:spLocks/>
            </p:cNvSpPr>
            <p:nvPr/>
          </p:nvSpPr>
          <p:spPr bwMode="auto">
            <a:xfrm>
              <a:off x="107315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3" name="Freeform 2073"/>
            <p:cNvSpPr>
              <a:spLocks/>
            </p:cNvSpPr>
            <p:nvPr/>
          </p:nvSpPr>
          <p:spPr bwMode="auto">
            <a:xfrm>
              <a:off x="24003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4" name="Freeform 2076"/>
            <p:cNvSpPr>
              <a:spLocks/>
            </p:cNvSpPr>
            <p:nvPr/>
          </p:nvSpPr>
          <p:spPr bwMode="auto">
            <a:xfrm>
              <a:off x="30734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5" name="Freeform 2077"/>
            <p:cNvSpPr>
              <a:spLocks/>
            </p:cNvSpPr>
            <p:nvPr/>
          </p:nvSpPr>
          <p:spPr bwMode="auto">
            <a:xfrm>
              <a:off x="3219450"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6" name="Freeform 2084"/>
            <p:cNvSpPr>
              <a:spLocks/>
            </p:cNvSpPr>
            <p:nvPr/>
          </p:nvSpPr>
          <p:spPr bwMode="auto">
            <a:xfrm>
              <a:off x="2933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7" name="Freeform 2085"/>
            <p:cNvSpPr>
              <a:spLocks noEditPoints="1"/>
            </p:cNvSpPr>
            <p:nvPr/>
          </p:nvSpPr>
          <p:spPr bwMode="auto">
            <a:xfrm>
              <a:off x="4412045" y="5895975"/>
              <a:ext cx="15557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8" name="Freeform 2087"/>
            <p:cNvSpPr>
              <a:spLocks/>
            </p:cNvSpPr>
            <p:nvPr/>
          </p:nvSpPr>
          <p:spPr bwMode="auto">
            <a:xfrm>
              <a:off x="461645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79" name="Freeform 2088"/>
            <p:cNvSpPr>
              <a:spLocks noEditPoints="1"/>
            </p:cNvSpPr>
            <p:nvPr/>
          </p:nvSpPr>
          <p:spPr bwMode="auto">
            <a:xfrm>
              <a:off x="4981575" y="5899150"/>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0" name="Freeform 2096"/>
            <p:cNvSpPr>
              <a:spLocks/>
            </p:cNvSpPr>
            <p:nvPr/>
          </p:nvSpPr>
          <p:spPr bwMode="auto">
            <a:xfrm>
              <a:off x="5508625" y="60039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1" name="Freeform 2097"/>
            <p:cNvSpPr>
              <a:spLocks/>
            </p:cNvSpPr>
            <p:nvPr/>
          </p:nvSpPr>
          <p:spPr bwMode="auto">
            <a:xfrm>
              <a:off x="5438775" y="59118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2" name="Freeform 2057"/>
            <p:cNvSpPr>
              <a:spLocks noEditPoints="1"/>
            </p:cNvSpPr>
            <p:nvPr/>
          </p:nvSpPr>
          <p:spPr bwMode="auto">
            <a:xfrm>
              <a:off x="6267450" y="58991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3" name="Freeform 2061"/>
            <p:cNvSpPr>
              <a:spLocks/>
            </p:cNvSpPr>
            <p:nvPr/>
          </p:nvSpPr>
          <p:spPr bwMode="auto">
            <a:xfrm>
              <a:off x="6924675" y="59086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4" name="Freeform 2069"/>
            <p:cNvSpPr>
              <a:spLocks/>
            </p:cNvSpPr>
            <p:nvPr/>
          </p:nvSpPr>
          <p:spPr bwMode="auto">
            <a:xfrm>
              <a:off x="8261350" y="59055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5" name="Freeform 2070"/>
            <p:cNvSpPr>
              <a:spLocks/>
            </p:cNvSpPr>
            <p:nvPr/>
          </p:nvSpPr>
          <p:spPr bwMode="auto">
            <a:xfrm>
              <a:off x="8261350" y="590550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6" name="Freeform 2071"/>
            <p:cNvSpPr>
              <a:spLocks/>
            </p:cNvSpPr>
            <p:nvPr/>
          </p:nvSpPr>
          <p:spPr bwMode="auto">
            <a:xfrm>
              <a:off x="835660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7" name="Freeform 2072"/>
            <p:cNvSpPr>
              <a:spLocks/>
            </p:cNvSpPr>
            <p:nvPr/>
          </p:nvSpPr>
          <p:spPr bwMode="auto">
            <a:xfrm>
              <a:off x="8356600" y="5905500"/>
              <a:ext cx="7620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8" name="Freeform 2076"/>
            <p:cNvSpPr>
              <a:spLocks/>
            </p:cNvSpPr>
            <p:nvPr/>
          </p:nvSpPr>
          <p:spPr bwMode="auto">
            <a:xfrm>
              <a:off x="916940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89" name="Freeform 2081"/>
            <p:cNvSpPr>
              <a:spLocks/>
            </p:cNvSpPr>
            <p:nvPr/>
          </p:nvSpPr>
          <p:spPr bwMode="auto">
            <a:xfrm>
              <a:off x="8934450" y="59055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0" name="Freeform 2082"/>
            <p:cNvSpPr>
              <a:spLocks/>
            </p:cNvSpPr>
            <p:nvPr/>
          </p:nvSpPr>
          <p:spPr bwMode="auto">
            <a:xfrm>
              <a:off x="8934450" y="5905500"/>
              <a:ext cx="7620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1" name="Freeform 2083"/>
            <p:cNvSpPr>
              <a:spLocks/>
            </p:cNvSpPr>
            <p:nvPr/>
          </p:nvSpPr>
          <p:spPr bwMode="auto">
            <a:xfrm>
              <a:off x="9029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2" name="Freeform 2084"/>
            <p:cNvSpPr>
              <a:spLocks/>
            </p:cNvSpPr>
            <p:nvPr/>
          </p:nvSpPr>
          <p:spPr bwMode="auto">
            <a:xfrm>
              <a:off x="9029700" y="5905500"/>
              <a:ext cx="7620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3" name="Freeform 2093"/>
            <p:cNvSpPr>
              <a:spLocks noEditPoints="1"/>
            </p:cNvSpPr>
            <p:nvPr/>
          </p:nvSpPr>
          <p:spPr bwMode="auto">
            <a:xfrm>
              <a:off x="11769725" y="5899150"/>
              <a:ext cx="158750"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4" name="Freeform 2094"/>
            <p:cNvSpPr>
              <a:spLocks/>
            </p:cNvSpPr>
            <p:nvPr/>
          </p:nvSpPr>
          <p:spPr bwMode="auto">
            <a:xfrm>
              <a:off x="11979275"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5" name="Freeform 2096"/>
            <p:cNvSpPr>
              <a:spLocks/>
            </p:cNvSpPr>
            <p:nvPr/>
          </p:nvSpPr>
          <p:spPr bwMode="auto">
            <a:xfrm>
              <a:off x="11604625" y="600392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6" name="Freeform 2097"/>
            <p:cNvSpPr>
              <a:spLocks/>
            </p:cNvSpPr>
            <p:nvPr/>
          </p:nvSpPr>
          <p:spPr bwMode="auto">
            <a:xfrm>
              <a:off x="11534775" y="591185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7" name="Freeform 2098"/>
            <p:cNvSpPr>
              <a:spLocks noEditPoints="1"/>
            </p:cNvSpPr>
            <p:nvPr/>
          </p:nvSpPr>
          <p:spPr bwMode="auto">
            <a:xfrm>
              <a:off x="7910895" y="5899150"/>
              <a:ext cx="298450"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8" name="Freeform 2099"/>
            <p:cNvSpPr>
              <a:spLocks/>
            </p:cNvSpPr>
            <p:nvPr/>
          </p:nvSpPr>
          <p:spPr bwMode="auto">
            <a:xfrm>
              <a:off x="8061325" y="6064250"/>
              <a:ext cx="28575"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399" name="Freeform 2100"/>
            <p:cNvSpPr>
              <a:spLocks/>
            </p:cNvSpPr>
            <p:nvPr/>
          </p:nvSpPr>
          <p:spPr bwMode="auto">
            <a:xfrm>
              <a:off x="7905750" y="6061075"/>
              <a:ext cx="28575"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0" name="Freeform 2101"/>
            <p:cNvSpPr>
              <a:spLocks/>
            </p:cNvSpPr>
            <p:nvPr/>
          </p:nvSpPr>
          <p:spPr bwMode="auto">
            <a:xfrm>
              <a:off x="7899400" y="598170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1" name="Freeform 2102"/>
            <p:cNvSpPr>
              <a:spLocks/>
            </p:cNvSpPr>
            <p:nvPr/>
          </p:nvSpPr>
          <p:spPr bwMode="auto">
            <a:xfrm>
              <a:off x="7921625" y="5908675"/>
              <a:ext cx="269875"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2" name="Freeform 2103"/>
            <p:cNvSpPr>
              <a:spLocks/>
            </p:cNvSpPr>
            <p:nvPr/>
          </p:nvSpPr>
          <p:spPr bwMode="auto">
            <a:xfrm>
              <a:off x="7896225" y="5902325"/>
              <a:ext cx="29845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3" name="Freeform 2104"/>
            <p:cNvSpPr>
              <a:spLocks/>
            </p:cNvSpPr>
            <p:nvPr/>
          </p:nvSpPr>
          <p:spPr bwMode="auto">
            <a:xfrm>
              <a:off x="7905750" y="60610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4" name="Freeform 2105"/>
            <p:cNvSpPr>
              <a:spLocks/>
            </p:cNvSpPr>
            <p:nvPr/>
          </p:nvSpPr>
          <p:spPr bwMode="auto">
            <a:xfrm>
              <a:off x="7905750" y="6061075"/>
              <a:ext cx="28575"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5" name="Freeform 2106"/>
            <p:cNvSpPr>
              <a:spLocks/>
            </p:cNvSpPr>
            <p:nvPr/>
          </p:nvSpPr>
          <p:spPr bwMode="auto">
            <a:xfrm>
              <a:off x="7905750" y="60610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6" name="Freeform 2107"/>
            <p:cNvSpPr>
              <a:spLocks/>
            </p:cNvSpPr>
            <p:nvPr/>
          </p:nvSpPr>
          <p:spPr bwMode="auto">
            <a:xfrm>
              <a:off x="7905750" y="606107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7" name="Freeform 2108"/>
            <p:cNvSpPr>
              <a:spLocks/>
            </p:cNvSpPr>
            <p:nvPr/>
          </p:nvSpPr>
          <p:spPr bwMode="auto">
            <a:xfrm>
              <a:off x="8061325" y="60674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8" name="Freeform 2109"/>
            <p:cNvSpPr>
              <a:spLocks/>
            </p:cNvSpPr>
            <p:nvPr/>
          </p:nvSpPr>
          <p:spPr bwMode="auto">
            <a:xfrm>
              <a:off x="8061325" y="606742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09" name="Freeform 2110"/>
            <p:cNvSpPr>
              <a:spLocks/>
            </p:cNvSpPr>
            <p:nvPr/>
          </p:nvSpPr>
          <p:spPr bwMode="auto">
            <a:xfrm>
              <a:off x="8061325" y="60642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0" name="Freeform 2111"/>
            <p:cNvSpPr>
              <a:spLocks/>
            </p:cNvSpPr>
            <p:nvPr/>
          </p:nvSpPr>
          <p:spPr bwMode="auto">
            <a:xfrm>
              <a:off x="8061325" y="6064250"/>
              <a:ext cx="28575"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1" name="Freeform 2112"/>
            <p:cNvSpPr>
              <a:spLocks/>
            </p:cNvSpPr>
            <p:nvPr/>
          </p:nvSpPr>
          <p:spPr bwMode="auto">
            <a:xfrm>
              <a:off x="7899400" y="59817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2" name="Freeform 2113"/>
            <p:cNvSpPr>
              <a:spLocks/>
            </p:cNvSpPr>
            <p:nvPr/>
          </p:nvSpPr>
          <p:spPr bwMode="auto">
            <a:xfrm>
              <a:off x="7899400" y="598170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3" name="Freeform 2114"/>
            <p:cNvSpPr>
              <a:spLocks noEditPoints="1"/>
            </p:cNvSpPr>
            <p:nvPr/>
          </p:nvSpPr>
          <p:spPr bwMode="auto">
            <a:xfrm>
              <a:off x="7899400" y="598170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4" name="Freeform 2115"/>
            <p:cNvSpPr>
              <a:spLocks/>
            </p:cNvSpPr>
            <p:nvPr/>
          </p:nvSpPr>
          <p:spPr bwMode="auto">
            <a:xfrm>
              <a:off x="7915275" y="600392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5" name="Freeform 2116"/>
            <p:cNvSpPr>
              <a:spLocks/>
            </p:cNvSpPr>
            <p:nvPr/>
          </p:nvSpPr>
          <p:spPr bwMode="auto">
            <a:xfrm>
              <a:off x="7899400" y="598170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6" name="Freeform 2117"/>
            <p:cNvSpPr>
              <a:spLocks noEditPoints="1"/>
            </p:cNvSpPr>
            <p:nvPr/>
          </p:nvSpPr>
          <p:spPr bwMode="auto">
            <a:xfrm>
              <a:off x="8083550" y="5962650"/>
              <a:ext cx="28575"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7" name="Freeform 2118"/>
            <p:cNvSpPr>
              <a:spLocks/>
            </p:cNvSpPr>
            <p:nvPr/>
          </p:nvSpPr>
          <p:spPr bwMode="auto">
            <a:xfrm>
              <a:off x="8089900" y="597217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8" name="Freeform 2119"/>
            <p:cNvSpPr>
              <a:spLocks/>
            </p:cNvSpPr>
            <p:nvPr/>
          </p:nvSpPr>
          <p:spPr bwMode="auto">
            <a:xfrm>
              <a:off x="8083550" y="5962650"/>
              <a:ext cx="28575"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19" name="Freeform 2120"/>
            <p:cNvSpPr>
              <a:spLocks/>
            </p:cNvSpPr>
            <p:nvPr/>
          </p:nvSpPr>
          <p:spPr bwMode="auto">
            <a:xfrm>
              <a:off x="8010525" y="59467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0" name="Freeform 2121"/>
            <p:cNvSpPr>
              <a:spLocks/>
            </p:cNvSpPr>
            <p:nvPr/>
          </p:nvSpPr>
          <p:spPr bwMode="auto">
            <a:xfrm>
              <a:off x="8010525" y="594677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1" name="Freeform 2122"/>
            <p:cNvSpPr>
              <a:spLocks/>
            </p:cNvSpPr>
            <p:nvPr/>
          </p:nvSpPr>
          <p:spPr bwMode="auto">
            <a:xfrm>
              <a:off x="8159750" y="59499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2" name="Freeform 2123"/>
            <p:cNvSpPr>
              <a:spLocks/>
            </p:cNvSpPr>
            <p:nvPr/>
          </p:nvSpPr>
          <p:spPr bwMode="auto">
            <a:xfrm>
              <a:off x="8159750" y="594995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3" name="Freeform 2124"/>
            <p:cNvSpPr>
              <a:spLocks/>
            </p:cNvSpPr>
            <p:nvPr/>
          </p:nvSpPr>
          <p:spPr bwMode="auto">
            <a:xfrm>
              <a:off x="8074025" y="59467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4" name="Freeform 2125"/>
            <p:cNvSpPr>
              <a:spLocks/>
            </p:cNvSpPr>
            <p:nvPr/>
          </p:nvSpPr>
          <p:spPr bwMode="auto">
            <a:xfrm>
              <a:off x="8074025" y="594677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5" name="Freeform 2126"/>
            <p:cNvSpPr>
              <a:spLocks/>
            </p:cNvSpPr>
            <p:nvPr/>
          </p:nvSpPr>
          <p:spPr bwMode="auto">
            <a:xfrm>
              <a:off x="8096250" y="60261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6" name="Freeform 2127"/>
            <p:cNvSpPr>
              <a:spLocks/>
            </p:cNvSpPr>
            <p:nvPr/>
          </p:nvSpPr>
          <p:spPr bwMode="auto">
            <a:xfrm>
              <a:off x="8096250" y="602615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7" name="Freeform 2128"/>
            <p:cNvSpPr>
              <a:spLocks/>
            </p:cNvSpPr>
            <p:nvPr/>
          </p:nvSpPr>
          <p:spPr bwMode="auto">
            <a:xfrm>
              <a:off x="8089900" y="59753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8" name="Freeform 2129"/>
            <p:cNvSpPr>
              <a:spLocks/>
            </p:cNvSpPr>
            <p:nvPr/>
          </p:nvSpPr>
          <p:spPr bwMode="auto">
            <a:xfrm>
              <a:off x="8089900" y="597535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29" name="Freeform 2130"/>
            <p:cNvSpPr>
              <a:spLocks/>
            </p:cNvSpPr>
            <p:nvPr/>
          </p:nvSpPr>
          <p:spPr bwMode="auto">
            <a:xfrm>
              <a:off x="8089900" y="59753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0" name="Freeform 2131"/>
            <p:cNvSpPr>
              <a:spLocks/>
            </p:cNvSpPr>
            <p:nvPr/>
          </p:nvSpPr>
          <p:spPr bwMode="auto">
            <a:xfrm>
              <a:off x="8089900" y="597535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1" name="Freeform 2132"/>
            <p:cNvSpPr>
              <a:spLocks/>
            </p:cNvSpPr>
            <p:nvPr/>
          </p:nvSpPr>
          <p:spPr bwMode="auto">
            <a:xfrm>
              <a:off x="10052050" y="590867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2" name="Freeform 2079"/>
            <p:cNvSpPr>
              <a:spLocks noEditPoints="1"/>
            </p:cNvSpPr>
            <p:nvPr/>
          </p:nvSpPr>
          <p:spPr bwMode="auto">
            <a:xfrm>
              <a:off x="41097" y="4540250"/>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3" name="Freeform 2079"/>
            <p:cNvSpPr>
              <a:spLocks noEditPoints="1"/>
            </p:cNvSpPr>
            <p:nvPr/>
          </p:nvSpPr>
          <p:spPr bwMode="auto">
            <a:xfrm>
              <a:off x="368300" y="5225415"/>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4" name="Freeform 2079"/>
            <p:cNvSpPr>
              <a:spLocks noEditPoints="1"/>
            </p:cNvSpPr>
            <p:nvPr/>
          </p:nvSpPr>
          <p:spPr bwMode="auto">
            <a:xfrm>
              <a:off x="676275" y="4562475"/>
              <a:ext cx="15557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5" name="Freeform 2080"/>
            <p:cNvSpPr>
              <a:spLocks noEditPoints="1"/>
            </p:cNvSpPr>
            <p:nvPr/>
          </p:nvSpPr>
          <p:spPr bwMode="auto">
            <a:xfrm>
              <a:off x="857250" y="4562475"/>
              <a:ext cx="158750"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6" name="Freeform 2058"/>
            <p:cNvSpPr>
              <a:spLocks/>
            </p:cNvSpPr>
            <p:nvPr/>
          </p:nvSpPr>
          <p:spPr bwMode="auto">
            <a:xfrm>
              <a:off x="390525" y="4562475"/>
              <a:ext cx="85725"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437" name="Freeform 2059"/>
            <p:cNvSpPr>
              <a:spLocks/>
            </p:cNvSpPr>
            <p:nvPr/>
          </p:nvSpPr>
          <p:spPr bwMode="auto">
            <a:xfrm>
              <a:off x="539750" y="456247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1" name="Group 860"/>
          <p:cNvGrpSpPr/>
          <p:nvPr userDrawn="1"/>
        </p:nvGrpSpPr>
        <p:grpSpPr>
          <a:xfrm>
            <a:off x="0" y="51811"/>
            <a:ext cx="12368446" cy="3419546"/>
            <a:chOff x="1" y="0"/>
            <a:chExt cx="12058606" cy="3352800"/>
          </a:xfrm>
        </p:grpSpPr>
        <p:sp>
          <p:nvSpPr>
            <p:cNvPr id="862" name="AutoShape 3"/>
            <p:cNvSpPr>
              <a:spLocks noChangeAspect="1" noChangeArrowheads="1" noTextEdit="1"/>
            </p:cNvSpPr>
            <p:nvPr/>
          </p:nvSpPr>
          <p:spPr bwMode="auto">
            <a:xfrm>
              <a:off x="1" y="0"/>
              <a:ext cx="12058606"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nvGrpSpPr>
            <p:cNvPr id="863" name="Group 205"/>
            <p:cNvGrpSpPr>
              <a:grpSpLocks/>
            </p:cNvGrpSpPr>
            <p:nvPr/>
          </p:nvGrpSpPr>
          <p:grpSpPr bwMode="auto">
            <a:xfrm>
              <a:off x="203200" y="2479675"/>
              <a:ext cx="5810228" cy="873125"/>
              <a:chOff x="128" y="1762"/>
              <a:chExt cx="3660" cy="550"/>
            </a:xfrm>
          </p:grpSpPr>
          <p:sp>
            <p:nvSpPr>
              <p:cNvPr id="2794" name="Freeform 5"/>
              <p:cNvSpPr>
                <a:spLocks noEditPoints="1"/>
              </p:cNvSpPr>
              <p:nvPr/>
            </p:nvSpPr>
            <p:spPr bwMode="auto">
              <a:xfrm>
                <a:off x="128" y="21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5" name="Freeform 6"/>
              <p:cNvSpPr>
                <a:spLocks/>
              </p:cNvSpPr>
              <p:nvPr/>
            </p:nvSpPr>
            <p:spPr bwMode="auto">
              <a:xfrm>
                <a:off x="26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6" name="Freeform 7"/>
              <p:cNvSpPr>
                <a:spLocks/>
              </p:cNvSpPr>
              <p:nvPr/>
            </p:nvSpPr>
            <p:spPr bwMode="auto">
              <a:xfrm>
                <a:off x="36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7" name="Freeform 8"/>
              <p:cNvSpPr>
                <a:spLocks/>
              </p:cNvSpPr>
              <p:nvPr/>
            </p:nvSpPr>
            <p:spPr bwMode="auto">
              <a:xfrm>
                <a:off x="452"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8" name="Freeform 9"/>
              <p:cNvSpPr>
                <a:spLocks/>
              </p:cNvSpPr>
              <p:nvPr/>
            </p:nvSpPr>
            <p:spPr bwMode="auto">
              <a:xfrm>
                <a:off x="54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9" name="Freeform 10"/>
              <p:cNvSpPr>
                <a:spLocks/>
              </p:cNvSpPr>
              <p:nvPr/>
            </p:nvSpPr>
            <p:spPr bwMode="auto">
              <a:xfrm>
                <a:off x="78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0" name="Freeform 11"/>
              <p:cNvSpPr>
                <a:spLocks/>
              </p:cNvSpPr>
              <p:nvPr/>
            </p:nvSpPr>
            <p:spPr bwMode="auto">
              <a:xfrm>
                <a:off x="87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1" name="Freeform 12"/>
              <p:cNvSpPr>
                <a:spLocks/>
              </p:cNvSpPr>
              <p:nvPr/>
            </p:nvSpPr>
            <p:spPr bwMode="auto">
              <a:xfrm>
                <a:off x="97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2" name="Freeform 13"/>
              <p:cNvSpPr>
                <a:spLocks/>
              </p:cNvSpPr>
              <p:nvPr/>
            </p:nvSpPr>
            <p:spPr bwMode="auto">
              <a:xfrm>
                <a:off x="1064"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3" name="Freeform 14"/>
              <p:cNvSpPr>
                <a:spLocks/>
              </p:cNvSpPr>
              <p:nvPr/>
            </p:nvSpPr>
            <p:spPr bwMode="auto">
              <a:xfrm>
                <a:off x="636" y="2166"/>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4" name="Freeform 15"/>
              <p:cNvSpPr>
                <a:spLocks/>
              </p:cNvSpPr>
              <p:nvPr/>
            </p:nvSpPr>
            <p:spPr bwMode="auto">
              <a:xfrm>
                <a:off x="636" y="2166"/>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5" name="Freeform 16"/>
              <p:cNvSpPr>
                <a:spLocks/>
              </p:cNvSpPr>
              <p:nvPr/>
            </p:nvSpPr>
            <p:spPr bwMode="auto">
              <a:xfrm>
                <a:off x="69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6" name="Freeform 17"/>
              <p:cNvSpPr>
                <a:spLocks/>
              </p:cNvSpPr>
              <p:nvPr/>
            </p:nvSpPr>
            <p:spPr bwMode="auto">
              <a:xfrm>
                <a:off x="69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7" name="Freeform 18"/>
              <p:cNvSpPr>
                <a:spLocks/>
              </p:cNvSpPr>
              <p:nvPr/>
            </p:nvSpPr>
            <p:spPr bwMode="auto">
              <a:xfrm>
                <a:off x="1384"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8" name="Freeform 19"/>
              <p:cNvSpPr>
                <a:spLocks/>
              </p:cNvSpPr>
              <p:nvPr/>
            </p:nvSpPr>
            <p:spPr bwMode="auto">
              <a:xfrm>
                <a:off x="1384"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09" name="Freeform 20"/>
              <p:cNvSpPr>
                <a:spLocks/>
              </p:cNvSpPr>
              <p:nvPr/>
            </p:nvSpPr>
            <p:spPr bwMode="auto">
              <a:xfrm>
                <a:off x="1446"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0" name="Freeform 21"/>
              <p:cNvSpPr>
                <a:spLocks/>
              </p:cNvSpPr>
              <p:nvPr/>
            </p:nvSpPr>
            <p:spPr bwMode="auto">
              <a:xfrm>
                <a:off x="1446"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1" name="Freeform 22"/>
              <p:cNvSpPr>
                <a:spLocks/>
              </p:cNvSpPr>
              <p:nvPr/>
            </p:nvSpPr>
            <p:spPr bwMode="auto">
              <a:xfrm>
                <a:off x="1532"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2" name="Freeform 23"/>
              <p:cNvSpPr>
                <a:spLocks/>
              </p:cNvSpPr>
              <p:nvPr/>
            </p:nvSpPr>
            <p:spPr bwMode="auto">
              <a:xfrm>
                <a:off x="162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3" name="Freeform 24"/>
              <p:cNvSpPr>
                <a:spLocks/>
              </p:cNvSpPr>
              <p:nvPr/>
            </p:nvSpPr>
            <p:spPr bwMode="auto">
              <a:xfrm>
                <a:off x="1718"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4" name="Freeform 25"/>
              <p:cNvSpPr>
                <a:spLocks/>
              </p:cNvSpPr>
              <p:nvPr/>
            </p:nvSpPr>
            <p:spPr bwMode="auto">
              <a:xfrm>
                <a:off x="1956"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5" name="Freeform 26"/>
              <p:cNvSpPr>
                <a:spLocks/>
              </p:cNvSpPr>
              <p:nvPr/>
            </p:nvSpPr>
            <p:spPr bwMode="auto">
              <a:xfrm>
                <a:off x="205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6" name="Freeform 27"/>
              <p:cNvSpPr>
                <a:spLocks/>
              </p:cNvSpPr>
              <p:nvPr/>
            </p:nvSpPr>
            <p:spPr bwMode="auto">
              <a:xfrm>
                <a:off x="2144"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7" name="Freeform 28"/>
              <p:cNvSpPr>
                <a:spLocks noEditPoints="1"/>
              </p:cNvSpPr>
              <p:nvPr/>
            </p:nvSpPr>
            <p:spPr bwMode="auto">
              <a:xfrm>
                <a:off x="2234" y="2162"/>
                <a:ext cx="100" cy="150"/>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8" name="Freeform 29"/>
              <p:cNvSpPr>
                <a:spLocks noEditPoints="1"/>
              </p:cNvSpPr>
              <p:nvPr/>
            </p:nvSpPr>
            <p:spPr bwMode="auto">
              <a:xfrm>
                <a:off x="2374"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19" name="Freeform 30"/>
              <p:cNvSpPr>
                <a:spLocks/>
              </p:cNvSpPr>
              <p:nvPr/>
            </p:nvSpPr>
            <p:spPr bwMode="auto">
              <a:xfrm>
                <a:off x="1810" y="2166"/>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0" name="Freeform 31"/>
              <p:cNvSpPr>
                <a:spLocks/>
              </p:cNvSpPr>
              <p:nvPr/>
            </p:nvSpPr>
            <p:spPr bwMode="auto">
              <a:xfrm>
                <a:off x="1810" y="2166"/>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1" name="Freeform 32"/>
              <p:cNvSpPr>
                <a:spLocks/>
              </p:cNvSpPr>
              <p:nvPr/>
            </p:nvSpPr>
            <p:spPr bwMode="auto">
              <a:xfrm>
                <a:off x="1870"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2" name="Freeform 33"/>
              <p:cNvSpPr>
                <a:spLocks/>
              </p:cNvSpPr>
              <p:nvPr/>
            </p:nvSpPr>
            <p:spPr bwMode="auto">
              <a:xfrm>
                <a:off x="1870"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3" name="Freeform 34"/>
              <p:cNvSpPr>
                <a:spLocks noEditPoints="1"/>
              </p:cNvSpPr>
              <p:nvPr/>
            </p:nvSpPr>
            <p:spPr bwMode="auto">
              <a:xfrm>
                <a:off x="2790" y="2162"/>
                <a:ext cx="100" cy="150"/>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4" name="Freeform 35"/>
              <p:cNvSpPr>
                <a:spLocks noEditPoints="1"/>
              </p:cNvSpPr>
              <p:nvPr/>
            </p:nvSpPr>
            <p:spPr bwMode="auto">
              <a:xfrm>
                <a:off x="3022" y="2162"/>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5" name="Freeform 36"/>
              <p:cNvSpPr>
                <a:spLocks/>
              </p:cNvSpPr>
              <p:nvPr/>
            </p:nvSpPr>
            <p:spPr bwMode="auto">
              <a:xfrm>
                <a:off x="2930"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6" name="Freeform 37"/>
              <p:cNvSpPr>
                <a:spLocks noEditPoints="1"/>
              </p:cNvSpPr>
              <p:nvPr/>
            </p:nvSpPr>
            <p:spPr bwMode="auto">
              <a:xfrm>
                <a:off x="316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7" name="Freeform 38"/>
              <p:cNvSpPr>
                <a:spLocks/>
              </p:cNvSpPr>
              <p:nvPr/>
            </p:nvSpPr>
            <p:spPr bwMode="auto">
              <a:xfrm>
                <a:off x="3298" y="21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8" name="Freeform 39"/>
              <p:cNvSpPr>
                <a:spLocks/>
              </p:cNvSpPr>
              <p:nvPr/>
            </p:nvSpPr>
            <p:spPr bwMode="auto">
              <a:xfrm>
                <a:off x="3298" y="21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29" name="Freeform 40"/>
              <p:cNvSpPr>
                <a:spLocks/>
              </p:cNvSpPr>
              <p:nvPr/>
            </p:nvSpPr>
            <p:spPr bwMode="auto">
              <a:xfrm>
                <a:off x="3360"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0" name="Freeform 41"/>
              <p:cNvSpPr>
                <a:spLocks/>
              </p:cNvSpPr>
              <p:nvPr/>
            </p:nvSpPr>
            <p:spPr bwMode="auto">
              <a:xfrm>
                <a:off x="3360"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1" name="Freeform 42"/>
              <p:cNvSpPr>
                <a:spLocks noEditPoints="1"/>
              </p:cNvSpPr>
              <p:nvPr/>
            </p:nvSpPr>
            <p:spPr bwMode="auto">
              <a:xfrm>
                <a:off x="3596"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2" name="Freeform 43"/>
              <p:cNvSpPr>
                <a:spLocks/>
              </p:cNvSpPr>
              <p:nvPr/>
            </p:nvSpPr>
            <p:spPr bwMode="auto">
              <a:xfrm>
                <a:off x="373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3" name="Freeform 44"/>
              <p:cNvSpPr>
                <a:spLocks noEditPoints="1"/>
              </p:cNvSpPr>
              <p:nvPr/>
            </p:nvSpPr>
            <p:spPr bwMode="auto">
              <a:xfrm>
                <a:off x="136" y="1978"/>
                <a:ext cx="186" cy="146"/>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4" name="Freeform 45"/>
              <p:cNvSpPr>
                <a:spLocks/>
              </p:cNvSpPr>
              <p:nvPr/>
            </p:nvSpPr>
            <p:spPr bwMode="auto">
              <a:xfrm>
                <a:off x="238" y="2080"/>
                <a:ext cx="18" cy="28"/>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5" name="Freeform 46"/>
              <p:cNvSpPr>
                <a:spLocks/>
              </p:cNvSpPr>
              <p:nvPr/>
            </p:nvSpPr>
            <p:spPr bwMode="auto">
              <a:xfrm>
                <a:off x="140" y="2078"/>
                <a:ext cx="18" cy="22"/>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6" name="Freeform 47"/>
              <p:cNvSpPr>
                <a:spLocks/>
              </p:cNvSpPr>
              <p:nvPr/>
            </p:nvSpPr>
            <p:spPr bwMode="auto">
              <a:xfrm>
                <a:off x="136" y="2028"/>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7" name="Freeform 48"/>
              <p:cNvSpPr>
                <a:spLocks/>
              </p:cNvSpPr>
              <p:nvPr/>
            </p:nvSpPr>
            <p:spPr bwMode="auto">
              <a:xfrm>
                <a:off x="150" y="1982"/>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8" name="Freeform 49"/>
              <p:cNvSpPr>
                <a:spLocks/>
              </p:cNvSpPr>
              <p:nvPr/>
            </p:nvSpPr>
            <p:spPr bwMode="auto">
              <a:xfrm>
                <a:off x="136" y="1978"/>
                <a:ext cx="186" cy="146"/>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39" name="Freeform 50"/>
              <p:cNvSpPr>
                <a:spLocks/>
              </p:cNvSpPr>
              <p:nvPr/>
            </p:nvSpPr>
            <p:spPr bwMode="auto">
              <a:xfrm>
                <a:off x="140" y="2078"/>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0" name="Freeform 51"/>
              <p:cNvSpPr>
                <a:spLocks/>
              </p:cNvSpPr>
              <p:nvPr/>
            </p:nvSpPr>
            <p:spPr bwMode="auto">
              <a:xfrm>
                <a:off x="140" y="2078"/>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1" name="Freeform 52"/>
              <p:cNvSpPr>
                <a:spLocks/>
              </p:cNvSpPr>
              <p:nvPr/>
            </p:nvSpPr>
            <p:spPr bwMode="auto">
              <a:xfrm>
                <a:off x="140" y="2078"/>
                <a:ext cx="10" cy="12"/>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2" name="Freeform 53"/>
              <p:cNvSpPr>
                <a:spLocks/>
              </p:cNvSpPr>
              <p:nvPr/>
            </p:nvSpPr>
            <p:spPr bwMode="auto">
              <a:xfrm>
                <a:off x="140" y="2078"/>
                <a:ext cx="10" cy="12"/>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3" name="Freeform 54"/>
              <p:cNvSpPr>
                <a:spLocks/>
              </p:cNvSpPr>
              <p:nvPr/>
            </p:nvSpPr>
            <p:spPr bwMode="auto">
              <a:xfrm>
                <a:off x="238" y="2082"/>
                <a:ext cx="18" cy="26"/>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4" name="Freeform 55"/>
              <p:cNvSpPr>
                <a:spLocks/>
              </p:cNvSpPr>
              <p:nvPr/>
            </p:nvSpPr>
            <p:spPr bwMode="auto">
              <a:xfrm>
                <a:off x="238" y="2082"/>
                <a:ext cx="18" cy="26"/>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5" name="Freeform 56"/>
              <p:cNvSpPr>
                <a:spLocks/>
              </p:cNvSpPr>
              <p:nvPr/>
            </p:nvSpPr>
            <p:spPr bwMode="auto">
              <a:xfrm>
                <a:off x="238"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6" name="Freeform 57"/>
              <p:cNvSpPr>
                <a:spLocks/>
              </p:cNvSpPr>
              <p:nvPr/>
            </p:nvSpPr>
            <p:spPr bwMode="auto">
              <a:xfrm>
                <a:off x="238"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7" name="Freeform 58"/>
              <p:cNvSpPr>
                <a:spLocks/>
              </p:cNvSpPr>
              <p:nvPr/>
            </p:nvSpPr>
            <p:spPr bwMode="auto">
              <a:xfrm>
                <a:off x="138" y="2028"/>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8" name="Freeform 59"/>
              <p:cNvSpPr>
                <a:spLocks/>
              </p:cNvSpPr>
              <p:nvPr/>
            </p:nvSpPr>
            <p:spPr bwMode="auto">
              <a:xfrm>
                <a:off x="138" y="2028"/>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49" name="Freeform 60"/>
              <p:cNvSpPr>
                <a:spLocks noEditPoints="1"/>
              </p:cNvSpPr>
              <p:nvPr/>
            </p:nvSpPr>
            <p:spPr bwMode="auto">
              <a:xfrm>
                <a:off x="136" y="2028"/>
                <a:ext cx="14" cy="2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0" name="Freeform 61"/>
              <p:cNvSpPr>
                <a:spLocks/>
              </p:cNvSpPr>
              <p:nvPr/>
            </p:nvSpPr>
            <p:spPr bwMode="auto">
              <a:xfrm>
                <a:off x="146" y="2042"/>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1" name="Freeform 62"/>
              <p:cNvSpPr>
                <a:spLocks/>
              </p:cNvSpPr>
              <p:nvPr/>
            </p:nvSpPr>
            <p:spPr bwMode="auto">
              <a:xfrm>
                <a:off x="136" y="2028"/>
                <a:ext cx="10" cy="2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2" name="Freeform 63"/>
              <p:cNvSpPr>
                <a:spLocks noEditPoints="1"/>
              </p:cNvSpPr>
              <p:nvPr/>
            </p:nvSpPr>
            <p:spPr bwMode="auto">
              <a:xfrm>
                <a:off x="252" y="2016"/>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3" name="Freeform 64"/>
              <p:cNvSpPr>
                <a:spLocks/>
              </p:cNvSpPr>
              <p:nvPr/>
            </p:nvSpPr>
            <p:spPr bwMode="auto">
              <a:xfrm>
                <a:off x="256" y="2022"/>
                <a:ext cx="8" cy="6"/>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4" name="Freeform 65"/>
              <p:cNvSpPr>
                <a:spLocks/>
              </p:cNvSpPr>
              <p:nvPr/>
            </p:nvSpPr>
            <p:spPr bwMode="auto">
              <a:xfrm>
                <a:off x="252" y="2016"/>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5" name="Freeform 66"/>
              <p:cNvSpPr>
                <a:spLocks/>
              </p:cNvSpPr>
              <p:nvPr/>
            </p:nvSpPr>
            <p:spPr bwMode="auto">
              <a:xfrm>
                <a:off x="204" y="2006"/>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6" name="Freeform 67"/>
              <p:cNvSpPr>
                <a:spLocks/>
              </p:cNvSpPr>
              <p:nvPr/>
            </p:nvSpPr>
            <p:spPr bwMode="auto">
              <a:xfrm>
                <a:off x="204" y="2006"/>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7" name="Freeform 68"/>
              <p:cNvSpPr>
                <a:spLocks/>
              </p:cNvSpPr>
              <p:nvPr/>
            </p:nvSpPr>
            <p:spPr bwMode="auto">
              <a:xfrm>
                <a:off x="300" y="20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8" name="Freeform 69"/>
              <p:cNvSpPr>
                <a:spLocks/>
              </p:cNvSpPr>
              <p:nvPr/>
            </p:nvSpPr>
            <p:spPr bwMode="auto">
              <a:xfrm>
                <a:off x="300" y="20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59" name="Freeform 70"/>
              <p:cNvSpPr>
                <a:spLocks/>
              </p:cNvSpPr>
              <p:nvPr/>
            </p:nvSpPr>
            <p:spPr bwMode="auto">
              <a:xfrm>
                <a:off x="246"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0" name="Freeform 71"/>
              <p:cNvSpPr>
                <a:spLocks/>
              </p:cNvSpPr>
              <p:nvPr/>
            </p:nvSpPr>
            <p:spPr bwMode="auto">
              <a:xfrm>
                <a:off x="246"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1" name="Freeform 72"/>
              <p:cNvSpPr>
                <a:spLocks/>
              </p:cNvSpPr>
              <p:nvPr/>
            </p:nvSpPr>
            <p:spPr bwMode="auto">
              <a:xfrm>
                <a:off x="26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2" name="Freeform 73"/>
              <p:cNvSpPr>
                <a:spLocks/>
              </p:cNvSpPr>
              <p:nvPr/>
            </p:nvSpPr>
            <p:spPr bwMode="auto">
              <a:xfrm>
                <a:off x="26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3" name="Freeform 74"/>
              <p:cNvSpPr>
                <a:spLocks/>
              </p:cNvSpPr>
              <p:nvPr/>
            </p:nvSpPr>
            <p:spPr bwMode="auto">
              <a:xfrm>
                <a:off x="258" y="2024"/>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4" name="Freeform 75"/>
              <p:cNvSpPr>
                <a:spLocks/>
              </p:cNvSpPr>
              <p:nvPr/>
            </p:nvSpPr>
            <p:spPr bwMode="auto">
              <a:xfrm>
                <a:off x="258" y="2024"/>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5" name="Freeform 76"/>
              <p:cNvSpPr>
                <a:spLocks/>
              </p:cNvSpPr>
              <p:nvPr/>
            </p:nvSpPr>
            <p:spPr bwMode="auto">
              <a:xfrm>
                <a:off x="256" y="2024"/>
                <a:ext cx="8" cy="4"/>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6" name="Freeform 77"/>
              <p:cNvSpPr>
                <a:spLocks/>
              </p:cNvSpPr>
              <p:nvPr/>
            </p:nvSpPr>
            <p:spPr bwMode="auto">
              <a:xfrm>
                <a:off x="256" y="2024"/>
                <a:ext cx="8" cy="4"/>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7" name="Freeform 78"/>
              <p:cNvSpPr>
                <a:spLocks noEditPoints="1"/>
              </p:cNvSpPr>
              <p:nvPr/>
            </p:nvSpPr>
            <p:spPr bwMode="auto">
              <a:xfrm>
                <a:off x="3448" y="2170"/>
                <a:ext cx="108" cy="142"/>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8" name="Freeform 79"/>
              <p:cNvSpPr>
                <a:spLocks/>
              </p:cNvSpPr>
              <p:nvPr/>
            </p:nvSpPr>
            <p:spPr bwMode="auto">
              <a:xfrm>
                <a:off x="3490" y="2228"/>
                <a:ext cx="22" cy="22"/>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69" name="Freeform 80"/>
              <p:cNvSpPr>
                <a:spLocks/>
              </p:cNvSpPr>
              <p:nvPr/>
            </p:nvSpPr>
            <p:spPr bwMode="auto">
              <a:xfrm>
                <a:off x="3448" y="2170"/>
                <a:ext cx="108" cy="142"/>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0" name="Freeform 81"/>
              <p:cNvSpPr>
                <a:spLocks noEditPoints="1"/>
              </p:cNvSpPr>
              <p:nvPr/>
            </p:nvSpPr>
            <p:spPr bwMode="auto">
              <a:xfrm>
                <a:off x="1156" y="2164"/>
                <a:ext cx="188" cy="146"/>
              </a:xfrm>
              <a:custGeom>
                <a:avLst/>
                <a:gdLst>
                  <a:gd name="T0" fmla="*/ 118 w 188"/>
                  <a:gd name="T1" fmla="*/ 104 h 146"/>
                  <a:gd name="T2" fmla="*/ 114 w 188"/>
                  <a:gd name="T3" fmla="*/ 130 h 146"/>
                  <a:gd name="T4" fmla="*/ 18 w 188"/>
                  <a:gd name="T5" fmla="*/ 122 h 146"/>
                  <a:gd name="T6" fmla="*/ 6 w 188"/>
                  <a:gd name="T7" fmla="*/ 104 h 146"/>
                  <a:gd name="T8" fmla="*/ 24 w 188"/>
                  <a:gd name="T9" fmla="*/ 118 h 146"/>
                  <a:gd name="T10" fmla="*/ 10 w 188"/>
                  <a:gd name="T11" fmla="*/ 50 h 146"/>
                  <a:gd name="T12" fmla="*/ 10 w 188"/>
                  <a:gd name="T13" fmla="*/ 50 h 146"/>
                  <a:gd name="T14" fmla="*/ 8 w 188"/>
                  <a:gd name="T15" fmla="*/ 66 h 146"/>
                  <a:gd name="T16" fmla="*/ 14 w 188"/>
                  <a:gd name="T17" fmla="*/ 64 h 146"/>
                  <a:gd name="T18" fmla="*/ 8 w 188"/>
                  <a:gd name="T19" fmla="*/ 70 h 146"/>
                  <a:gd name="T20" fmla="*/ 8 w 188"/>
                  <a:gd name="T21" fmla="*/ 50 h 146"/>
                  <a:gd name="T22" fmla="*/ 84 w 188"/>
                  <a:gd name="T23" fmla="*/ 16 h 146"/>
                  <a:gd name="T24" fmla="*/ 130 w 188"/>
                  <a:gd name="T25" fmla="*/ 8 h 146"/>
                  <a:gd name="T26" fmla="*/ 158 w 188"/>
                  <a:gd name="T27" fmla="*/ 32 h 146"/>
                  <a:gd name="T28" fmla="*/ 158 w 188"/>
                  <a:gd name="T29" fmla="*/ 44 h 146"/>
                  <a:gd name="T30" fmla="*/ 152 w 188"/>
                  <a:gd name="T31" fmla="*/ 44 h 146"/>
                  <a:gd name="T32" fmla="*/ 158 w 188"/>
                  <a:gd name="T33" fmla="*/ 46 h 146"/>
                  <a:gd name="T34" fmla="*/ 160 w 188"/>
                  <a:gd name="T35" fmla="*/ 42 h 146"/>
                  <a:gd name="T36" fmla="*/ 176 w 188"/>
                  <a:gd name="T37" fmla="*/ 28 h 146"/>
                  <a:gd name="T38" fmla="*/ 182 w 188"/>
                  <a:gd name="T39" fmla="*/ 70 h 146"/>
                  <a:gd name="T40" fmla="*/ 140 w 188"/>
                  <a:gd name="T41" fmla="*/ 86 h 146"/>
                  <a:gd name="T42" fmla="*/ 134 w 188"/>
                  <a:gd name="T43" fmla="*/ 100 h 146"/>
                  <a:gd name="T44" fmla="*/ 144 w 188"/>
                  <a:gd name="T45" fmla="*/ 90 h 146"/>
                  <a:gd name="T46" fmla="*/ 128 w 188"/>
                  <a:gd name="T47" fmla="*/ 102 h 146"/>
                  <a:gd name="T48" fmla="*/ 114 w 188"/>
                  <a:gd name="T49" fmla="*/ 96 h 146"/>
                  <a:gd name="T50" fmla="*/ 86 w 188"/>
                  <a:gd name="T51" fmla="*/ 140 h 146"/>
                  <a:gd name="T52" fmla="*/ 68 w 188"/>
                  <a:gd name="T53" fmla="*/ 128 h 146"/>
                  <a:gd name="T54" fmla="*/ 78 w 188"/>
                  <a:gd name="T55" fmla="*/ 114 h 146"/>
                  <a:gd name="T56" fmla="*/ 56 w 188"/>
                  <a:gd name="T57" fmla="*/ 116 h 146"/>
                  <a:gd name="T58" fmla="*/ 52 w 188"/>
                  <a:gd name="T59" fmla="*/ 122 h 146"/>
                  <a:gd name="T60" fmla="*/ 44 w 188"/>
                  <a:gd name="T61" fmla="*/ 140 h 146"/>
                  <a:gd name="T62" fmla="*/ 26 w 188"/>
                  <a:gd name="T63" fmla="*/ 122 h 146"/>
                  <a:gd name="T64" fmla="*/ 14 w 188"/>
                  <a:gd name="T65" fmla="*/ 78 h 146"/>
                  <a:gd name="T66" fmla="*/ 56 w 188"/>
                  <a:gd name="T67" fmla="*/ 34 h 146"/>
                  <a:gd name="T68" fmla="*/ 40 w 188"/>
                  <a:gd name="T69" fmla="*/ 64 h 146"/>
                  <a:gd name="T70" fmla="*/ 48 w 188"/>
                  <a:gd name="T71" fmla="*/ 90 h 146"/>
                  <a:gd name="T72" fmla="*/ 72 w 188"/>
                  <a:gd name="T73" fmla="*/ 96 h 146"/>
                  <a:gd name="T74" fmla="*/ 96 w 188"/>
                  <a:gd name="T75" fmla="*/ 58 h 146"/>
                  <a:gd name="T76" fmla="*/ 90 w 188"/>
                  <a:gd name="T77" fmla="*/ 84 h 146"/>
                  <a:gd name="T78" fmla="*/ 58 w 188"/>
                  <a:gd name="T79" fmla="*/ 94 h 146"/>
                  <a:gd name="T80" fmla="*/ 60 w 188"/>
                  <a:gd name="T81" fmla="*/ 68 h 146"/>
                  <a:gd name="T82" fmla="*/ 48 w 188"/>
                  <a:gd name="T83" fmla="*/ 56 h 146"/>
                  <a:gd name="T84" fmla="*/ 86 w 188"/>
                  <a:gd name="T85" fmla="*/ 22 h 146"/>
                  <a:gd name="T86" fmla="*/ 90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0 w 188"/>
                  <a:gd name="T101" fmla="*/ 132 h 146"/>
                  <a:gd name="T102" fmla="*/ 44 w 188"/>
                  <a:gd name="T103" fmla="*/ 144 h 146"/>
                  <a:gd name="T104" fmla="*/ 56 w 188"/>
                  <a:gd name="T105" fmla="*/ 120 h 146"/>
                  <a:gd name="T106" fmla="*/ 74 w 188"/>
                  <a:gd name="T107" fmla="*/ 144 h 146"/>
                  <a:gd name="T108" fmla="*/ 96 w 188"/>
                  <a:gd name="T109" fmla="*/ 134 h 146"/>
                  <a:gd name="T110" fmla="*/ 124 w 188"/>
                  <a:gd name="T111" fmla="*/ 124 h 146"/>
                  <a:gd name="T112" fmla="*/ 118 w 188"/>
                  <a:gd name="T113" fmla="*/ 96 h 146"/>
                  <a:gd name="T114" fmla="*/ 144 w 188"/>
                  <a:gd name="T115" fmla="*/ 100 h 146"/>
                  <a:gd name="T116" fmla="*/ 158 w 188"/>
                  <a:gd name="T117" fmla="*/ 92 h 146"/>
                  <a:gd name="T118" fmla="*/ 186 w 188"/>
                  <a:gd name="T119" fmla="*/ 46 h 146"/>
                  <a:gd name="T120" fmla="*/ 174 w 188"/>
                  <a:gd name="T121" fmla="*/ 24 h 146"/>
                  <a:gd name="T122" fmla="*/ 160 w 188"/>
                  <a:gd name="T123" fmla="*/ 30 h 146"/>
                  <a:gd name="T124" fmla="*/ 112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6" y="124"/>
                    </a:moveTo>
                    <a:lnTo>
                      <a:pt x="106" y="124"/>
                    </a:lnTo>
                    <a:lnTo>
                      <a:pt x="116" y="104"/>
                    </a:lnTo>
                    <a:lnTo>
                      <a:pt x="116" y="104"/>
                    </a:lnTo>
                    <a:lnTo>
                      <a:pt x="116" y="104"/>
                    </a:lnTo>
                    <a:lnTo>
                      <a:pt x="116"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0" y="130"/>
                    </a:lnTo>
                    <a:lnTo>
                      <a:pt x="110" y="130"/>
                    </a:lnTo>
                    <a:lnTo>
                      <a:pt x="102" y="130"/>
                    </a:lnTo>
                    <a:lnTo>
                      <a:pt x="102" y="130"/>
                    </a:lnTo>
                    <a:lnTo>
                      <a:pt x="106" y="124"/>
                    </a:lnTo>
                    <a:close/>
                    <a:moveTo>
                      <a:pt x="18" y="122"/>
                    </a:moveTo>
                    <a:lnTo>
                      <a:pt x="18" y="122"/>
                    </a:lnTo>
                    <a:lnTo>
                      <a:pt x="14" y="122"/>
                    </a:lnTo>
                    <a:lnTo>
                      <a:pt x="10" y="118"/>
                    </a:lnTo>
                    <a:lnTo>
                      <a:pt x="6" y="114"/>
                    </a:lnTo>
                    <a:lnTo>
                      <a:pt x="6" y="108"/>
                    </a:lnTo>
                    <a:lnTo>
                      <a:pt x="6" y="108"/>
                    </a:lnTo>
                    <a:lnTo>
                      <a:pt x="6" y="104"/>
                    </a:lnTo>
                    <a:lnTo>
                      <a:pt x="6" y="104"/>
                    </a:lnTo>
                    <a:lnTo>
                      <a:pt x="14" y="100"/>
                    </a:lnTo>
                    <a:lnTo>
                      <a:pt x="14" y="100"/>
                    </a:lnTo>
                    <a:lnTo>
                      <a:pt x="14" y="100"/>
                    </a:lnTo>
                    <a:lnTo>
                      <a:pt x="14" y="100"/>
                    </a:lnTo>
                    <a:lnTo>
                      <a:pt x="14" y="100"/>
                    </a:lnTo>
                    <a:lnTo>
                      <a:pt x="14" y="100"/>
                    </a:lnTo>
                    <a:lnTo>
                      <a:pt x="24" y="118"/>
                    </a:lnTo>
                    <a:lnTo>
                      <a:pt x="24" y="118"/>
                    </a:lnTo>
                    <a:lnTo>
                      <a:pt x="24" y="120"/>
                    </a:lnTo>
                    <a:lnTo>
                      <a:pt x="20" y="122"/>
                    </a:lnTo>
                    <a:lnTo>
                      <a:pt x="20" y="122"/>
                    </a:lnTo>
                    <a:lnTo>
                      <a:pt x="20" y="122"/>
                    </a:lnTo>
                    <a:lnTo>
                      <a:pt x="20" y="122"/>
                    </a:lnTo>
                    <a:lnTo>
                      <a:pt x="18" y="12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8" y="70"/>
                    </a:lnTo>
                    <a:lnTo>
                      <a:pt x="8" y="70"/>
                    </a:lnTo>
                    <a:lnTo>
                      <a:pt x="8" y="70"/>
                    </a:lnTo>
                    <a:lnTo>
                      <a:pt x="8" y="70"/>
                    </a:lnTo>
                    <a:lnTo>
                      <a:pt x="6" y="68"/>
                    </a:lnTo>
                    <a:lnTo>
                      <a:pt x="6" y="68"/>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4" y="38"/>
                    </a:lnTo>
                    <a:lnTo>
                      <a:pt x="164"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8" y="114"/>
                    </a:lnTo>
                    <a:lnTo>
                      <a:pt x="76" y="116"/>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8" y="98"/>
                    </a:lnTo>
                    <a:lnTo>
                      <a:pt x="16" y="88"/>
                    </a:lnTo>
                    <a:lnTo>
                      <a:pt x="14" y="78"/>
                    </a:lnTo>
                    <a:lnTo>
                      <a:pt x="14" y="78"/>
                    </a:lnTo>
                    <a:lnTo>
                      <a:pt x="16" y="68"/>
                    </a:lnTo>
                    <a:lnTo>
                      <a:pt x="20"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2" y="100"/>
                    </a:lnTo>
                    <a:lnTo>
                      <a:pt x="62"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8" y="94"/>
                    </a:lnTo>
                    <a:lnTo>
                      <a:pt x="54" y="90"/>
                    </a:lnTo>
                    <a:lnTo>
                      <a:pt x="54" y="90"/>
                    </a:lnTo>
                    <a:lnTo>
                      <a:pt x="52" y="88"/>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8"/>
                    </a:lnTo>
                    <a:lnTo>
                      <a:pt x="4" y="112"/>
                    </a:lnTo>
                    <a:lnTo>
                      <a:pt x="4" y="112"/>
                    </a:lnTo>
                    <a:lnTo>
                      <a:pt x="6" y="118"/>
                    </a:lnTo>
                    <a:lnTo>
                      <a:pt x="10" y="120"/>
                    </a:lnTo>
                    <a:lnTo>
                      <a:pt x="10" y="120"/>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1" name="Freeform 82"/>
              <p:cNvSpPr>
                <a:spLocks/>
              </p:cNvSpPr>
              <p:nvPr/>
            </p:nvSpPr>
            <p:spPr bwMode="auto">
              <a:xfrm>
                <a:off x="1258" y="2268"/>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6 w 18"/>
                  <a:gd name="T13" fmla="*/ 0 h 26"/>
                  <a:gd name="T14" fmla="*/ 16 w 18"/>
                  <a:gd name="T15" fmla="*/ 0 h 26"/>
                  <a:gd name="T16" fmla="*/ 18 w 18"/>
                  <a:gd name="T17" fmla="*/ 8 h 26"/>
                  <a:gd name="T18" fmla="*/ 18 w 18"/>
                  <a:gd name="T19" fmla="*/ 8 h 26"/>
                  <a:gd name="T20" fmla="*/ 18 w 18"/>
                  <a:gd name="T21" fmla="*/ 24 h 26"/>
                  <a:gd name="T22" fmla="*/ 18 w 18"/>
                  <a:gd name="T23" fmla="*/ 24 h 26"/>
                  <a:gd name="T24" fmla="*/ 16 w 18"/>
                  <a:gd name="T25" fmla="*/ 26 h 26"/>
                  <a:gd name="T26" fmla="*/ 16 w 18"/>
                  <a:gd name="T27" fmla="*/ 26 h 26"/>
                  <a:gd name="T28" fmla="*/ 12 w 18"/>
                  <a:gd name="T29" fmla="*/ 26 h 26"/>
                  <a:gd name="T30" fmla="*/ 12 w 18"/>
                  <a:gd name="T31" fmla="*/ 26 h 26"/>
                  <a:gd name="T32" fmla="*/ 12 w 18"/>
                  <a:gd name="T33" fmla="*/ 26 h 26"/>
                  <a:gd name="T34" fmla="*/ 12 w 18"/>
                  <a:gd name="T35" fmla="*/ 26 h 26"/>
                  <a:gd name="T36" fmla="*/ 8 w 18"/>
                  <a:gd name="T37" fmla="*/ 26 h 26"/>
                  <a:gd name="T38" fmla="*/ 8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6" y="0"/>
                    </a:lnTo>
                    <a:lnTo>
                      <a:pt x="16" y="0"/>
                    </a:lnTo>
                    <a:lnTo>
                      <a:pt x="18" y="8"/>
                    </a:lnTo>
                    <a:lnTo>
                      <a:pt x="18" y="8"/>
                    </a:lnTo>
                    <a:lnTo>
                      <a:pt x="18" y="24"/>
                    </a:lnTo>
                    <a:lnTo>
                      <a:pt x="18" y="24"/>
                    </a:lnTo>
                    <a:lnTo>
                      <a:pt x="16" y="26"/>
                    </a:lnTo>
                    <a:lnTo>
                      <a:pt x="16" y="26"/>
                    </a:lnTo>
                    <a:lnTo>
                      <a:pt x="12" y="26"/>
                    </a:lnTo>
                    <a:lnTo>
                      <a:pt x="12" y="26"/>
                    </a:lnTo>
                    <a:lnTo>
                      <a:pt x="12" y="26"/>
                    </a:lnTo>
                    <a:lnTo>
                      <a:pt x="12"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2" name="Freeform 83"/>
              <p:cNvSpPr>
                <a:spLocks/>
              </p:cNvSpPr>
              <p:nvPr/>
            </p:nvSpPr>
            <p:spPr bwMode="auto">
              <a:xfrm>
                <a:off x="1162" y="2264"/>
                <a:ext cx="18" cy="22"/>
              </a:xfrm>
              <a:custGeom>
                <a:avLst/>
                <a:gdLst>
                  <a:gd name="T0" fmla="*/ 12 w 18"/>
                  <a:gd name="T1" fmla="*/ 22 h 22"/>
                  <a:gd name="T2" fmla="*/ 12 w 18"/>
                  <a:gd name="T3" fmla="*/ 22 h 22"/>
                  <a:gd name="T4" fmla="*/ 8 w 18"/>
                  <a:gd name="T5" fmla="*/ 22 h 22"/>
                  <a:gd name="T6" fmla="*/ 4 w 18"/>
                  <a:gd name="T7" fmla="*/ 18 h 22"/>
                  <a:gd name="T8" fmla="*/ 0 w 18"/>
                  <a:gd name="T9" fmla="*/ 14 h 22"/>
                  <a:gd name="T10" fmla="*/ 0 w 18"/>
                  <a:gd name="T11" fmla="*/ 8 h 22"/>
                  <a:gd name="T12" fmla="*/ 0 w 18"/>
                  <a:gd name="T13" fmla="*/ 8 h 22"/>
                  <a:gd name="T14" fmla="*/ 0 w 18"/>
                  <a:gd name="T15" fmla="*/ 4 h 22"/>
                  <a:gd name="T16" fmla="*/ 0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4 w 18"/>
                  <a:gd name="T37" fmla="*/ 22 h 22"/>
                  <a:gd name="T38" fmla="*/ 14 w 18"/>
                  <a:gd name="T39" fmla="*/ 22 h 22"/>
                  <a:gd name="T40" fmla="*/ 14 w 18"/>
                  <a:gd name="T41" fmla="*/ 22 h 22"/>
                  <a:gd name="T42" fmla="*/ 14 w 18"/>
                  <a:gd name="T43" fmla="*/ 22 h 22"/>
                  <a:gd name="T44" fmla="*/ 12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2" y="22"/>
                    </a:moveTo>
                    <a:lnTo>
                      <a:pt x="12" y="22"/>
                    </a:lnTo>
                    <a:lnTo>
                      <a:pt x="8" y="22"/>
                    </a:lnTo>
                    <a:lnTo>
                      <a:pt x="4" y="18"/>
                    </a:lnTo>
                    <a:lnTo>
                      <a:pt x="0" y="14"/>
                    </a:lnTo>
                    <a:lnTo>
                      <a:pt x="0" y="8"/>
                    </a:lnTo>
                    <a:lnTo>
                      <a:pt x="0" y="8"/>
                    </a:lnTo>
                    <a:lnTo>
                      <a:pt x="0" y="4"/>
                    </a:lnTo>
                    <a:lnTo>
                      <a:pt x="0" y="4"/>
                    </a:lnTo>
                    <a:lnTo>
                      <a:pt x="8" y="0"/>
                    </a:lnTo>
                    <a:lnTo>
                      <a:pt x="8" y="0"/>
                    </a:lnTo>
                    <a:lnTo>
                      <a:pt x="8" y="0"/>
                    </a:lnTo>
                    <a:lnTo>
                      <a:pt x="8" y="0"/>
                    </a:lnTo>
                    <a:lnTo>
                      <a:pt x="8" y="0"/>
                    </a:lnTo>
                    <a:lnTo>
                      <a:pt x="8" y="0"/>
                    </a:lnTo>
                    <a:lnTo>
                      <a:pt x="18" y="18"/>
                    </a:lnTo>
                    <a:lnTo>
                      <a:pt x="18" y="18"/>
                    </a:lnTo>
                    <a:lnTo>
                      <a:pt x="18" y="20"/>
                    </a:lnTo>
                    <a:lnTo>
                      <a:pt x="14" y="22"/>
                    </a:lnTo>
                    <a:lnTo>
                      <a:pt x="14" y="22"/>
                    </a:lnTo>
                    <a:lnTo>
                      <a:pt x="14" y="22"/>
                    </a:lnTo>
                    <a:lnTo>
                      <a:pt x="14" y="22"/>
                    </a:lnTo>
                    <a:lnTo>
                      <a:pt x="12"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3" name="Freeform 84"/>
              <p:cNvSpPr>
                <a:spLocks/>
              </p:cNvSpPr>
              <p:nvPr/>
            </p:nvSpPr>
            <p:spPr bwMode="auto">
              <a:xfrm>
                <a:off x="1158" y="2214"/>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6 w 12"/>
                  <a:gd name="T65" fmla="*/ 20 h 20"/>
                  <a:gd name="T66" fmla="*/ 6 w 12"/>
                  <a:gd name="T67" fmla="*/ 20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6" y="20"/>
                    </a:lnTo>
                    <a:lnTo>
                      <a:pt x="6" y="20"/>
                    </a:lnTo>
                    <a:lnTo>
                      <a:pt x="6" y="20"/>
                    </a:lnTo>
                    <a:lnTo>
                      <a:pt x="6" y="20"/>
                    </a:lnTo>
                    <a:lnTo>
                      <a:pt x="4" y="18"/>
                    </a:lnTo>
                    <a:lnTo>
                      <a:pt x="4" y="18"/>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4" name="Freeform 85"/>
              <p:cNvSpPr>
                <a:spLocks/>
              </p:cNvSpPr>
              <p:nvPr/>
            </p:nvSpPr>
            <p:spPr bwMode="auto">
              <a:xfrm>
                <a:off x="1170" y="2168"/>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8 h 138"/>
                  <a:gd name="T60" fmla="*/ 54 w 170"/>
                  <a:gd name="T61" fmla="*/ 122 h 138"/>
                  <a:gd name="T62" fmla="*/ 64 w 170"/>
                  <a:gd name="T63" fmla="*/ 114 h 138"/>
                  <a:gd name="T64" fmla="*/ 62 w 170"/>
                  <a:gd name="T65" fmla="*/ 112 h 138"/>
                  <a:gd name="T66" fmla="*/ 52 w 170"/>
                  <a:gd name="T67" fmla="*/ 112 h 138"/>
                  <a:gd name="T68" fmla="*/ 40 w 170"/>
                  <a:gd name="T69" fmla="*/ 110 h 138"/>
                  <a:gd name="T70" fmla="*/ 40 w 170"/>
                  <a:gd name="T71" fmla="*/ 108 h 138"/>
                  <a:gd name="T72" fmla="*/ 36 w 170"/>
                  <a:gd name="T73" fmla="*/ 126 h 138"/>
                  <a:gd name="T74" fmla="*/ 32 w 170"/>
                  <a:gd name="T75" fmla="*/ 134 h 138"/>
                  <a:gd name="T76" fmla="*/ 12 w 170"/>
                  <a:gd name="T77" fmla="*/ 132 h 138"/>
                  <a:gd name="T78" fmla="*/ 10 w 170"/>
                  <a:gd name="T79" fmla="*/ 126 h 138"/>
                  <a:gd name="T80" fmla="*/ 12 w 170"/>
                  <a:gd name="T81" fmla="*/ 114 h 138"/>
                  <a:gd name="T82" fmla="*/ 4 w 170"/>
                  <a:gd name="T83" fmla="*/ 94 h 138"/>
                  <a:gd name="T84" fmla="*/ 2 w 170"/>
                  <a:gd name="T85" fmla="*/ 64 h 138"/>
                  <a:gd name="T86" fmla="*/ 16 w 170"/>
                  <a:gd name="T87" fmla="*/ 42 h 138"/>
                  <a:gd name="T88" fmla="*/ 44 w 170"/>
                  <a:gd name="T89" fmla="*/ 30 h 138"/>
                  <a:gd name="T90" fmla="*/ 30 w 170"/>
                  <a:gd name="T91" fmla="*/ 52 h 138"/>
                  <a:gd name="T92" fmla="*/ 28 w 170"/>
                  <a:gd name="T93" fmla="*/ 64 h 138"/>
                  <a:gd name="T94" fmla="*/ 36 w 170"/>
                  <a:gd name="T95" fmla="*/ 80 h 138"/>
                  <a:gd name="T96" fmla="*/ 34 w 170"/>
                  <a:gd name="T97" fmla="*/ 86 h 138"/>
                  <a:gd name="T98" fmla="*/ 48 w 170"/>
                  <a:gd name="T99" fmla="*/ 96 h 138"/>
                  <a:gd name="T100" fmla="*/ 68 w 170"/>
                  <a:gd name="T101" fmla="*/ 88 h 138"/>
                  <a:gd name="T102" fmla="*/ 80 w 170"/>
                  <a:gd name="T103" fmla="*/ 82 h 138"/>
                  <a:gd name="T104" fmla="*/ 82 w 170"/>
                  <a:gd name="T105" fmla="*/ 54 h 138"/>
                  <a:gd name="T106" fmla="*/ 78 w 170"/>
                  <a:gd name="T107" fmla="*/ 58 h 138"/>
                  <a:gd name="T108" fmla="*/ 72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50" y="34"/>
                    </a:lnTo>
                    <a:lnTo>
                      <a:pt x="150"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4" y="110"/>
                    </a:lnTo>
                    <a:lnTo>
                      <a:pt x="62" y="112"/>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4" y="94"/>
                    </a:lnTo>
                    <a:lnTo>
                      <a:pt x="2" y="84"/>
                    </a:lnTo>
                    <a:lnTo>
                      <a:pt x="0" y="74"/>
                    </a:lnTo>
                    <a:lnTo>
                      <a:pt x="0" y="74"/>
                    </a:lnTo>
                    <a:lnTo>
                      <a:pt x="2" y="64"/>
                    </a:lnTo>
                    <a:lnTo>
                      <a:pt x="6"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48" y="96"/>
                    </a:lnTo>
                    <a:lnTo>
                      <a:pt x="48"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4" y="90"/>
                    </a:lnTo>
                    <a:lnTo>
                      <a:pt x="40" y="86"/>
                    </a:lnTo>
                    <a:lnTo>
                      <a:pt x="40" y="86"/>
                    </a:lnTo>
                    <a:lnTo>
                      <a:pt x="38" y="84"/>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5" name="Freeform 86"/>
              <p:cNvSpPr>
                <a:spLocks/>
              </p:cNvSpPr>
              <p:nvPr/>
            </p:nvSpPr>
            <p:spPr bwMode="auto">
              <a:xfrm>
                <a:off x="1156" y="2164"/>
                <a:ext cx="188" cy="146"/>
              </a:xfrm>
              <a:custGeom>
                <a:avLst/>
                <a:gdLst>
                  <a:gd name="T0" fmla="*/ 104 w 188"/>
                  <a:gd name="T1" fmla="*/ 2 h 146"/>
                  <a:gd name="T2" fmla="*/ 84 w 188"/>
                  <a:gd name="T3" fmla="*/ 12 h 146"/>
                  <a:gd name="T4" fmla="*/ 76 w 188"/>
                  <a:gd name="T5" fmla="*/ 20 h 146"/>
                  <a:gd name="T6" fmla="*/ 70 w 188"/>
                  <a:gd name="T7" fmla="*/ 24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8 h 146"/>
                  <a:gd name="T34" fmla="*/ 6 w 188"/>
                  <a:gd name="T35" fmla="*/ 118 h 146"/>
                  <a:gd name="T36" fmla="*/ 16 w 188"/>
                  <a:gd name="T37" fmla="*/ 124 h 146"/>
                  <a:gd name="T38" fmla="*/ 20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4 w 188"/>
                  <a:gd name="T67" fmla="*/ 124 h 146"/>
                  <a:gd name="T68" fmla="*/ 120 w 188"/>
                  <a:gd name="T69" fmla="*/ 104 h 146"/>
                  <a:gd name="T70" fmla="*/ 116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8"/>
                    </a:lnTo>
                    <a:lnTo>
                      <a:pt x="4" y="112"/>
                    </a:lnTo>
                    <a:lnTo>
                      <a:pt x="4" y="112"/>
                    </a:lnTo>
                    <a:lnTo>
                      <a:pt x="6" y="118"/>
                    </a:lnTo>
                    <a:lnTo>
                      <a:pt x="10" y="120"/>
                    </a:lnTo>
                    <a:lnTo>
                      <a:pt x="10" y="120"/>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6" name="Freeform 87"/>
              <p:cNvSpPr>
                <a:spLocks/>
              </p:cNvSpPr>
              <p:nvPr/>
            </p:nvSpPr>
            <p:spPr bwMode="auto">
              <a:xfrm>
                <a:off x="1162" y="2264"/>
                <a:ext cx="18" cy="22"/>
              </a:xfrm>
              <a:custGeom>
                <a:avLst/>
                <a:gdLst>
                  <a:gd name="T0" fmla="*/ 8 w 18"/>
                  <a:gd name="T1" fmla="*/ 0 h 22"/>
                  <a:gd name="T2" fmla="*/ 8 w 18"/>
                  <a:gd name="T3" fmla="*/ 0 h 22"/>
                  <a:gd name="T4" fmla="*/ 0 w 18"/>
                  <a:gd name="T5" fmla="*/ 6 h 22"/>
                  <a:gd name="T6" fmla="*/ 0 w 18"/>
                  <a:gd name="T7" fmla="*/ 6 h 22"/>
                  <a:gd name="T8" fmla="*/ 0 w 18"/>
                  <a:gd name="T9" fmla="*/ 10 h 22"/>
                  <a:gd name="T10" fmla="*/ 0 w 18"/>
                  <a:gd name="T11" fmla="*/ 10 h 22"/>
                  <a:gd name="T12" fmla="*/ 0 w 18"/>
                  <a:gd name="T13" fmla="*/ 14 h 22"/>
                  <a:gd name="T14" fmla="*/ 4 w 18"/>
                  <a:gd name="T15" fmla="*/ 18 h 22"/>
                  <a:gd name="T16" fmla="*/ 8 w 18"/>
                  <a:gd name="T17" fmla="*/ 22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6"/>
                    </a:lnTo>
                    <a:lnTo>
                      <a:pt x="0" y="6"/>
                    </a:lnTo>
                    <a:lnTo>
                      <a:pt x="0" y="10"/>
                    </a:lnTo>
                    <a:lnTo>
                      <a:pt x="0" y="10"/>
                    </a:lnTo>
                    <a:lnTo>
                      <a:pt x="0" y="14"/>
                    </a:lnTo>
                    <a:lnTo>
                      <a:pt x="4" y="18"/>
                    </a:lnTo>
                    <a:lnTo>
                      <a:pt x="8" y="22"/>
                    </a:lnTo>
                    <a:lnTo>
                      <a:pt x="14" y="22"/>
                    </a:lnTo>
                    <a:lnTo>
                      <a:pt x="14" y="22"/>
                    </a:lnTo>
                    <a:lnTo>
                      <a:pt x="14" y="22"/>
                    </a:lnTo>
                    <a:lnTo>
                      <a:pt x="14" y="22"/>
                    </a:lnTo>
                    <a:lnTo>
                      <a:pt x="14" y="22"/>
                    </a:lnTo>
                    <a:lnTo>
                      <a:pt x="14" y="22"/>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7" name="Freeform 88"/>
              <p:cNvSpPr>
                <a:spLocks/>
              </p:cNvSpPr>
              <p:nvPr/>
            </p:nvSpPr>
            <p:spPr bwMode="auto">
              <a:xfrm>
                <a:off x="1162" y="2264"/>
                <a:ext cx="18" cy="22"/>
              </a:xfrm>
              <a:custGeom>
                <a:avLst/>
                <a:gdLst>
                  <a:gd name="T0" fmla="*/ 8 w 18"/>
                  <a:gd name="T1" fmla="*/ 0 h 22"/>
                  <a:gd name="T2" fmla="*/ 8 w 18"/>
                  <a:gd name="T3" fmla="*/ 0 h 22"/>
                  <a:gd name="T4" fmla="*/ 0 w 18"/>
                  <a:gd name="T5" fmla="*/ 6 h 22"/>
                  <a:gd name="T6" fmla="*/ 0 w 18"/>
                  <a:gd name="T7" fmla="*/ 6 h 22"/>
                  <a:gd name="T8" fmla="*/ 0 w 18"/>
                  <a:gd name="T9" fmla="*/ 10 h 22"/>
                  <a:gd name="T10" fmla="*/ 0 w 18"/>
                  <a:gd name="T11" fmla="*/ 10 h 22"/>
                  <a:gd name="T12" fmla="*/ 0 w 18"/>
                  <a:gd name="T13" fmla="*/ 14 h 22"/>
                  <a:gd name="T14" fmla="*/ 4 w 18"/>
                  <a:gd name="T15" fmla="*/ 18 h 22"/>
                  <a:gd name="T16" fmla="*/ 8 w 18"/>
                  <a:gd name="T17" fmla="*/ 22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6"/>
                    </a:lnTo>
                    <a:lnTo>
                      <a:pt x="0" y="6"/>
                    </a:lnTo>
                    <a:lnTo>
                      <a:pt x="0" y="10"/>
                    </a:lnTo>
                    <a:lnTo>
                      <a:pt x="0" y="10"/>
                    </a:lnTo>
                    <a:lnTo>
                      <a:pt x="0" y="14"/>
                    </a:lnTo>
                    <a:lnTo>
                      <a:pt x="4" y="18"/>
                    </a:lnTo>
                    <a:lnTo>
                      <a:pt x="8" y="22"/>
                    </a:lnTo>
                    <a:lnTo>
                      <a:pt x="14" y="22"/>
                    </a:lnTo>
                    <a:lnTo>
                      <a:pt x="14"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8" name="Freeform 89"/>
              <p:cNvSpPr>
                <a:spLocks/>
              </p:cNvSpPr>
              <p:nvPr/>
            </p:nvSpPr>
            <p:spPr bwMode="auto">
              <a:xfrm>
                <a:off x="1162" y="2264"/>
                <a:ext cx="14" cy="22"/>
              </a:xfrm>
              <a:custGeom>
                <a:avLst/>
                <a:gdLst>
                  <a:gd name="T0" fmla="*/ 8 w 14"/>
                  <a:gd name="T1" fmla="*/ 0 h 22"/>
                  <a:gd name="T2" fmla="*/ 8 w 14"/>
                  <a:gd name="T3" fmla="*/ 0 h 22"/>
                  <a:gd name="T4" fmla="*/ 0 w 14"/>
                  <a:gd name="T5" fmla="*/ 4 h 22"/>
                  <a:gd name="T6" fmla="*/ 0 w 14"/>
                  <a:gd name="T7" fmla="*/ 4 h 22"/>
                  <a:gd name="T8" fmla="*/ 0 w 14"/>
                  <a:gd name="T9" fmla="*/ 8 h 22"/>
                  <a:gd name="T10" fmla="*/ 0 w 14"/>
                  <a:gd name="T11" fmla="*/ 8 h 22"/>
                  <a:gd name="T12" fmla="*/ 0 w 14"/>
                  <a:gd name="T13" fmla="*/ 14 h 22"/>
                  <a:gd name="T14" fmla="*/ 4 w 14"/>
                  <a:gd name="T15" fmla="*/ 18 h 22"/>
                  <a:gd name="T16" fmla="*/ 8 w 14"/>
                  <a:gd name="T17" fmla="*/ 22 h 22"/>
                  <a:gd name="T18" fmla="*/ 12 w 14"/>
                  <a:gd name="T19" fmla="*/ 22 h 22"/>
                  <a:gd name="T20" fmla="*/ 12 w 14"/>
                  <a:gd name="T21" fmla="*/ 22 h 22"/>
                  <a:gd name="T22" fmla="*/ 14 w 14"/>
                  <a:gd name="T23" fmla="*/ 22 h 22"/>
                  <a:gd name="T24" fmla="*/ 14 w 14"/>
                  <a:gd name="T25" fmla="*/ 22 h 22"/>
                  <a:gd name="T26" fmla="*/ 14 w 14"/>
                  <a:gd name="T27" fmla="*/ 22 h 22"/>
                  <a:gd name="T28" fmla="*/ 14 w 14"/>
                  <a:gd name="T29" fmla="*/ 22 h 22"/>
                  <a:gd name="T30" fmla="*/ 14 w 14"/>
                  <a:gd name="T31" fmla="*/ 22 h 22"/>
                  <a:gd name="T32" fmla="*/ 14 w 14"/>
                  <a:gd name="T33" fmla="*/ 22 h 22"/>
                  <a:gd name="T34" fmla="*/ 14 w 14"/>
                  <a:gd name="T35" fmla="*/ 22 h 22"/>
                  <a:gd name="T36" fmla="*/ 14 w 14"/>
                  <a:gd name="T37" fmla="*/ 22 h 22"/>
                  <a:gd name="T38" fmla="*/ 8 w 14"/>
                  <a:gd name="T39" fmla="*/ 22 h 22"/>
                  <a:gd name="T40" fmla="*/ 4 w 14"/>
                  <a:gd name="T41" fmla="*/ 18 h 22"/>
                  <a:gd name="T42" fmla="*/ 0 w 14"/>
                  <a:gd name="T43" fmla="*/ 14 h 22"/>
                  <a:gd name="T44" fmla="*/ 0 w 14"/>
                  <a:gd name="T45" fmla="*/ 10 h 22"/>
                  <a:gd name="T46" fmla="*/ 0 w 14"/>
                  <a:gd name="T47" fmla="*/ 10 h 22"/>
                  <a:gd name="T48" fmla="*/ 0 w 14"/>
                  <a:gd name="T49" fmla="*/ 6 h 22"/>
                  <a:gd name="T50" fmla="*/ 0 w 14"/>
                  <a:gd name="T51" fmla="*/ 6 h 22"/>
                  <a:gd name="T52" fmla="*/ 8 w 14"/>
                  <a:gd name="T53" fmla="*/ 0 h 22"/>
                  <a:gd name="T54" fmla="*/ 8 w 14"/>
                  <a:gd name="T55" fmla="*/ 0 h 22"/>
                  <a:gd name="T56" fmla="*/ 8 w 14"/>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2">
                    <a:moveTo>
                      <a:pt x="8" y="0"/>
                    </a:moveTo>
                    <a:lnTo>
                      <a:pt x="8" y="0"/>
                    </a:lnTo>
                    <a:lnTo>
                      <a:pt x="0" y="4"/>
                    </a:lnTo>
                    <a:lnTo>
                      <a:pt x="0" y="4"/>
                    </a:lnTo>
                    <a:lnTo>
                      <a:pt x="0" y="8"/>
                    </a:lnTo>
                    <a:lnTo>
                      <a:pt x="0" y="8"/>
                    </a:lnTo>
                    <a:lnTo>
                      <a:pt x="0" y="14"/>
                    </a:lnTo>
                    <a:lnTo>
                      <a:pt x="4" y="18"/>
                    </a:lnTo>
                    <a:lnTo>
                      <a:pt x="8" y="22"/>
                    </a:lnTo>
                    <a:lnTo>
                      <a:pt x="12" y="22"/>
                    </a:lnTo>
                    <a:lnTo>
                      <a:pt x="12" y="22"/>
                    </a:lnTo>
                    <a:lnTo>
                      <a:pt x="14" y="22"/>
                    </a:lnTo>
                    <a:lnTo>
                      <a:pt x="14" y="22"/>
                    </a:lnTo>
                    <a:lnTo>
                      <a:pt x="14" y="22"/>
                    </a:lnTo>
                    <a:lnTo>
                      <a:pt x="14" y="22"/>
                    </a:lnTo>
                    <a:lnTo>
                      <a:pt x="14" y="22"/>
                    </a:lnTo>
                    <a:lnTo>
                      <a:pt x="14" y="22"/>
                    </a:lnTo>
                    <a:lnTo>
                      <a:pt x="14" y="22"/>
                    </a:lnTo>
                    <a:lnTo>
                      <a:pt x="14" y="22"/>
                    </a:lnTo>
                    <a:lnTo>
                      <a:pt x="8" y="22"/>
                    </a:lnTo>
                    <a:lnTo>
                      <a:pt x="4" y="18"/>
                    </a:lnTo>
                    <a:lnTo>
                      <a:pt x="0" y="14"/>
                    </a:lnTo>
                    <a:lnTo>
                      <a:pt x="0" y="10"/>
                    </a:lnTo>
                    <a:lnTo>
                      <a:pt x="0" y="10"/>
                    </a:lnTo>
                    <a:lnTo>
                      <a:pt x="0" y="6"/>
                    </a:lnTo>
                    <a:lnTo>
                      <a:pt x="0"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79" name="Freeform 90"/>
              <p:cNvSpPr>
                <a:spLocks/>
              </p:cNvSpPr>
              <p:nvPr/>
            </p:nvSpPr>
            <p:spPr bwMode="auto">
              <a:xfrm>
                <a:off x="1162" y="2264"/>
                <a:ext cx="14" cy="22"/>
              </a:xfrm>
              <a:custGeom>
                <a:avLst/>
                <a:gdLst>
                  <a:gd name="T0" fmla="*/ 8 w 14"/>
                  <a:gd name="T1" fmla="*/ 0 h 22"/>
                  <a:gd name="T2" fmla="*/ 8 w 14"/>
                  <a:gd name="T3" fmla="*/ 0 h 22"/>
                  <a:gd name="T4" fmla="*/ 0 w 14"/>
                  <a:gd name="T5" fmla="*/ 4 h 22"/>
                  <a:gd name="T6" fmla="*/ 0 w 14"/>
                  <a:gd name="T7" fmla="*/ 4 h 22"/>
                  <a:gd name="T8" fmla="*/ 0 w 14"/>
                  <a:gd name="T9" fmla="*/ 8 h 22"/>
                  <a:gd name="T10" fmla="*/ 0 w 14"/>
                  <a:gd name="T11" fmla="*/ 8 h 22"/>
                  <a:gd name="T12" fmla="*/ 0 w 14"/>
                  <a:gd name="T13" fmla="*/ 14 h 22"/>
                  <a:gd name="T14" fmla="*/ 4 w 14"/>
                  <a:gd name="T15" fmla="*/ 18 h 22"/>
                  <a:gd name="T16" fmla="*/ 8 w 14"/>
                  <a:gd name="T17" fmla="*/ 22 h 22"/>
                  <a:gd name="T18" fmla="*/ 12 w 14"/>
                  <a:gd name="T19" fmla="*/ 22 h 22"/>
                  <a:gd name="T20" fmla="*/ 12 w 14"/>
                  <a:gd name="T21" fmla="*/ 22 h 22"/>
                  <a:gd name="T22" fmla="*/ 14 w 14"/>
                  <a:gd name="T23" fmla="*/ 22 h 22"/>
                  <a:gd name="T24" fmla="*/ 14 w 14"/>
                  <a:gd name="T25" fmla="*/ 22 h 22"/>
                  <a:gd name="T26" fmla="*/ 14 w 14"/>
                  <a:gd name="T27" fmla="*/ 22 h 22"/>
                  <a:gd name="T28" fmla="*/ 14 w 14"/>
                  <a:gd name="T29" fmla="*/ 22 h 22"/>
                  <a:gd name="T30" fmla="*/ 14 w 14"/>
                  <a:gd name="T31" fmla="*/ 22 h 22"/>
                  <a:gd name="T32" fmla="*/ 14 w 14"/>
                  <a:gd name="T33" fmla="*/ 22 h 22"/>
                  <a:gd name="T34" fmla="*/ 14 w 14"/>
                  <a:gd name="T35" fmla="*/ 22 h 22"/>
                  <a:gd name="T36" fmla="*/ 14 w 14"/>
                  <a:gd name="T37" fmla="*/ 22 h 22"/>
                  <a:gd name="T38" fmla="*/ 8 w 14"/>
                  <a:gd name="T39" fmla="*/ 22 h 22"/>
                  <a:gd name="T40" fmla="*/ 4 w 14"/>
                  <a:gd name="T41" fmla="*/ 18 h 22"/>
                  <a:gd name="T42" fmla="*/ 0 w 14"/>
                  <a:gd name="T43" fmla="*/ 14 h 22"/>
                  <a:gd name="T44" fmla="*/ 0 w 14"/>
                  <a:gd name="T45" fmla="*/ 10 h 22"/>
                  <a:gd name="T46" fmla="*/ 0 w 14"/>
                  <a:gd name="T47" fmla="*/ 10 h 22"/>
                  <a:gd name="T48" fmla="*/ 0 w 14"/>
                  <a:gd name="T49" fmla="*/ 6 h 22"/>
                  <a:gd name="T50" fmla="*/ 0 w 14"/>
                  <a:gd name="T51" fmla="*/ 6 h 22"/>
                  <a:gd name="T52" fmla="*/ 8 w 14"/>
                  <a:gd name="T53" fmla="*/ 0 h 22"/>
                  <a:gd name="T54" fmla="*/ 8 w 14"/>
                  <a:gd name="T55" fmla="*/ 0 h 22"/>
                  <a:gd name="T56" fmla="*/ 8 w 14"/>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2">
                    <a:moveTo>
                      <a:pt x="8" y="0"/>
                    </a:moveTo>
                    <a:lnTo>
                      <a:pt x="8" y="0"/>
                    </a:lnTo>
                    <a:lnTo>
                      <a:pt x="0" y="4"/>
                    </a:lnTo>
                    <a:lnTo>
                      <a:pt x="0" y="4"/>
                    </a:lnTo>
                    <a:lnTo>
                      <a:pt x="0" y="8"/>
                    </a:lnTo>
                    <a:lnTo>
                      <a:pt x="0" y="8"/>
                    </a:lnTo>
                    <a:lnTo>
                      <a:pt x="0" y="14"/>
                    </a:lnTo>
                    <a:lnTo>
                      <a:pt x="4" y="18"/>
                    </a:lnTo>
                    <a:lnTo>
                      <a:pt x="8" y="22"/>
                    </a:lnTo>
                    <a:lnTo>
                      <a:pt x="12" y="22"/>
                    </a:lnTo>
                    <a:lnTo>
                      <a:pt x="12" y="22"/>
                    </a:lnTo>
                    <a:lnTo>
                      <a:pt x="14" y="22"/>
                    </a:lnTo>
                    <a:lnTo>
                      <a:pt x="14" y="22"/>
                    </a:lnTo>
                    <a:lnTo>
                      <a:pt x="14" y="22"/>
                    </a:lnTo>
                    <a:lnTo>
                      <a:pt x="14" y="22"/>
                    </a:lnTo>
                    <a:lnTo>
                      <a:pt x="14" y="22"/>
                    </a:lnTo>
                    <a:lnTo>
                      <a:pt x="14" y="22"/>
                    </a:lnTo>
                    <a:lnTo>
                      <a:pt x="14" y="22"/>
                    </a:lnTo>
                    <a:lnTo>
                      <a:pt x="14" y="22"/>
                    </a:lnTo>
                    <a:lnTo>
                      <a:pt x="8" y="22"/>
                    </a:lnTo>
                    <a:lnTo>
                      <a:pt x="4" y="18"/>
                    </a:lnTo>
                    <a:lnTo>
                      <a:pt x="0" y="14"/>
                    </a:lnTo>
                    <a:lnTo>
                      <a:pt x="0" y="10"/>
                    </a:lnTo>
                    <a:lnTo>
                      <a:pt x="0" y="10"/>
                    </a:lnTo>
                    <a:lnTo>
                      <a:pt x="0" y="6"/>
                    </a:lnTo>
                    <a:lnTo>
                      <a:pt x="0"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0" name="Freeform 91"/>
              <p:cNvSpPr>
                <a:spLocks/>
              </p:cNvSpPr>
              <p:nvPr/>
            </p:nvSpPr>
            <p:spPr bwMode="auto">
              <a:xfrm>
                <a:off x="1260" y="2268"/>
                <a:ext cx="16" cy="26"/>
              </a:xfrm>
              <a:custGeom>
                <a:avLst/>
                <a:gdLst>
                  <a:gd name="T0" fmla="*/ 12 w 16"/>
                  <a:gd name="T1" fmla="*/ 0 h 26"/>
                  <a:gd name="T2" fmla="*/ 12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4 w 16"/>
                  <a:gd name="T25" fmla="*/ 26 h 26"/>
                  <a:gd name="T26" fmla="*/ 14 w 16"/>
                  <a:gd name="T27" fmla="*/ 26 h 26"/>
                  <a:gd name="T28" fmla="*/ 16 w 16"/>
                  <a:gd name="T29" fmla="*/ 24 h 26"/>
                  <a:gd name="T30" fmla="*/ 16 w 16"/>
                  <a:gd name="T31" fmla="*/ 24 h 26"/>
                  <a:gd name="T32" fmla="*/ 16 w 16"/>
                  <a:gd name="T33" fmla="*/ 8 h 26"/>
                  <a:gd name="T34" fmla="*/ 16 w 16"/>
                  <a:gd name="T35" fmla="*/ 8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2" y="20"/>
                    </a:lnTo>
                    <a:lnTo>
                      <a:pt x="2" y="20"/>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1" name="Freeform 92"/>
              <p:cNvSpPr>
                <a:spLocks/>
              </p:cNvSpPr>
              <p:nvPr/>
            </p:nvSpPr>
            <p:spPr bwMode="auto">
              <a:xfrm>
                <a:off x="1260" y="2268"/>
                <a:ext cx="16" cy="26"/>
              </a:xfrm>
              <a:custGeom>
                <a:avLst/>
                <a:gdLst>
                  <a:gd name="T0" fmla="*/ 12 w 16"/>
                  <a:gd name="T1" fmla="*/ 0 h 26"/>
                  <a:gd name="T2" fmla="*/ 12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4 w 16"/>
                  <a:gd name="T25" fmla="*/ 26 h 26"/>
                  <a:gd name="T26" fmla="*/ 14 w 16"/>
                  <a:gd name="T27" fmla="*/ 26 h 26"/>
                  <a:gd name="T28" fmla="*/ 16 w 16"/>
                  <a:gd name="T29" fmla="*/ 24 h 26"/>
                  <a:gd name="T30" fmla="*/ 16 w 16"/>
                  <a:gd name="T31" fmla="*/ 24 h 26"/>
                  <a:gd name="T32" fmla="*/ 16 w 16"/>
                  <a:gd name="T33" fmla="*/ 8 h 26"/>
                  <a:gd name="T34" fmla="*/ 16 w 16"/>
                  <a:gd name="T35" fmla="*/ 8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2" y="20"/>
                    </a:lnTo>
                    <a:lnTo>
                      <a:pt x="2" y="20"/>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2" name="Freeform 93"/>
              <p:cNvSpPr>
                <a:spLocks noEditPoints="1"/>
              </p:cNvSpPr>
              <p:nvPr/>
            </p:nvSpPr>
            <p:spPr bwMode="auto">
              <a:xfrm>
                <a:off x="1258" y="2268"/>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2 w 18"/>
                  <a:gd name="T13" fmla="*/ 26 h 26"/>
                  <a:gd name="T14" fmla="*/ 2 w 18"/>
                  <a:gd name="T15" fmla="*/ 26 h 26"/>
                  <a:gd name="T16" fmla="*/ 4 w 18"/>
                  <a:gd name="T17" fmla="*/ 20 h 26"/>
                  <a:gd name="T18" fmla="*/ 16 w 18"/>
                  <a:gd name="T19" fmla="*/ 0 h 26"/>
                  <a:gd name="T20" fmla="*/ 16 w 18"/>
                  <a:gd name="T21" fmla="*/ 0 h 26"/>
                  <a:gd name="T22" fmla="*/ 14 w 18"/>
                  <a:gd name="T23" fmla="*/ 0 h 26"/>
                  <a:gd name="T24" fmla="*/ 14 w 18"/>
                  <a:gd name="T25" fmla="*/ 0 h 26"/>
                  <a:gd name="T26" fmla="*/ 18 w 18"/>
                  <a:gd name="T27" fmla="*/ 8 h 26"/>
                  <a:gd name="T28" fmla="*/ 18 w 18"/>
                  <a:gd name="T29" fmla="*/ 8 h 26"/>
                  <a:gd name="T30" fmla="*/ 18 w 18"/>
                  <a:gd name="T31" fmla="*/ 24 h 26"/>
                  <a:gd name="T32" fmla="*/ 18 w 18"/>
                  <a:gd name="T33" fmla="*/ 24 h 26"/>
                  <a:gd name="T34" fmla="*/ 16 w 18"/>
                  <a:gd name="T35" fmla="*/ 26 h 26"/>
                  <a:gd name="T36" fmla="*/ 16 w 18"/>
                  <a:gd name="T37" fmla="*/ 26 h 26"/>
                  <a:gd name="T38" fmla="*/ 12 w 18"/>
                  <a:gd name="T39" fmla="*/ 26 h 26"/>
                  <a:gd name="T40" fmla="*/ 12 w 18"/>
                  <a:gd name="T41" fmla="*/ 26 h 26"/>
                  <a:gd name="T42" fmla="*/ 12 w 18"/>
                  <a:gd name="T43" fmla="*/ 26 h 26"/>
                  <a:gd name="T44" fmla="*/ 12 w 18"/>
                  <a:gd name="T45" fmla="*/ 26 h 26"/>
                  <a:gd name="T46" fmla="*/ 12 w 18"/>
                  <a:gd name="T47" fmla="*/ 26 h 26"/>
                  <a:gd name="T48" fmla="*/ 12 w 18"/>
                  <a:gd name="T49" fmla="*/ 26 h 26"/>
                  <a:gd name="T50" fmla="*/ 16 w 18"/>
                  <a:gd name="T51" fmla="*/ 26 h 26"/>
                  <a:gd name="T52" fmla="*/ 16 w 18"/>
                  <a:gd name="T53" fmla="*/ 26 h 26"/>
                  <a:gd name="T54" fmla="*/ 18 w 18"/>
                  <a:gd name="T55" fmla="*/ 24 h 26"/>
                  <a:gd name="T56" fmla="*/ 18 w 18"/>
                  <a:gd name="T57" fmla="*/ 24 h 26"/>
                  <a:gd name="T58" fmla="*/ 18 w 18"/>
                  <a:gd name="T59" fmla="*/ 8 h 26"/>
                  <a:gd name="T60" fmla="*/ 18 w 18"/>
                  <a:gd name="T61" fmla="*/ 8 h 26"/>
                  <a:gd name="T62" fmla="*/ 16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8" y="26"/>
                    </a:lnTo>
                    <a:lnTo>
                      <a:pt x="8" y="26"/>
                    </a:lnTo>
                    <a:lnTo>
                      <a:pt x="2" y="26"/>
                    </a:lnTo>
                    <a:lnTo>
                      <a:pt x="2" y="26"/>
                    </a:lnTo>
                    <a:lnTo>
                      <a:pt x="4" y="20"/>
                    </a:lnTo>
                    <a:close/>
                    <a:moveTo>
                      <a:pt x="16" y="0"/>
                    </a:moveTo>
                    <a:lnTo>
                      <a:pt x="16" y="0"/>
                    </a:lnTo>
                    <a:lnTo>
                      <a:pt x="14" y="0"/>
                    </a:lnTo>
                    <a:lnTo>
                      <a:pt x="14" y="0"/>
                    </a:lnTo>
                    <a:lnTo>
                      <a:pt x="18" y="8"/>
                    </a:lnTo>
                    <a:lnTo>
                      <a:pt x="18" y="8"/>
                    </a:lnTo>
                    <a:lnTo>
                      <a:pt x="18" y="24"/>
                    </a:lnTo>
                    <a:lnTo>
                      <a:pt x="18" y="24"/>
                    </a:lnTo>
                    <a:lnTo>
                      <a:pt x="16" y="26"/>
                    </a:lnTo>
                    <a:lnTo>
                      <a:pt x="16" y="26"/>
                    </a:lnTo>
                    <a:lnTo>
                      <a:pt x="12" y="26"/>
                    </a:lnTo>
                    <a:lnTo>
                      <a:pt x="12" y="26"/>
                    </a:lnTo>
                    <a:lnTo>
                      <a:pt x="12" y="26"/>
                    </a:lnTo>
                    <a:lnTo>
                      <a:pt x="12" y="26"/>
                    </a:lnTo>
                    <a:lnTo>
                      <a:pt x="12" y="26"/>
                    </a:lnTo>
                    <a:lnTo>
                      <a:pt x="12" y="26"/>
                    </a:lnTo>
                    <a:lnTo>
                      <a:pt x="16" y="26"/>
                    </a:lnTo>
                    <a:lnTo>
                      <a:pt x="16" y="26"/>
                    </a:lnTo>
                    <a:lnTo>
                      <a:pt x="18" y="24"/>
                    </a:lnTo>
                    <a:lnTo>
                      <a:pt x="18" y="24"/>
                    </a:lnTo>
                    <a:lnTo>
                      <a:pt x="18" y="8"/>
                    </a:lnTo>
                    <a:lnTo>
                      <a:pt x="18" y="8"/>
                    </a:lnTo>
                    <a:lnTo>
                      <a:pt x="1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3" name="Freeform 94"/>
              <p:cNvSpPr>
                <a:spLocks/>
              </p:cNvSpPr>
              <p:nvPr/>
            </p:nvSpPr>
            <p:spPr bwMode="auto">
              <a:xfrm>
                <a:off x="1258" y="2288"/>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2 w 8"/>
                  <a:gd name="T13" fmla="*/ 6 h 6"/>
                  <a:gd name="T14" fmla="*/ 2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2" y="6"/>
                    </a:lnTo>
                    <a:lnTo>
                      <a:pt x="2"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4" name="Freeform 95"/>
              <p:cNvSpPr>
                <a:spLocks/>
              </p:cNvSpPr>
              <p:nvPr/>
            </p:nvSpPr>
            <p:spPr bwMode="auto">
              <a:xfrm>
                <a:off x="1270" y="2268"/>
                <a:ext cx="6" cy="26"/>
              </a:xfrm>
              <a:custGeom>
                <a:avLst/>
                <a:gdLst>
                  <a:gd name="T0" fmla="*/ 4 w 6"/>
                  <a:gd name="T1" fmla="*/ 0 h 26"/>
                  <a:gd name="T2" fmla="*/ 4 w 6"/>
                  <a:gd name="T3" fmla="*/ 0 h 26"/>
                  <a:gd name="T4" fmla="*/ 2 w 6"/>
                  <a:gd name="T5" fmla="*/ 0 h 26"/>
                  <a:gd name="T6" fmla="*/ 2 w 6"/>
                  <a:gd name="T7" fmla="*/ 0 h 26"/>
                  <a:gd name="T8" fmla="*/ 6 w 6"/>
                  <a:gd name="T9" fmla="*/ 8 h 26"/>
                  <a:gd name="T10" fmla="*/ 6 w 6"/>
                  <a:gd name="T11" fmla="*/ 8 h 26"/>
                  <a:gd name="T12" fmla="*/ 6 w 6"/>
                  <a:gd name="T13" fmla="*/ 24 h 26"/>
                  <a:gd name="T14" fmla="*/ 6 w 6"/>
                  <a:gd name="T15" fmla="*/ 24 h 26"/>
                  <a:gd name="T16" fmla="*/ 4 w 6"/>
                  <a:gd name="T17" fmla="*/ 26 h 26"/>
                  <a:gd name="T18" fmla="*/ 4 w 6"/>
                  <a:gd name="T19" fmla="*/ 26 h 26"/>
                  <a:gd name="T20" fmla="*/ 0 w 6"/>
                  <a:gd name="T21" fmla="*/ 26 h 26"/>
                  <a:gd name="T22" fmla="*/ 0 w 6"/>
                  <a:gd name="T23" fmla="*/ 26 h 26"/>
                  <a:gd name="T24" fmla="*/ 0 w 6"/>
                  <a:gd name="T25" fmla="*/ 26 h 26"/>
                  <a:gd name="T26" fmla="*/ 0 w 6"/>
                  <a:gd name="T27" fmla="*/ 26 h 26"/>
                  <a:gd name="T28" fmla="*/ 0 w 6"/>
                  <a:gd name="T29" fmla="*/ 26 h 26"/>
                  <a:gd name="T30" fmla="*/ 0 w 6"/>
                  <a:gd name="T31" fmla="*/ 26 h 26"/>
                  <a:gd name="T32" fmla="*/ 4 w 6"/>
                  <a:gd name="T33" fmla="*/ 26 h 26"/>
                  <a:gd name="T34" fmla="*/ 4 w 6"/>
                  <a:gd name="T35" fmla="*/ 26 h 26"/>
                  <a:gd name="T36" fmla="*/ 6 w 6"/>
                  <a:gd name="T37" fmla="*/ 24 h 26"/>
                  <a:gd name="T38" fmla="*/ 6 w 6"/>
                  <a:gd name="T39" fmla="*/ 24 h 26"/>
                  <a:gd name="T40" fmla="*/ 6 w 6"/>
                  <a:gd name="T41" fmla="*/ 8 h 26"/>
                  <a:gd name="T42" fmla="*/ 6 w 6"/>
                  <a:gd name="T43" fmla="*/ 8 h 26"/>
                  <a:gd name="T44" fmla="*/ 4 w 6"/>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26">
                    <a:moveTo>
                      <a:pt x="4" y="0"/>
                    </a:moveTo>
                    <a:lnTo>
                      <a:pt x="4" y="0"/>
                    </a:lnTo>
                    <a:lnTo>
                      <a:pt x="2" y="0"/>
                    </a:lnTo>
                    <a:lnTo>
                      <a:pt x="2" y="0"/>
                    </a:lnTo>
                    <a:lnTo>
                      <a:pt x="6" y="8"/>
                    </a:lnTo>
                    <a:lnTo>
                      <a:pt x="6" y="8"/>
                    </a:lnTo>
                    <a:lnTo>
                      <a:pt x="6" y="24"/>
                    </a:lnTo>
                    <a:lnTo>
                      <a:pt x="6" y="24"/>
                    </a:lnTo>
                    <a:lnTo>
                      <a:pt x="4" y="26"/>
                    </a:lnTo>
                    <a:lnTo>
                      <a:pt x="4" y="26"/>
                    </a:lnTo>
                    <a:lnTo>
                      <a:pt x="0" y="26"/>
                    </a:lnTo>
                    <a:lnTo>
                      <a:pt x="0" y="26"/>
                    </a:lnTo>
                    <a:lnTo>
                      <a:pt x="0" y="26"/>
                    </a:lnTo>
                    <a:lnTo>
                      <a:pt x="0" y="26"/>
                    </a:lnTo>
                    <a:lnTo>
                      <a:pt x="0" y="26"/>
                    </a:lnTo>
                    <a:lnTo>
                      <a:pt x="0" y="26"/>
                    </a:lnTo>
                    <a:lnTo>
                      <a:pt x="4" y="26"/>
                    </a:lnTo>
                    <a:lnTo>
                      <a:pt x="4" y="26"/>
                    </a:lnTo>
                    <a:lnTo>
                      <a:pt x="6" y="24"/>
                    </a:lnTo>
                    <a:lnTo>
                      <a:pt x="6"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5" name="Freeform 96"/>
              <p:cNvSpPr>
                <a:spLocks/>
              </p:cNvSpPr>
              <p:nvPr/>
            </p:nvSpPr>
            <p:spPr bwMode="auto">
              <a:xfrm>
                <a:off x="1158" y="2214"/>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4 w 12"/>
                  <a:gd name="T19" fmla="*/ 18 h 20"/>
                  <a:gd name="T20" fmla="*/ 4 w 12"/>
                  <a:gd name="T21" fmla="*/ 18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4 w 12"/>
                  <a:gd name="T47" fmla="*/ 16 h 20"/>
                  <a:gd name="T48" fmla="*/ 4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4" y="18"/>
                    </a:lnTo>
                    <a:lnTo>
                      <a:pt x="4" y="18"/>
                    </a:lnTo>
                    <a:lnTo>
                      <a:pt x="6" y="20"/>
                    </a:lnTo>
                    <a:lnTo>
                      <a:pt x="6" y="20"/>
                    </a:lnTo>
                    <a:lnTo>
                      <a:pt x="10" y="18"/>
                    </a:lnTo>
                    <a:lnTo>
                      <a:pt x="10" y="18"/>
                    </a:lnTo>
                    <a:lnTo>
                      <a:pt x="12" y="14"/>
                    </a:lnTo>
                    <a:lnTo>
                      <a:pt x="12" y="14"/>
                    </a:lnTo>
                    <a:lnTo>
                      <a:pt x="10" y="14"/>
                    </a:lnTo>
                    <a:lnTo>
                      <a:pt x="10" y="14"/>
                    </a:lnTo>
                    <a:lnTo>
                      <a:pt x="8" y="16"/>
                    </a:lnTo>
                    <a:lnTo>
                      <a:pt x="8" y="16"/>
                    </a:lnTo>
                    <a:lnTo>
                      <a:pt x="6" y="16"/>
                    </a:lnTo>
                    <a:lnTo>
                      <a:pt x="6" y="16"/>
                    </a:lnTo>
                    <a:lnTo>
                      <a:pt x="4" y="16"/>
                    </a:lnTo>
                    <a:lnTo>
                      <a:pt x="4" y="16"/>
                    </a:lnTo>
                    <a:lnTo>
                      <a:pt x="4" y="12"/>
                    </a:lnTo>
                    <a:lnTo>
                      <a:pt x="4" y="12"/>
                    </a:lnTo>
                    <a:lnTo>
                      <a:pt x="8" y="0"/>
                    </a:lnTo>
                    <a:lnTo>
                      <a:pt x="8" y="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6" name="Freeform 97"/>
              <p:cNvSpPr>
                <a:spLocks/>
              </p:cNvSpPr>
              <p:nvPr/>
            </p:nvSpPr>
            <p:spPr bwMode="auto">
              <a:xfrm>
                <a:off x="1158" y="2214"/>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4 w 12"/>
                  <a:gd name="T19" fmla="*/ 18 h 20"/>
                  <a:gd name="T20" fmla="*/ 4 w 12"/>
                  <a:gd name="T21" fmla="*/ 18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4 w 12"/>
                  <a:gd name="T47" fmla="*/ 16 h 20"/>
                  <a:gd name="T48" fmla="*/ 4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4" y="18"/>
                    </a:lnTo>
                    <a:lnTo>
                      <a:pt x="4" y="18"/>
                    </a:lnTo>
                    <a:lnTo>
                      <a:pt x="6" y="20"/>
                    </a:lnTo>
                    <a:lnTo>
                      <a:pt x="6" y="20"/>
                    </a:lnTo>
                    <a:lnTo>
                      <a:pt x="10" y="18"/>
                    </a:lnTo>
                    <a:lnTo>
                      <a:pt x="10" y="18"/>
                    </a:lnTo>
                    <a:lnTo>
                      <a:pt x="12" y="14"/>
                    </a:lnTo>
                    <a:lnTo>
                      <a:pt x="12" y="14"/>
                    </a:lnTo>
                    <a:lnTo>
                      <a:pt x="10" y="14"/>
                    </a:lnTo>
                    <a:lnTo>
                      <a:pt x="10" y="14"/>
                    </a:lnTo>
                    <a:lnTo>
                      <a:pt x="8" y="16"/>
                    </a:lnTo>
                    <a:lnTo>
                      <a:pt x="8" y="16"/>
                    </a:lnTo>
                    <a:lnTo>
                      <a:pt x="6" y="16"/>
                    </a:lnTo>
                    <a:lnTo>
                      <a:pt x="6" y="16"/>
                    </a:lnTo>
                    <a:lnTo>
                      <a:pt x="4" y="16"/>
                    </a:lnTo>
                    <a:lnTo>
                      <a:pt x="4" y="16"/>
                    </a:lnTo>
                    <a:lnTo>
                      <a:pt x="4" y="12"/>
                    </a:lnTo>
                    <a:lnTo>
                      <a:pt x="4" y="1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7" name="Freeform 98"/>
              <p:cNvSpPr>
                <a:spLocks noEditPoints="1"/>
              </p:cNvSpPr>
              <p:nvPr/>
            </p:nvSpPr>
            <p:spPr bwMode="auto">
              <a:xfrm>
                <a:off x="1162" y="2214"/>
                <a:ext cx="8" cy="20"/>
              </a:xfrm>
              <a:custGeom>
                <a:avLst/>
                <a:gdLst>
                  <a:gd name="T0" fmla="*/ 6 w 8"/>
                  <a:gd name="T1" fmla="*/ 18 h 20"/>
                  <a:gd name="T2" fmla="*/ 6 w 8"/>
                  <a:gd name="T3" fmla="*/ 18 h 20"/>
                  <a:gd name="T4" fmla="*/ 2 w 8"/>
                  <a:gd name="T5" fmla="*/ 20 h 20"/>
                  <a:gd name="T6" fmla="*/ 2 w 8"/>
                  <a:gd name="T7" fmla="*/ 20 h 20"/>
                  <a:gd name="T8" fmla="*/ 0 w 8"/>
                  <a:gd name="T9" fmla="*/ 18 h 20"/>
                  <a:gd name="T10" fmla="*/ 0 w 8"/>
                  <a:gd name="T11" fmla="*/ 18 h 20"/>
                  <a:gd name="T12" fmla="*/ 0 w 8"/>
                  <a:gd name="T13" fmla="*/ 18 h 20"/>
                  <a:gd name="T14" fmla="*/ 0 w 8"/>
                  <a:gd name="T15" fmla="*/ 18 h 20"/>
                  <a:gd name="T16" fmla="*/ 2 w 8"/>
                  <a:gd name="T17" fmla="*/ 20 h 20"/>
                  <a:gd name="T18" fmla="*/ 2 w 8"/>
                  <a:gd name="T19" fmla="*/ 20 h 20"/>
                  <a:gd name="T20" fmla="*/ 2 w 8"/>
                  <a:gd name="T21" fmla="*/ 20 h 20"/>
                  <a:gd name="T22" fmla="*/ 2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2 h 20"/>
                  <a:gd name="T46" fmla="*/ 0 w 8"/>
                  <a:gd name="T47" fmla="*/ 12 h 20"/>
                  <a:gd name="T48" fmla="*/ 0 w 8"/>
                  <a:gd name="T49" fmla="*/ 16 h 20"/>
                  <a:gd name="T50" fmla="*/ 0 w 8"/>
                  <a:gd name="T51" fmla="*/ 16 h 20"/>
                  <a:gd name="T52" fmla="*/ 2 w 8"/>
                  <a:gd name="T53" fmla="*/ 16 h 20"/>
                  <a:gd name="T54" fmla="*/ 2 w 8"/>
                  <a:gd name="T55" fmla="*/ 16 h 20"/>
                  <a:gd name="T56" fmla="*/ 2 w 8"/>
                  <a:gd name="T57" fmla="*/ 16 h 20"/>
                  <a:gd name="T58" fmla="*/ 2 w 8"/>
                  <a:gd name="T59" fmla="*/ 16 h 20"/>
                  <a:gd name="T60" fmla="*/ 0 w 8"/>
                  <a:gd name="T61" fmla="*/ 12 h 20"/>
                  <a:gd name="T62" fmla="*/ 0 w 8"/>
                  <a:gd name="T63" fmla="*/ 12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2" y="20"/>
                    </a:lnTo>
                    <a:lnTo>
                      <a:pt x="2" y="20"/>
                    </a:lnTo>
                    <a:lnTo>
                      <a:pt x="0" y="18"/>
                    </a:lnTo>
                    <a:lnTo>
                      <a:pt x="0" y="18"/>
                    </a:lnTo>
                    <a:lnTo>
                      <a:pt x="0" y="18"/>
                    </a:lnTo>
                    <a:lnTo>
                      <a:pt x="0" y="18"/>
                    </a:lnTo>
                    <a:lnTo>
                      <a:pt x="2" y="20"/>
                    </a:lnTo>
                    <a:lnTo>
                      <a:pt x="2" y="20"/>
                    </a:lnTo>
                    <a:lnTo>
                      <a:pt x="2" y="20"/>
                    </a:lnTo>
                    <a:lnTo>
                      <a:pt x="2" y="20"/>
                    </a:lnTo>
                    <a:lnTo>
                      <a:pt x="6" y="18"/>
                    </a:lnTo>
                    <a:close/>
                    <a:moveTo>
                      <a:pt x="8" y="14"/>
                    </a:moveTo>
                    <a:lnTo>
                      <a:pt x="8" y="14"/>
                    </a:lnTo>
                    <a:lnTo>
                      <a:pt x="6" y="14"/>
                    </a:lnTo>
                    <a:lnTo>
                      <a:pt x="6" y="14"/>
                    </a:lnTo>
                    <a:lnTo>
                      <a:pt x="8" y="14"/>
                    </a:lnTo>
                    <a:lnTo>
                      <a:pt x="8" y="14"/>
                    </a:lnTo>
                    <a:lnTo>
                      <a:pt x="8" y="14"/>
                    </a:lnTo>
                    <a:close/>
                    <a:moveTo>
                      <a:pt x="4" y="0"/>
                    </a:moveTo>
                    <a:lnTo>
                      <a:pt x="4" y="0"/>
                    </a:lnTo>
                    <a:lnTo>
                      <a:pt x="0" y="12"/>
                    </a:lnTo>
                    <a:lnTo>
                      <a:pt x="0" y="12"/>
                    </a:lnTo>
                    <a:lnTo>
                      <a:pt x="0" y="16"/>
                    </a:lnTo>
                    <a:lnTo>
                      <a:pt x="0" y="16"/>
                    </a:lnTo>
                    <a:lnTo>
                      <a:pt x="2" y="16"/>
                    </a:lnTo>
                    <a:lnTo>
                      <a:pt x="2" y="16"/>
                    </a:lnTo>
                    <a:lnTo>
                      <a:pt x="2" y="16"/>
                    </a:lnTo>
                    <a:lnTo>
                      <a:pt x="2" y="16"/>
                    </a:lnTo>
                    <a:lnTo>
                      <a:pt x="0" y="12"/>
                    </a:lnTo>
                    <a:lnTo>
                      <a:pt x="0" y="12"/>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8" name="Freeform 99"/>
              <p:cNvSpPr>
                <a:spLocks/>
              </p:cNvSpPr>
              <p:nvPr/>
            </p:nvSpPr>
            <p:spPr bwMode="auto">
              <a:xfrm>
                <a:off x="1162" y="2232"/>
                <a:ext cx="6" cy="2"/>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2 w 6"/>
                  <a:gd name="T17" fmla="*/ 2 h 2"/>
                  <a:gd name="T18" fmla="*/ 2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2" y="2"/>
                    </a:lnTo>
                    <a:lnTo>
                      <a:pt x="2"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89" name="Freeform 100"/>
              <p:cNvSpPr>
                <a:spLocks/>
              </p:cNvSpPr>
              <p:nvPr/>
            </p:nvSpPr>
            <p:spPr bwMode="auto">
              <a:xfrm>
                <a:off x="1168" y="2228"/>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0" name="Freeform 101"/>
              <p:cNvSpPr>
                <a:spLocks/>
              </p:cNvSpPr>
              <p:nvPr/>
            </p:nvSpPr>
            <p:spPr bwMode="auto">
              <a:xfrm>
                <a:off x="1162" y="2214"/>
                <a:ext cx="4" cy="16"/>
              </a:xfrm>
              <a:custGeom>
                <a:avLst/>
                <a:gdLst>
                  <a:gd name="T0" fmla="*/ 4 w 4"/>
                  <a:gd name="T1" fmla="*/ 0 h 16"/>
                  <a:gd name="T2" fmla="*/ 4 w 4"/>
                  <a:gd name="T3" fmla="*/ 0 h 16"/>
                  <a:gd name="T4" fmla="*/ 0 w 4"/>
                  <a:gd name="T5" fmla="*/ 12 h 16"/>
                  <a:gd name="T6" fmla="*/ 0 w 4"/>
                  <a:gd name="T7" fmla="*/ 12 h 16"/>
                  <a:gd name="T8" fmla="*/ 0 w 4"/>
                  <a:gd name="T9" fmla="*/ 16 h 16"/>
                  <a:gd name="T10" fmla="*/ 0 w 4"/>
                  <a:gd name="T11" fmla="*/ 16 h 16"/>
                  <a:gd name="T12" fmla="*/ 2 w 4"/>
                  <a:gd name="T13" fmla="*/ 16 h 16"/>
                  <a:gd name="T14" fmla="*/ 2 w 4"/>
                  <a:gd name="T15" fmla="*/ 16 h 16"/>
                  <a:gd name="T16" fmla="*/ 2 w 4"/>
                  <a:gd name="T17" fmla="*/ 16 h 16"/>
                  <a:gd name="T18" fmla="*/ 2 w 4"/>
                  <a:gd name="T19" fmla="*/ 16 h 16"/>
                  <a:gd name="T20" fmla="*/ 0 w 4"/>
                  <a:gd name="T21" fmla="*/ 12 h 16"/>
                  <a:gd name="T22" fmla="*/ 0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0" y="16"/>
                    </a:lnTo>
                    <a:lnTo>
                      <a:pt x="0"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1" name="Freeform 102"/>
              <p:cNvSpPr>
                <a:spLocks/>
              </p:cNvSpPr>
              <p:nvPr/>
            </p:nvSpPr>
            <p:spPr bwMode="auto">
              <a:xfrm>
                <a:off x="1164" y="22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2" name="Freeform 103"/>
              <p:cNvSpPr>
                <a:spLocks noEditPoints="1"/>
              </p:cNvSpPr>
              <p:nvPr/>
            </p:nvSpPr>
            <p:spPr bwMode="auto">
              <a:xfrm>
                <a:off x="1272" y="2202"/>
                <a:ext cx="20" cy="14"/>
              </a:xfrm>
              <a:custGeom>
                <a:avLst/>
                <a:gdLst>
                  <a:gd name="T0" fmla="*/ 8 w 20"/>
                  <a:gd name="T1" fmla="*/ 8 h 14"/>
                  <a:gd name="T2" fmla="*/ 8 w 20"/>
                  <a:gd name="T3" fmla="*/ 8 h 14"/>
                  <a:gd name="T4" fmla="*/ 8 w 20"/>
                  <a:gd name="T5" fmla="*/ 8 h 14"/>
                  <a:gd name="T6" fmla="*/ 8 w 20"/>
                  <a:gd name="T7" fmla="*/ 8 h 14"/>
                  <a:gd name="T8" fmla="*/ 10 w 20"/>
                  <a:gd name="T9" fmla="*/ 8 h 14"/>
                  <a:gd name="T10" fmla="*/ 10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2 h 14"/>
                  <a:gd name="T26" fmla="*/ 8 w 20"/>
                  <a:gd name="T27" fmla="*/ 12 h 14"/>
                  <a:gd name="T28" fmla="*/ 8 w 20"/>
                  <a:gd name="T29" fmla="*/ 12 h 14"/>
                  <a:gd name="T30" fmla="*/ 8 w 20"/>
                  <a:gd name="T31" fmla="*/ 12 h 14"/>
                  <a:gd name="T32" fmla="*/ 8 w 20"/>
                  <a:gd name="T33" fmla="*/ 12 h 14"/>
                  <a:gd name="T34" fmla="*/ 6 w 20"/>
                  <a:gd name="T35" fmla="*/ 10 h 14"/>
                  <a:gd name="T36" fmla="*/ 6 w 20"/>
                  <a:gd name="T37" fmla="*/ 10 h 14"/>
                  <a:gd name="T38" fmla="*/ 8 w 20"/>
                  <a:gd name="T39" fmla="*/ 8 h 14"/>
                  <a:gd name="T40" fmla="*/ 8 w 20"/>
                  <a:gd name="T41" fmla="*/ 8 h 14"/>
                  <a:gd name="T42" fmla="*/ 8 w 20"/>
                  <a:gd name="T43" fmla="*/ 8 h 14"/>
                  <a:gd name="T44" fmla="*/ 14 w 20"/>
                  <a:gd name="T45" fmla="*/ 0 h 14"/>
                  <a:gd name="T46" fmla="*/ 14 w 20"/>
                  <a:gd name="T47" fmla="*/ 0 h 14"/>
                  <a:gd name="T48" fmla="*/ 6 w 20"/>
                  <a:gd name="T49" fmla="*/ 4 h 14"/>
                  <a:gd name="T50" fmla="*/ 0 w 20"/>
                  <a:gd name="T51" fmla="*/ 10 h 14"/>
                  <a:gd name="T52" fmla="*/ 0 w 20"/>
                  <a:gd name="T53" fmla="*/ 10 h 14"/>
                  <a:gd name="T54" fmla="*/ 4 w 20"/>
                  <a:gd name="T55" fmla="*/ 10 h 14"/>
                  <a:gd name="T56" fmla="*/ 4 w 20"/>
                  <a:gd name="T57" fmla="*/ 10 h 14"/>
                  <a:gd name="T58" fmla="*/ 8 w 20"/>
                  <a:gd name="T59" fmla="*/ 14 h 14"/>
                  <a:gd name="T60" fmla="*/ 8 w 20"/>
                  <a:gd name="T61" fmla="*/ 14 h 14"/>
                  <a:gd name="T62" fmla="*/ 20 w 20"/>
                  <a:gd name="T63" fmla="*/ 6 h 14"/>
                  <a:gd name="T64" fmla="*/ 20 w 20"/>
                  <a:gd name="T65" fmla="*/ 6 h 14"/>
                  <a:gd name="T66" fmla="*/ 16 w 20"/>
                  <a:gd name="T67" fmla="*/ 6 h 14"/>
                  <a:gd name="T68" fmla="*/ 14 w 20"/>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4">
                    <a:moveTo>
                      <a:pt x="8" y="8"/>
                    </a:moveTo>
                    <a:lnTo>
                      <a:pt x="8" y="8"/>
                    </a:lnTo>
                    <a:lnTo>
                      <a:pt x="8" y="8"/>
                    </a:lnTo>
                    <a:lnTo>
                      <a:pt x="8" y="8"/>
                    </a:lnTo>
                    <a:lnTo>
                      <a:pt x="10" y="8"/>
                    </a:lnTo>
                    <a:lnTo>
                      <a:pt x="10" y="8"/>
                    </a:lnTo>
                    <a:lnTo>
                      <a:pt x="12" y="10"/>
                    </a:lnTo>
                    <a:lnTo>
                      <a:pt x="12" y="10"/>
                    </a:lnTo>
                    <a:lnTo>
                      <a:pt x="12" y="10"/>
                    </a:lnTo>
                    <a:lnTo>
                      <a:pt x="12" y="10"/>
                    </a:lnTo>
                    <a:lnTo>
                      <a:pt x="12" y="10"/>
                    </a:lnTo>
                    <a:lnTo>
                      <a:pt x="12" y="10"/>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3" name="Freeform 104"/>
              <p:cNvSpPr>
                <a:spLocks/>
              </p:cNvSpPr>
              <p:nvPr/>
            </p:nvSpPr>
            <p:spPr bwMode="auto">
              <a:xfrm>
                <a:off x="1278" y="2210"/>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2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4" name="Freeform 105"/>
              <p:cNvSpPr>
                <a:spLocks/>
              </p:cNvSpPr>
              <p:nvPr/>
            </p:nvSpPr>
            <p:spPr bwMode="auto">
              <a:xfrm>
                <a:off x="1272" y="2202"/>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5" name="Freeform 106"/>
              <p:cNvSpPr>
                <a:spLocks/>
              </p:cNvSpPr>
              <p:nvPr/>
            </p:nvSpPr>
            <p:spPr bwMode="auto">
              <a:xfrm>
                <a:off x="1226" y="21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6" name="Freeform 107"/>
              <p:cNvSpPr>
                <a:spLocks/>
              </p:cNvSpPr>
              <p:nvPr/>
            </p:nvSpPr>
            <p:spPr bwMode="auto">
              <a:xfrm>
                <a:off x="1226" y="21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7" name="Freeform 108"/>
              <p:cNvSpPr>
                <a:spLocks/>
              </p:cNvSpPr>
              <p:nvPr/>
            </p:nvSpPr>
            <p:spPr bwMode="auto">
              <a:xfrm>
                <a:off x="1322"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8" name="Freeform 109"/>
              <p:cNvSpPr>
                <a:spLocks/>
              </p:cNvSpPr>
              <p:nvPr/>
            </p:nvSpPr>
            <p:spPr bwMode="auto">
              <a:xfrm>
                <a:off x="1322"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899" name="Freeform 110"/>
              <p:cNvSpPr>
                <a:spLocks/>
              </p:cNvSpPr>
              <p:nvPr/>
            </p:nvSpPr>
            <p:spPr bwMode="auto">
              <a:xfrm>
                <a:off x="1266"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0" name="Freeform 111"/>
              <p:cNvSpPr>
                <a:spLocks/>
              </p:cNvSpPr>
              <p:nvPr/>
            </p:nvSpPr>
            <p:spPr bwMode="auto">
              <a:xfrm>
                <a:off x="1266"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1" name="Freeform 112"/>
              <p:cNvSpPr>
                <a:spLocks/>
              </p:cNvSpPr>
              <p:nvPr/>
            </p:nvSpPr>
            <p:spPr bwMode="auto">
              <a:xfrm>
                <a:off x="1282" y="2242"/>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2" name="Freeform 113"/>
              <p:cNvSpPr>
                <a:spLocks/>
              </p:cNvSpPr>
              <p:nvPr/>
            </p:nvSpPr>
            <p:spPr bwMode="auto">
              <a:xfrm>
                <a:off x="1282" y="2242"/>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3" name="Freeform 114"/>
              <p:cNvSpPr>
                <a:spLocks/>
              </p:cNvSpPr>
              <p:nvPr/>
            </p:nvSpPr>
            <p:spPr bwMode="auto">
              <a:xfrm>
                <a:off x="1278" y="2210"/>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4" name="Freeform 115"/>
              <p:cNvSpPr>
                <a:spLocks/>
              </p:cNvSpPr>
              <p:nvPr/>
            </p:nvSpPr>
            <p:spPr bwMode="auto">
              <a:xfrm>
                <a:off x="1278" y="2210"/>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5" name="Freeform 116"/>
              <p:cNvSpPr>
                <a:spLocks noEditPoints="1"/>
              </p:cNvSpPr>
              <p:nvPr/>
            </p:nvSpPr>
            <p:spPr bwMode="auto">
              <a:xfrm>
                <a:off x="1280" y="2210"/>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6" name="Freeform 117"/>
              <p:cNvSpPr>
                <a:spLocks/>
              </p:cNvSpPr>
              <p:nvPr/>
            </p:nvSpPr>
            <p:spPr bwMode="auto">
              <a:xfrm>
                <a:off x="1280" y="2212"/>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7" name="Freeform 118"/>
              <p:cNvSpPr>
                <a:spLocks/>
              </p:cNvSpPr>
              <p:nvPr/>
            </p:nvSpPr>
            <p:spPr bwMode="auto">
              <a:xfrm>
                <a:off x="1280" y="2210"/>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8" name="Freeform 119"/>
              <p:cNvSpPr>
                <a:spLocks/>
              </p:cNvSpPr>
              <p:nvPr/>
            </p:nvSpPr>
            <p:spPr bwMode="auto">
              <a:xfrm>
                <a:off x="2512"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09" name="Freeform 120"/>
              <p:cNvSpPr>
                <a:spLocks/>
              </p:cNvSpPr>
              <p:nvPr/>
            </p:nvSpPr>
            <p:spPr bwMode="auto">
              <a:xfrm>
                <a:off x="260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0" name="Freeform 121"/>
              <p:cNvSpPr>
                <a:spLocks/>
              </p:cNvSpPr>
              <p:nvPr/>
            </p:nvSpPr>
            <p:spPr bwMode="auto">
              <a:xfrm>
                <a:off x="269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1" name="Freeform 122"/>
              <p:cNvSpPr>
                <a:spLocks/>
              </p:cNvSpPr>
              <p:nvPr/>
            </p:nvSpPr>
            <p:spPr bwMode="auto">
              <a:xfrm>
                <a:off x="311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2" name="Freeform 123"/>
              <p:cNvSpPr>
                <a:spLocks/>
              </p:cNvSpPr>
              <p:nvPr/>
            </p:nvSpPr>
            <p:spPr bwMode="auto">
              <a:xfrm>
                <a:off x="320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3" name="Freeform 124"/>
              <p:cNvSpPr>
                <a:spLocks/>
              </p:cNvSpPr>
              <p:nvPr/>
            </p:nvSpPr>
            <p:spPr bwMode="auto">
              <a:xfrm>
                <a:off x="3294"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4" name="Freeform 125"/>
              <p:cNvSpPr>
                <a:spLocks/>
              </p:cNvSpPr>
              <p:nvPr/>
            </p:nvSpPr>
            <p:spPr bwMode="auto">
              <a:xfrm>
                <a:off x="338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5" name="Freeform 126"/>
              <p:cNvSpPr>
                <a:spLocks/>
              </p:cNvSpPr>
              <p:nvPr/>
            </p:nvSpPr>
            <p:spPr bwMode="auto">
              <a:xfrm>
                <a:off x="3620"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6" name="Freeform 127"/>
              <p:cNvSpPr>
                <a:spLocks/>
              </p:cNvSpPr>
              <p:nvPr/>
            </p:nvSpPr>
            <p:spPr bwMode="auto">
              <a:xfrm>
                <a:off x="371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7" name="Freeform 128"/>
              <p:cNvSpPr>
                <a:spLocks/>
              </p:cNvSpPr>
              <p:nvPr/>
            </p:nvSpPr>
            <p:spPr bwMode="auto">
              <a:xfrm>
                <a:off x="3474"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8" name="Freeform 129"/>
              <p:cNvSpPr>
                <a:spLocks/>
              </p:cNvSpPr>
              <p:nvPr/>
            </p:nvSpPr>
            <p:spPr bwMode="auto">
              <a:xfrm>
                <a:off x="3474"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19" name="Freeform 130"/>
              <p:cNvSpPr>
                <a:spLocks/>
              </p:cNvSpPr>
              <p:nvPr/>
            </p:nvSpPr>
            <p:spPr bwMode="auto">
              <a:xfrm>
                <a:off x="3536"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0" name="Freeform 131"/>
              <p:cNvSpPr>
                <a:spLocks/>
              </p:cNvSpPr>
              <p:nvPr/>
            </p:nvSpPr>
            <p:spPr bwMode="auto">
              <a:xfrm>
                <a:off x="3536"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1" name="Freeform 132"/>
              <p:cNvSpPr>
                <a:spLocks noEditPoints="1"/>
              </p:cNvSpPr>
              <p:nvPr/>
            </p:nvSpPr>
            <p:spPr bwMode="auto">
              <a:xfrm>
                <a:off x="2334" y="19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2" name="Freeform 133"/>
              <p:cNvSpPr>
                <a:spLocks noEditPoints="1"/>
              </p:cNvSpPr>
              <p:nvPr/>
            </p:nvSpPr>
            <p:spPr bwMode="auto">
              <a:xfrm>
                <a:off x="2470"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3" name="Freeform 134"/>
              <p:cNvSpPr>
                <a:spLocks noEditPoints="1"/>
              </p:cNvSpPr>
              <p:nvPr/>
            </p:nvSpPr>
            <p:spPr bwMode="auto">
              <a:xfrm>
                <a:off x="2882" y="1976"/>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4" name="Freeform 135"/>
              <p:cNvSpPr>
                <a:spLocks/>
              </p:cNvSpPr>
              <p:nvPr/>
            </p:nvSpPr>
            <p:spPr bwMode="auto">
              <a:xfrm>
                <a:off x="3020"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5" name="Freeform 136"/>
              <p:cNvSpPr>
                <a:spLocks/>
              </p:cNvSpPr>
              <p:nvPr/>
            </p:nvSpPr>
            <p:spPr bwMode="auto">
              <a:xfrm>
                <a:off x="260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6" name="Freeform 137"/>
              <p:cNvSpPr>
                <a:spLocks/>
              </p:cNvSpPr>
              <p:nvPr/>
            </p:nvSpPr>
            <p:spPr bwMode="auto">
              <a:xfrm>
                <a:off x="27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7" name="Freeform 138"/>
              <p:cNvSpPr>
                <a:spLocks/>
              </p:cNvSpPr>
              <p:nvPr/>
            </p:nvSpPr>
            <p:spPr bwMode="auto">
              <a:xfrm>
                <a:off x="2792"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8" name="Freeform 139"/>
              <p:cNvSpPr>
                <a:spLocks/>
              </p:cNvSpPr>
              <p:nvPr/>
            </p:nvSpPr>
            <p:spPr bwMode="auto">
              <a:xfrm>
                <a:off x="354"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29" name="Freeform 140"/>
              <p:cNvSpPr>
                <a:spLocks/>
              </p:cNvSpPr>
              <p:nvPr/>
            </p:nvSpPr>
            <p:spPr bwMode="auto">
              <a:xfrm>
                <a:off x="44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0" name="Freeform 141"/>
              <p:cNvSpPr>
                <a:spLocks/>
              </p:cNvSpPr>
              <p:nvPr/>
            </p:nvSpPr>
            <p:spPr bwMode="auto">
              <a:xfrm>
                <a:off x="538"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1" name="Freeform 142"/>
              <p:cNvSpPr>
                <a:spLocks/>
              </p:cNvSpPr>
              <p:nvPr/>
            </p:nvSpPr>
            <p:spPr bwMode="auto">
              <a:xfrm>
                <a:off x="856" y="19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2" name="Freeform 143"/>
              <p:cNvSpPr>
                <a:spLocks/>
              </p:cNvSpPr>
              <p:nvPr/>
            </p:nvSpPr>
            <p:spPr bwMode="auto">
              <a:xfrm>
                <a:off x="856" y="19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3" name="Freeform 144"/>
              <p:cNvSpPr>
                <a:spLocks/>
              </p:cNvSpPr>
              <p:nvPr/>
            </p:nvSpPr>
            <p:spPr bwMode="auto">
              <a:xfrm>
                <a:off x="918"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4" name="Freeform 145"/>
              <p:cNvSpPr>
                <a:spLocks/>
              </p:cNvSpPr>
              <p:nvPr/>
            </p:nvSpPr>
            <p:spPr bwMode="auto">
              <a:xfrm>
                <a:off x="918" y="19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5" name="Freeform 146"/>
              <p:cNvSpPr>
                <a:spLocks/>
              </p:cNvSpPr>
              <p:nvPr/>
            </p:nvSpPr>
            <p:spPr bwMode="auto">
              <a:xfrm>
                <a:off x="100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6" name="Freeform 147"/>
              <p:cNvSpPr>
                <a:spLocks/>
              </p:cNvSpPr>
              <p:nvPr/>
            </p:nvSpPr>
            <p:spPr bwMode="auto">
              <a:xfrm>
                <a:off x="109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7" name="Freeform 148"/>
              <p:cNvSpPr>
                <a:spLocks/>
              </p:cNvSpPr>
              <p:nvPr/>
            </p:nvSpPr>
            <p:spPr bwMode="auto">
              <a:xfrm>
                <a:off x="118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8" name="Freeform 149"/>
              <p:cNvSpPr>
                <a:spLocks noEditPoints="1"/>
              </p:cNvSpPr>
              <p:nvPr/>
            </p:nvSpPr>
            <p:spPr bwMode="auto">
              <a:xfrm>
                <a:off x="628" y="1978"/>
                <a:ext cx="188" cy="146"/>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39" name="Freeform 150"/>
              <p:cNvSpPr>
                <a:spLocks/>
              </p:cNvSpPr>
              <p:nvPr/>
            </p:nvSpPr>
            <p:spPr bwMode="auto">
              <a:xfrm>
                <a:off x="732" y="2080"/>
                <a:ext cx="18" cy="28"/>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0" name="Freeform 151"/>
              <p:cNvSpPr>
                <a:spLocks/>
              </p:cNvSpPr>
              <p:nvPr/>
            </p:nvSpPr>
            <p:spPr bwMode="auto">
              <a:xfrm>
                <a:off x="634" y="2078"/>
                <a:ext cx="18" cy="22"/>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1" name="Freeform 152"/>
              <p:cNvSpPr>
                <a:spLocks/>
              </p:cNvSpPr>
              <p:nvPr/>
            </p:nvSpPr>
            <p:spPr bwMode="auto">
              <a:xfrm>
                <a:off x="630" y="20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2" name="Freeform 153"/>
              <p:cNvSpPr>
                <a:spLocks/>
              </p:cNvSpPr>
              <p:nvPr/>
            </p:nvSpPr>
            <p:spPr bwMode="auto">
              <a:xfrm>
                <a:off x="644" y="19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3" name="Freeform 154"/>
              <p:cNvSpPr>
                <a:spLocks/>
              </p:cNvSpPr>
              <p:nvPr/>
            </p:nvSpPr>
            <p:spPr bwMode="auto">
              <a:xfrm>
                <a:off x="628" y="1978"/>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4" name="Freeform 155"/>
              <p:cNvSpPr>
                <a:spLocks/>
              </p:cNvSpPr>
              <p:nvPr/>
            </p:nvSpPr>
            <p:spPr bwMode="auto">
              <a:xfrm>
                <a:off x="634"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5" name="Freeform 156"/>
              <p:cNvSpPr>
                <a:spLocks/>
              </p:cNvSpPr>
              <p:nvPr/>
            </p:nvSpPr>
            <p:spPr bwMode="auto">
              <a:xfrm>
                <a:off x="634"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6" name="Freeform 157"/>
              <p:cNvSpPr>
                <a:spLocks/>
              </p:cNvSpPr>
              <p:nvPr/>
            </p:nvSpPr>
            <p:spPr bwMode="auto">
              <a:xfrm>
                <a:off x="634" y="2078"/>
                <a:ext cx="8" cy="12"/>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7" name="Freeform 158"/>
              <p:cNvSpPr>
                <a:spLocks/>
              </p:cNvSpPr>
              <p:nvPr/>
            </p:nvSpPr>
            <p:spPr bwMode="auto">
              <a:xfrm>
                <a:off x="634" y="2078"/>
                <a:ext cx="8" cy="12"/>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8" name="Freeform 159"/>
              <p:cNvSpPr>
                <a:spLocks/>
              </p:cNvSpPr>
              <p:nvPr/>
            </p:nvSpPr>
            <p:spPr bwMode="auto">
              <a:xfrm>
                <a:off x="732"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49" name="Freeform 160"/>
              <p:cNvSpPr>
                <a:spLocks/>
              </p:cNvSpPr>
              <p:nvPr/>
            </p:nvSpPr>
            <p:spPr bwMode="auto">
              <a:xfrm>
                <a:off x="732"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0" name="Freeform 161"/>
              <p:cNvSpPr>
                <a:spLocks/>
              </p:cNvSpPr>
              <p:nvPr/>
            </p:nvSpPr>
            <p:spPr bwMode="auto">
              <a:xfrm>
                <a:off x="732"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1" name="Freeform 162"/>
              <p:cNvSpPr>
                <a:spLocks/>
              </p:cNvSpPr>
              <p:nvPr/>
            </p:nvSpPr>
            <p:spPr bwMode="auto">
              <a:xfrm>
                <a:off x="732" y="2080"/>
                <a:ext cx="18" cy="28"/>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2" name="Freeform 163"/>
              <p:cNvSpPr>
                <a:spLocks/>
              </p:cNvSpPr>
              <p:nvPr/>
            </p:nvSpPr>
            <p:spPr bwMode="auto">
              <a:xfrm>
                <a:off x="630" y="2028"/>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3" name="Freeform 164"/>
              <p:cNvSpPr>
                <a:spLocks/>
              </p:cNvSpPr>
              <p:nvPr/>
            </p:nvSpPr>
            <p:spPr bwMode="auto">
              <a:xfrm>
                <a:off x="630" y="2028"/>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4" name="Freeform 165"/>
              <p:cNvSpPr>
                <a:spLocks noEditPoints="1"/>
              </p:cNvSpPr>
              <p:nvPr/>
            </p:nvSpPr>
            <p:spPr bwMode="auto">
              <a:xfrm>
                <a:off x="630" y="2028"/>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5" name="Freeform 166"/>
              <p:cNvSpPr>
                <a:spLocks/>
              </p:cNvSpPr>
              <p:nvPr/>
            </p:nvSpPr>
            <p:spPr bwMode="auto">
              <a:xfrm>
                <a:off x="640" y="20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6" name="Freeform 167"/>
              <p:cNvSpPr>
                <a:spLocks/>
              </p:cNvSpPr>
              <p:nvPr/>
            </p:nvSpPr>
            <p:spPr bwMode="auto">
              <a:xfrm>
                <a:off x="630" y="2028"/>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7" name="Freeform 168"/>
              <p:cNvSpPr>
                <a:spLocks noEditPoints="1"/>
              </p:cNvSpPr>
              <p:nvPr/>
            </p:nvSpPr>
            <p:spPr bwMode="auto">
              <a:xfrm>
                <a:off x="746" y="2016"/>
                <a:ext cx="18" cy="14"/>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8" name="Freeform 169"/>
              <p:cNvSpPr>
                <a:spLocks/>
              </p:cNvSpPr>
              <p:nvPr/>
            </p:nvSpPr>
            <p:spPr bwMode="auto">
              <a:xfrm>
                <a:off x="750" y="2022"/>
                <a:ext cx="6" cy="6"/>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59" name="Freeform 170"/>
              <p:cNvSpPr>
                <a:spLocks/>
              </p:cNvSpPr>
              <p:nvPr/>
            </p:nvSpPr>
            <p:spPr bwMode="auto">
              <a:xfrm>
                <a:off x="746" y="2016"/>
                <a:ext cx="18" cy="14"/>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0" name="Freeform 171"/>
              <p:cNvSpPr>
                <a:spLocks/>
              </p:cNvSpPr>
              <p:nvPr/>
            </p:nvSpPr>
            <p:spPr bwMode="auto">
              <a:xfrm>
                <a:off x="700" y="2006"/>
                <a:ext cx="20" cy="18"/>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1" name="Freeform 172"/>
              <p:cNvSpPr>
                <a:spLocks/>
              </p:cNvSpPr>
              <p:nvPr/>
            </p:nvSpPr>
            <p:spPr bwMode="auto">
              <a:xfrm>
                <a:off x="700" y="2006"/>
                <a:ext cx="20" cy="18"/>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2" name="Freeform 173"/>
              <p:cNvSpPr>
                <a:spLocks/>
              </p:cNvSpPr>
              <p:nvPr/>
            </p:nvSpPr>
            <p:spPr bwMode="auto">
              <a:xfrm>
                <a:off x="794" y="200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3" name="Freeform 174"/>
              <p:cNvSpPr>
                <a:spLocks/>
              </p:cNvSpPr>
              <p:nvPr/>
            </p:nvSpPr>
            <p:spPr bwMode="auto">
              <a:xfrm>
                <a:off x="794" y="200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4" name="Freeform 175"/>
              <p:cNvSpPr>
                <a:spLocks/>
              </p:cNvSpPr>
              <p:nvPr/>
            </p:nvSpPr>
            <p:spPr bwMode="auto">
              <a:xfrm>
                <a:off x="740"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5" name="Freeform 176"/>
              <p:cNvSpPr>
                <a:spLocks/>
              </p:cNvSpPr>
              <p:nvPr/>
            </p:nvSpPr>
            <p:spPr bwMode="auto">
              <a:xfrm>
                <a:off x="740"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6" name="Freeform 177"/>
              <p:cNvSpPr>
                <a:spLocks/>
              </p:cNvSpPr>
              <p:nvPr/>
            </p:nvSpPr>
            <p:spPr bwMode="auto">
              <a:xfrm>
                <a:off x="754" y="20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7" name="Freeform 178"/>
              <p:cNvSpPr>
                <a:spLocks/>
              </p:cNvSpPr>
              <p:nvPr/>
            </p:nvSpPr>
            <p:spPr bwMode="auto">
              <a:xfrm>
                <a:off x="754" y="20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8" name="Freeform 179"/>
              <p:cNvSpPr>
                <a:spLocks/>
              </p:cNvSpPr>
              <p:nvPr/>
            </p:nvSpPr>
            <p:spPr bwMode="auto">
              <a:xfrm>
                <a:off x="750" y="2024"/>
                <a:ext cx="6" cy="4"/>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69" name="Freeform 180"/>
              <p:cNvSpPr>
                <a:spLocks/>
              </p:cNvSpPr>
              <p:nvPr/>
            </p:nvSpPr>
            <p:spPr bwMode="auto">
              <a:xfrm>
                <a:off x="750" y="2024"/>
                <a:ext cx="6" cy="4"/>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0" name="Freeform 181"/>
              <p:cNvSpPr>
                <a:spLocks/>
              </p:cNvSpPr>
              <p:nvPr/>
            </p:nvSpPr>
            <p:spPr bwMode="auto">
              <a:xfrm>
                <a:off x="750" y="20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1" name="Freeform 182"/>
              <p:cNvSpPr>
                <a:spLocks/>
              </p:cNvSpPr>
              <p:nvPr/>
            </p:nvSpPr>
            <p:spPr bwMode="auto">
              <a:xfrm>
                <a:off x="750" y="20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2" name="Freeform 183"/>
              <p:cNvSpPr>
                <a:spLocks/>
              </p:cNvSpPr>
              <p:nvPr/>
            </p:nvSpPr>
            <p:spPr bwMode="auto">
              <a:xfrm>
                <a:off x="127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3" name="Freeform 184"/>
              <p:cNvSpPr>
                <a:spLocks/>
              </p:cNvSpPr>
              <p:nvPr/>
            </p:nvSpPr>
            <p:spPr bwMode="auto">
              <a:xfrm>
                <a:off x="151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4" name="Freeform 185"/>
              <p:cNvSpPr>
                <a:spLocks/>
              </p:cNvSpPr>
              <p:nvPr/>
            </p:nvSpPr>
            <p:spPr bwMode="auto">
              <a:xfrm>
                <a:off x="1602"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5" name="Freeform 186"/>
              <p:cNvSpPr>
                <a:spLocks/>
              </p:cNvSpPr>
              <p:nvPr/>
            </p:nvSpPr>
            <p:spPr bwMode="auto">
              <a:xfrm>
                <a:off x="169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6" name="Freeform 187"/>
              <p:cNvSpPr>
                <a:spLocks/>
              </p:cNvSpPr>
              <p:nvPr/>
            </p:nvSpPr>
            <p:spPr bwMode="auto">
              <a:xfrm>
                <a:off x="1364" y="1980"/>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7" name="Freeform 188"/>
              <p:cNvSpPr>
                <a:spLocks/>
              </p:cNvSpPr>
              <p:nvPr/>
            </p:nvSpPr>
            <p:spPr bwMode="auto">
              <a:xfrm>
                <a:off x="1364" y="1980"/>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8" name="Freeform 189"/>
              <p:cNvSpPr>
                <a:spLocks/>
              </p:cNvSpPr>
              <p:nvPr/>
            </p:nvSpPr>
            <p:spPr bwMode="auto">
              <a:xfrm>
                <a:off x="1426" y="19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79" name="Freeform 190"/>
              <p:cNvSpPr>
                <a:spLocks/>
              </p:cNvSpPr>
              <p:nvPr/>
            </p:nvSpPr>
            <p:spPr bwMode="auto">
              <a:xfrm>
                <a:off x="1426" y="19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0" name="Freeform 191"/>
              <p:cNvSpPr>
                <a:spLocks noEditPoints="1"/>
              </p:cNvSpPr>
              <p:nvPr/>
            </p:nvSpPr>
            <p:spPr bwMode="auto">
              <a:xfrm>
                <a:off x="1786" y="19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1" name="Freeform 192"/>
              <p:cNvSpPr>
                <a:spLocks noEditPoints="1"/>
              </p:cNvSpPr>
              <p:nvPr/>
            </p:nvSpPr>
            <p:spPr bwMode="auto">
              <a:xfrm>
                <a:off x="1922"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2" name="Freeform 193"/>
              <p:cNvSpPr>
                <a:spLocks/>
              </p:cNvSpPr>
              <p:nvPr/>
            </p:nvSpPr>
            <p:spPr bwMode="auto">
              <a:xfrm>
                <a:off x="206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3" name="Freeform 194"/>
              <p:cNvSpPr>
                <a:spLocks/>
              </p:cNvSpPr>
              <p:nvPr/>
            </p:nvSpPr>
            <p:spPr bwMode="auto">
              <a:xfrm>
                <a:off x="215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4" name="Freeform 195"/>
              <p:cNvSpPr>
                <a:spLocks/>
              </p:cNvSpPr>
              <p:nvPr/>
            </p:nvSpPr>
            <p:spPr bwMode="auto">
              <a:xfrm>
                <a:off x="2244"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5" name="Freeform 196"/>
              <p:cNvSpPr>
                <a:spLocks noEditPoints="1"/>
              </p:cNvSpPr>
              <p:nvPr/>
            </p:nvSpPr>
            <p:spPr bwMode="auto">
              <a:xfrm>
                <a:off x="1872" y="17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6" name="Freeform 197"/>
              <p:cNvSpPr>
                <a:spLocks/>
              </p:cNvSpPr>
              <p:nvPr/>
            </p:nvSpPr>
            <p:spPr bwMode="auto">
              <a:xfrm>
                <a:off x="2012"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7" name="Freeform 198"/>
              <p:cNvSpPr>
                <a:spLocks/>
              </p:cNvSpPr>
              <p:nvPr/>
            </p:nvSpPr>
            <p:spPr bwMode="auto">
              <a:xfrm>
                <a:off x="210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8" name="Freeform 199"/>
              <p:cNvSpPr>
                <a:spLocks/>
              </p:cNvSpPr>
              <p:nvPr/>
            </p:nvSpPr>
            <p:spPr bwMode="auto">
              <a:xfrm>
                <a:off x="2198"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89" name="Freeform 200"/>
              <p:cNvSpPr>
                <a:spLocks/>
              </p:cNvSpPr>
              <p:nvPr/>
            </p:nvSpPr>
            <p:spPr bwMode="auto">
              <a:xfrm>
                <a:off x="229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0" name="Freeform 201"/>
              <p:cNvSpPr>
                <a:spLocks/>
              </p:cNvSpPr>
              <p:nvPr/>
            </p:nvSpPr>
            <p:spPr bwMode="auto">
              <a:xfrm>
                <a:off x="253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1" name="Freeform 202"/>
              <p:cNvSpPr>
                <a:spLocks/>
              </p:cNvSpPr>
              <p:nvPr/>
            </p:nvSpPr>
            <p:spPr bwMode="auto">
              <a:xfrm>
                <a:off x="262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2" name="Freeform 203"/>
              <p:cNvSpPr>
                <a:spLocks/>
              </p:cNvSpPr>
              <p:nvPr/>
            </p:nvSpPr>
            <p:spPr bwMode="auto">
              <a:xfrm>
                <a:off x="271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993" name="Freeform 204"/>
              <p:cNvSpPr>
                <a:spLocks/>
              </p:cNvSpPr>
              <p:nvPr/>
            </p:nvSpPr>
            <p:spPr bwMode="auto">
              <a:xfrm>
                <a:off x="281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4" name="Group 406"/>
            <p:cNvGrpSpPr>
              <a:grpSpLocks/>
            </p:cNvGrpSpPr>
            <p:nvPr/>
          </p:nvGrpSpPr>
          <p:grpSpPr bwMode="auto">
            <a:xfrm>
              <a:off x="1" y="1847850"/>
              <a:ext cx="5968978" cy="1504950"/>
              <a:chOff x="0" y="1364"/>
              <a:chExt cx="3760" cy="948"/>
            </a:xfrm>
          </p:grpSpPr>
          <p:sp>
            <p:nvSpPr>
              <p:cNvPr id="2594" name="Freeform 206"/>
              <p:cNvSpPr>
                <a:spLocks/>
              </p:cNvSpPr>
              <p:nvPr/>
            </p:nvSpPr>
            <p:spPr bwMode="auto">
              <a:xfrm>
                <a:off x="2382"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5" name="Freeform 207"/>
              <p:cNvSpPr>
                <a:spLocks/>
              </p:cNvSpPr>
              <p:nvPr/>
            </p:nvSpPr>
            <p:spPr bwMode="auto">
              <a:xfrm>
                <a:off x="2382"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6" name="Freeform 208"/>
              <p:cNvSpPr>
                <a:spLocks/>
              </p:cNvSpPr>
              <p:nvPr/>
            </p:nvSpPr>
            <p:spPr bwMode="auto">
              <a:xfrm>
                <a:off x="2442"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7" name="Freeform 209"/>
              <p:cNvSpPr>
                <a:spLocks/>
              </p:cNvSpPr>
              <p:nvPr/>
            </p:nvSpPr>
            <p:spPr bwMode="auto">
              <a:xfrm>
                <a:off x="2442"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8" name="Freeform 210"/>
              <p:cNvSpPr>
                <a:spLocks/>
              </p:cNvSpPr>
              <p:nvPr/>
            </p:nvSpPr>
            <p:spPr bwMode="auto">
              <a:xfrm>
                <a:off x="3130"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9" name="Freeform 211"/>
              <p:cNvSpPr>
                <a:spLocks/>
              </p:cNvSpPr>
              <p:nvPr/>
            </p:nvSpPr>
            <p:spPr bwMode="auto">
              <a:xfrm>
                <a:off x="3130"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0" name="Freeform 212"/>
              <p:cNvSpPr>
                <a:spLocks/>
              </p:cNvSpPr>
              <p:nvPr/>
            </p:nvSpPr>
            <p:spPr bwMode="auto">
              <a:xfrm>
                <a:off x="3192"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1" name="Freeform 213"/>
              <p:cNvSpPr>
                <a:spLocks/>
              </p:cNvSpPr>
              <p:nvPr/>
            </p:nvSpPr>
            <p:spPr bwMode="auto">
              <a:xfrm>
                <a:off x="3192"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2" name="Freeform 214"/>
              <p:cNvSpPr>
                <a:spLocks/>
              </p:cNvSpPr>
              <p:nvPr/>
            </p:nvSpPr>
            <p:spPr bwMode="auto">
              <a:xfrm>
                <a:off x="328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3" name="Freeform 215"/>
              <p:cNvSpPr>
                <a:spLocks/>
              </p:cNvSpPr>
              <p:nvPr/>
            </p:nvSpPr>
            <p:spPr bwMode="auto">
              <a:xfrm>
                <a:off x="337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4" name="Freeform 216"/>
              <p:cNvSpPr>
                <a:spLocks/>
              </p:cNvSpPr>
              <p:nvPr/>
            </p:nvSpPr>
            <p:spPr bwMode="auto">
              <a:xfrm>
                <a:off x="3466"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5" name="Freeform 217"/>
              <p:cNvSpPr>
                <a:spLocks/>
              </p:cNvSpPr>
              <p:nvPr/>
            </p:nvSpPr>
            <p:spPr bwMode="auto">
              <a:xfrm>
                <a:off x="3704"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6" name="Freeform 218"/>
              <p:cNvSpPr>
                <a:spLocks/>
              </p:cNvSpPr>
              <p:nvPr/>
            </p:nvSpPr>
            <p:spPr bwMode="auto">
              <a:xfrm>
                <a:off x="3556"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7" name="Freeform 219"/>
              <p:cNvSpPr>
                <a:spLocks/>
              </p:cNvSpPr>
              <p:nvPr/>
            </p:nvSpPr>
            <p:spPr bwMode="auto">
              <a:xfrm>
                <a:off x="3556"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8" name="Freeform 220"/>
              <p:cNvSpPr>
                <a:spLocks/>
              </p:cNvSpPr>
              <p:nvPr/>
            </p:nvSpPr>
            <p:spPr bwMode="auto">
              <a:xfrm>
                <a:off x="3616"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09" name="Freeform 221"/>
              <p:cNvSpPr>
                <a:spLocks/>
              </p:cNvSpPr>
              <p:nvPr/>
            </p:nvSpPr>
            <p:spPr bwMode="auto">
              <a:xfrm>
                <a:off x="3616" y="17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0" name="Freeform 222"/>
              <p:cNvSpPr>
                <a:spLocks noEditPoints="1"/>
              </p:cNvSpPr>
              <p:nvPr/>
            </p:nvSpPr>
            <p:spPr bwMode="auto">
              <a:xfrm>
                <a:off x="1864" y="1576"/>
                <a:ext cx="186" cy="146"/>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1" name="Freeform 223"/>
              <p:cNvSpPr>
                <a:spLocks/>
              </p:cNvSpPr>
              <p:nvPr/>
            </p:nvSpPr>
            <p:spPr bwMode="auto">
              <a:xfrm>
                <a:off x="1966" y="1680"/>
                <a:ext cx="18" cy="28"/>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2" name="Freeform 224"/>
              <p:cNvSpPr>
                <a:spLocks/>
              </p:cNvSpPr>
              <p:nvPr/>
            </p:nvSpPr>
            <p:spPr bwMode="auto">
              <a:xfrm>
                <a:off x="1868" y="1676"/>
                <a:ext cx="18" cy="24"/>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3" name="Freeform 225"/>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4" name="Freeform 226"/>
              <p:cNvSpPr>
                <a:spLocks/>
              </p:cNvSpPr>
              <p:nvPr/>
            </p:nvSpPr>
            <p:spPr bwMode="auto">
              <a:xfrm>
                <a:off x="1878" y="1580"/>
                <a:ext cx="170" cy="138"/>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5" name="Freeform 227"/>
              <p:cNvSpPr>
                <a:spLocks/>
              </p:cNvSpPr>
              <p:nvPr/>
            </p:nvSpPr>
            <p:spPr bwMode="auto">
              <a:xfrm>
                <a:off x="1864" y="1576"/>
                <a:ext cx="186" cy="146"/>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6" name="Freeform 228"/>
              <p:cNvSpPr>
                <a:spLocks/>
              </p:cNvSpPr>
              <p:nvPr/>
            </p:nvSpPr>
            <p:spPr bwMode="auto">
              <a:xfrm>
                <a:off x="1868" y="1676"/>
                <a:ext cx="18" cy="24"/>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7" name="Freeform 229"/>
              <p:cNvSpPr>
                <a:spLocks/>
              </p:cNvSpPr>
              <p:nvPr/>
            </p:nvSpPr>
            <p:spPr bwMode="auto">
              <a:xfrm>
                <a:off x="1868" y="1676"/>
                <a:ext cx="18" cy="24"/>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8" name="Freeform 230"/>
              <p:cNvSpPr>
                <a:spLocks/>
              </p:cNvSpPr>
              <p:nvPr/>
            </p:nvSpPr>
            <p:spPr bwMode="auto">
              <a:xfrm>
                <a:off x="1868" y="1676"/>
                <a:ext cx="16" cy="24"/>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19" name="Freeform 231"/>
              <p:cNvSpPr>
                <a:spLocks/>
              </p:cNvSpPr>
              <p:nvPr/>
            </p:nvSpPr>
            <p:spPr bwMode="auto">
              <a:xfrm>
                <a:off x="1868" y="1676"/>
                <a:ext cx="16" cy="24"/>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0" name="Freeform 232"/>
              <p:cNvSpPr>
                <a:spLocks/>
              </p:cNvSpPr>
              <p:nvPr/>
            </p:nvSpPr>
            <p:spPr bwMode="auto">
              <a:xfrm>
                <a:off x="1966"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1" name="Freeform 233"/>
              <p:cNvSpPr>
                <a:spLocks/>
              </p:cNvSpPr>
              <p:nvPr/>
            </p:nvSpPr>
            <p:spPr bwMode="auto">
              <a:xfrm>
                <a:off x="1966"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2" name="Freeform 234"/>
              <p:cNvSpPr>
                <a:spLocks/>
              </p:cNvSpPr>
              <p:nvPr/>
            </p:nvSpPr>
            <p:spPr bwMode="auto">
              <a:xfrm>
                <a:off x="1966"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3" name="Freeform 235"/>
              <p:cNvSpPr>
                <a:spLocks/>
              </p:cNvSpPr>
              <p:nvPr/>
            </p:nvSpPr>
            <p:spPr bwMode="auto">
              <a:xfrm>
                <a:off x="1966"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4" name="Freeform 236"/>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5" name="Freeform 237"/>
              <p:cNvSpPr>
                <a:spLocks/>
              </p:cNvSpPr>
              <p:nvPr/>
            </p:nvSpPr>
            <p:spPr bwMode="auto">
              <a:xfrm>
                <a:off x="1866"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6" name="Freeform 238"/>
              <p:cNvSpPr>
                <a:spLocks noEditPoints="1"/>
              </p:cNvSpPr>
              <p:nvPr/>
            </p:nvSpPr>
            <p:spPr bwMode="auto">
              <a:xfrm>
                <a:off x="1868" y="1626"/>
                <a:ext cx="10" cy="2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7" name="Freeform 239"/>
              <p:cNvSpPr>
                <a:spLocks/>
              </p:cNvSpPr>
              <p:nvPr/>
            </p:nvSpPr>
            <p:spPr bwMode="auto">
              <a:xfrm>
                <a:off x="1870" y="1644"/>
                <a:ext cx="6" cy="2"/>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8" name="Freeform 240"/>
              <p:cNvSpPr>
                <a:spLocks/>
              </p:cNvSpPr>
              <p:nvPr/>
            </p:nvSpPr>
            <p:spPr bwMode="auto">
              <a:xfrm>
                <a:off x="1876"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29" name="Freeform 241"/>
              <p:cNvSpPr>
                <a:spLocks/>
              </p:cNvSpPr>
              <p:nvPr/>
            </p:nvSpPr>
            <p:spPr bwMode="auto">
              <a:xfrm>
                <a:off x="1868" y="1626"/>
                <a:ext cx="4" cy="16"/>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0" name="Freeform 242"/>
              <p:cNvSpPr>
                <a:spLocks/>
              </p:cNvSpPr>
              <p:nvPr/>
            </p:nvSpPr>
            <p:spPr bwMode="auto">
              <a:xfrm>
                <a:off x="1872" y="16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1" name="Freeform 243"/>
              <p:cNvSpPr>
                <a:spLocks noEditPoints="1"/>
              </p:cNvSpPr>
              <p:nvPr/>
            </p:nvSpPr>
            <p:spPr bwMode="auto">
              <a:xfrm>
                <a:off x="1980" y="1616"/>
                <a:ext cx="20" cy="12"/>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2" name="Freeform 244"/>
              <p:cNvSpPr>
                <a:spLocks/>
              </p:cNvSpPr>
              <p:nvPr/>
            </p:nvSpPr>
            <p:spPr bwMode="auto">
              <a:xfrm>
                <a:off x="1986" y="1622"/>
                <a:ext cx="6" cy="4"/>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3" name="Freeform 245"/>
              <p:cNvSpPr>
                <a:spLocks/>
              </p:cNvSpPr>
              <p:nvPr/>
            </p:nvSpPr>
            <p:spPr bwMode="auto">
              <a:xfrm>
                <a:off x="1980" y="1616"/>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4" name="Freeform 246"/>
              <p:cNvSpPr>
                <a:spLocks/>
              </p:cNvSpPr>
              <p:nvPr/>
            </p:nvSpPr>
            <p:spPr bwMode="auto">
              <a:xfrm>
                <a:off x="1934" y="160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5" name="Freeform 247"/>
              <p:cNvSpPr>
                <a:spLocks/>
              </p:cNvSpPr>
              <p:nvPr/>
            </p:nvSpPr>
            <p:spPr bwMode="auto">
              <a:xfrm>
                <a:off x="1934" y="160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6" name="Freeform 248"/>
              <p:cNvSpPr>
                <a:spLocks/>
              </p:cNvSpPr>
              <p:nvPr/>
            </p:nvSpPr>
            <p:spPr bwMode="auto">
              <a:xfrm>
                <a:off x="20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7" name="Freeform 249"/>
              <p:cNvSpPr>
                <a:spLocks/>
              </p:cNvSpPr>
              <p:nvPr/>
            </p:nvSpPr>
            <p:spPr bwMode="auto">
              <a:xfrm>
                <a:off x="20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8" name="Freeform 250"/>
              <p:cNvSpPr>
                <a:spLocks/>
              </p:cNvSpPr>
              <p:nvPr/>
            </p:nvSpPr>
            <p:spPr bwMode="auto">
              <a:xfrm>
                <a:off x="19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39" name="Freeform 251"/>
              <p:cNvSpPr>
                <a:spLocks/>
              </p:cNvSpPr>
              <p:nvPr/>
            </p:nvSpPr>
            <p:spPr bwMode="auto">
              <a:xfrm>
                <a:off x="19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0" name="Freeform 252"/>
              <p:cNvSpPr>
                <a:spLocks/>
              </p:cNvSpPr>
              <p:nvPr/>
            </p:nvSpPr>
            <p:spPr bwMode="auto">
              <a:xfrm>
                <a:off x="19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1" name="Freeform 253"/>
              <p:cNvSpPr>
                <a:spLocks/>
              </p:cNvSpPr>
              <p:nvPr/>
            </p:nvSpPr>
            <p:spPr bwMode="auto">
              <a:xfrm>
                <a:off x="19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2" name="Freeform 254"/>
              <p:cNvSpPr>
                <a:spLocks/>
              </p:cNvSpPr>
              <p:nvPr/>
            </p:nvSpPr>
            <p:spPr bwMode="auto">
              <a:xfrm>
                <a:off x="1986"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3" name="Freeform 255"/>
              <p:cNvSpPr>
                <a:spLocks/>
              </p:cNvSpPr>
              <p:nvPr/>
            </p:nvSpPr>
            <p:spPr bwMode="auto">
              <a:xfrm>
                <a:off x="1986"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4" name="Freeform 256"/>
              <p:cNvSpPr>
                <a:spLocks noEditPoints="1"/>
              </p:cNvSpPr>
              <p:nvPr/>
            </p:nvSpPr>
            <p:spPr bwMode="auto">
              <a:xfrm>
                <a:off x="1986" y="1622"/>
                <a:ext cx="6" cy="4"/>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5" name="Freeform 257"/>
              <p:cNvSpPr>
                <a:spLocks/>
              </p:cNvSpPr>
              <p:nvPr/>
            </p:nvSpPr>
            <p:spPr bwMode="auto">
              <a:xfrm>
                <a:off x="1986" y="1624"/>
                <a:ext cx="6" cy="2"/>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6" name="Freeform 258"/>
              <p:cNvSpPr>
                <a:spLocks/>
              </p:cNvSpPr>
              <p:nvPr/>
            </p:nvSpPr>
            <p:spPr bwMode="auto">
              <a:xfrm>
                <a:off x="1988"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7" name="Freeform 259"/>
              <p:cNvSpPr>
                <a:spLocks noEditPoints="1"/>
              </p:cNvSpPr>
              <p:nvPr/>
            </p:nvSpPr>
            <p:spPr bwMode="auto">
              <a:xfrm>
                <a:off x="2902" y="1766"/>
                <a:ext cx="188" cy="144"/>
              </a:xfrm>
              <a:custGeom>
                <a:avLst/>
                <a:gdLst>
                  <a:gd name="T0" fmla="*/ 120 w 188"/>
                  <a:gd name="T1" fmla="*/ 110 h 144"/>
                  <a:gd name="T2" fmla="*/ 114 w 188"/>
                  <a:gd name="T3" fmla="*/ 130 h 144"/>
                  <a:gd name="T4" fmla="*/ 6 w 188"/>
                  <a:gd name="T5" fmla="*/ 112 h 144"/>
                  <a:gd name="T6" fmla="*/ 14 w 188"/>
                  <a:gd name="T7" fmla="*/ 98 h 144"/>
                  <a:gd name="T8" fmla="*/ 20 w 188"/>
                  <a:gd name="T9" fmla="*/ 122 h 144"/>
                  <a:gd name="T10" fmla="*/ 10 w 188"/>
                  <a:gd name="T11" fmla="*/ 48 h 144"/>
                  <a:gd name="T12" fmla="*/ 6 w 188"/>
                  <a:gd name="T13" fmla="*/ 60 h 144"/>
                  <a:gd name="T14" fmla="*/ 12 w 188"/>
                  <a:gd name="T15" fmla="*/ 64 h 144"/>
                  <a:gd name="T16" fmla="*/ 12 w 188"/>
                  <a:gd name="T17" fmla="*/ 68 h 144"/>
                  <a:gd name="T18" fmla="*/ 2 w 188"/>
                  <a:gd name="T19" fmla="*/ 56 h 144"/>
                  <a:gd name="T20" fmla="*/ 8 w 188"/>
                  <a:gd name="T21" fmla="*/ 48 h 144"/>
                  <a:gd name="T22" fmla="*/ 114 w 188"/>
                  <a:gd name="T23" fmla="*/ 2 h 144"/>
                  <a:gd name="T24" fmla="*/ 146 w 188"/>
                  <a:gd name="T25" fmla="*/ 20 h 144"/>
                  <a:gd name="T26" fmla="*/ 154 w 188"/>
                  <a:gd name="T27" fmla="*/ 40 h 144"/>
                  <a:gd name="T28" fmla="*/ 146 w 188"/>
                  <a:gd name="T29" fmla="*/ 52 h 144"/>
                  <a:gd name="T30" fmla="*/ 150 w 188"/>
                  <a:gd name="T31" fmla="*/ 54 h 144"/>
                  <a:gd name="T32" fmla="*/ 158 w 188"/>
                  <a:gd name="T33" fmla="*/ 60 h 144"/>
                  <a:gd name="T34" fmla="*/ 168 w 188"/>
                  <a:gd name="T35" fmla="*/ 32 h 144"/>
                  <a:gd name="T36" fmla="*/ 184 w 188"/>
                  <a:gd name="T37" fmla="*/ 40 h 144"/>
                  <a:gd name="T38" fmla="*/ 158 w 188"/>
                  <a:gd name="T39" fmla="*/ 86 h 144"/>
                  <a:gd name="T40" fmla="*/ 130 w 188"/>
                  <a:gd name="T41" fmla="*/ 94 h 144"/>
                  <a:gd name="T42" fmla="*/ 140 w 188"/>
                  <a:gd name="T43" fmla="*/ 94 h 144"/>
                  <a:gd name="T44" fmla="*/ 136 w 188"/>
                  <a:gd name="T45" fmla="*/ 100 h 144"/>
                  <a:gd name="T46" fmla="*/ 106 w 188"/>
                  <a:gd name="T47" fmla="*/ 86 h 144"/>
                  <a:gd name="T48" fmla="*/ 100 w 188"/>
                  <a:gd name="T49" fmla="*/ 126 h 144"/>
                  <a:gd name="T50" fmla="*/ 80 w 188"/>
                  <a:gd name="T51" fmla="*/ 142 h 144"/>
                  <a:gd name="T52" fmla="*/ 78 w 188"/>
                  <a:gd name="T53" fmla="*/ 118 h 144"/>
                  <a:gd name="T54" fmla="*/ 66 w 188"/>
                  <a:gd name="T55" fmla="*/ 114 h 144"/>
                  <a:gd name="T56" fmla="*/ 54 w 188"/>
                  <a:gd name="T57" fmla="*/ 112 h 144"/>
                  <a:gd name="T58" fmla="*/ 48 w 188"/>
                  <a:gd name="T59" fmla="*/ 136 h 144"/>
                  <a:gd name="T60" fmla="*/ 24 w 188"/>
                  <a:gd name="T61" fmla="*/ 128 h 144"/>
                  <a:gd name="T62" fmla="*/ 20 w 188"/>
                  <a:gd name="T63" fmla="*/ 104 h 144"/>
                  <a:gd name="T64" fmla="*/ 30 w 188"/>
                  <a:gd name="T65" fmla="*/ 46 h 144"/>
                  <a:gd name="T66" fmla="*/ 48 w 188"/>
                  <a:gd name="T67" fmla="*/ 48 h 144"/>
                  <a:gd name="T68" fmla="*/ 50 w 188"/>
                  <a:gd name="T69" fmla="*/ 78 h 144"/>
                  <a:gd name="T70" fmla="*/ 64 w 188"/>
                  <a:gd name="T71" fmla="*/ 98 h 144"/>
                  <a:gd name="T72" fmla="*/ 94 w 188"/>
                  <a:gd name="T73" fmla="*/ 84 h 144"/>
                  <a:gd name="T74" fmla="*/ 92 w 188"/>
                  <a:gd name="T75" fmla="*/ 60 h 144"/>
                  <a:gd name="T76" fmla="*/ 72 w 188"/>
                  <a:gd name="T77" fmla="*/ 92 h 144"/>
                  <a:gd name="T78" fmla="*/ 52 w 188"/>
                  <a:gd name="T79" fmla="*/ 84 h 144"/>
                  <a:gd name="T80" fmla="*/ 44 w 188"/>
                  <a:gd name="T81" fmla="*/ 64 h 144"/>
                  <a:gd name="T82" fmla="*/ 72 w 188"/>
                  <a:gd name="T83" fmla="*/ 24 h 144"/>
                  <a:gd name="T84" fmla="*/ 112 w 188"/>
                  <a:gd name="T85" fmla="*/ 0 h 144"/>
                  <a:gd name="T86" fmla="*/ 76 w 188"/>
                  <a:gd name="T87" fmla="*/ 18 h 144"/>
                  <a:gd name="T88" fmla="*/ 42 w 188"/>
                  <a:gd name="T89" fmla="*/ 34 h 144"/>
                  <a:gd name="T90" fmla="*/ 8 w 188"/>
                  <a:gd name="T91" fmla="*/ 62 h 144"/>
                  <a:gd name="T92" fmla="*/ 12 w 188"/>
                  <a:gd name="T93" fmla="*/ 44 h 144"/>
                  <a:gd name="T94" fmla="*/ 8 w 188"/>
                  <a:gd name="T95" fmla="*/ 70 h 144"/>
                  <a:gd name="T96" fmla="*/ 6 w 188"/>
                  <a:gd name="T97" fmla="*/ 100 h 144"/>
                  <a:gd name="T98" fmla="*/ 16 w 188"/>
                  <a:gd name="T99" fmla="*/ 124 h 144"/>
                  <a:gd name="T100" fmla="*/ 24 w 188"/>
                  <a:gd name="T101" fmla="*/ 138 h 144"/>
                  <a:gd name="T102" fmla="*/ 52 w 188"/>
                  <a:gd name="T103" fmla="*/ 134 h 144"/>
                  <a:gd name="T104" fmla="*/ 64 w 188"/>
                  <a:gd name="T105" fmla="*/ 122 h 144"/>
                  <a:gd name="T106" fmla="*/ 84 w 188"/>
                  <a:gd name="T107" fmla="*/ 144 h 144"/>
                  <a:gd name="T108" fmla="*/ 116 w 188"/>
                  <a:gd name="T109" fmla="*/ 132 h 144"/>
                  <a:gd name="T110" fmla="*/ 120 w 188"/>
                  <a:gd name="T111" fmla="*/ 104 h 144"/>
                  <a:gd name="T112" fmla="*/ 128 w 188"/>
                  <a:gd name="T113" fmla="*/ 102 h 144"/>
                  <a:gd name="T114" fmla="*/ 152 w 188"/>
                  <a:gd name="T115" fmla="*/ 90 h 144"/>
                  <a:gd name="T116" fmla="*/ 180 w 188"/>
                  <a:gd name="T117" fmla="*/ 78 h 144"/>
                  <a:gd name="T118" fmla="*/ 182 w 188"/>
                  <a:gd name="T119" fmla="*/ 28 h 144"/>
                  <a:gd name="T120" fmla="*/ 166 w 188"/>
                  <a:gd name="T121" fmla="*/ 30 h 144"/>
                  <a:gd name="T122" fmla="*/ 138 w 188"/>
                  <a:gd name="T123"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04" y="128"/>
                    </a:moveTo>
                    <a:lnTo>
                      <a:pt x="104" y="128"/>
                    </a:lnTo>
                    <a:lnTo>
                      <a:pt x="104" y="128"/>
                    </a:lnTo>
                    <a:lnTo>
                      <a:pt x="104" y="128"/>
                    </a:lnTo>
                    <a:lnTo>
                      <a:pt x="118" y="102"/>
                    </a:lnTo>
                    <a:lnTo>
                      <a:pt x="118" y="102"/>
                    </a:lnTo>
                    <a:lnTo>
                      <a:pt x="120" y="110"/>
                    </a:lnTo>
                    <a:lnTo>
                      <a:pt x="120" y="110"/>
                    </a:lnTo>
                    <a:lnTo>
                      <a:pt x="120" y="126"/>
                    </a:lnTo>
                    <a:lnTo>
                      <a:pt x="120" y="126"/>
                    </a:lnTo>
                    <a:lnTo>
                      <a:pt x="118" y="128"/>
                    </a:lnTo>
                    <a:lnTo>
                      <a:pt x="118" y="128"/>
                    </a:lnTo>
                    <a:lnTo>
                      <a:pt x="118" y="130"/>
                    </a:lnTo>
                    <a:lnTo>
                      <a:pt x="118" y="130"/>
                    </a:lnTo>
                    <a:lnTo>
                      <a:pt x="114" y="130"/>
                    </a:lnTo>
                    <a:lnTo>
                      <a:pt x="114" y="130"/>
                    </a:lnTo>
                    <a:lnTo>
                      <a:pt x="104" y="128"/>
                    </a:lnTo>
                    <a:lnTo>
                      <a:pt x="104" y="128"/>
                    </a:lnTo>
                    <a:lnTo>
                      <a:pt x="104" y="128"/>
                    </a:lnTo>
                    <a:close/>
                    <a:moveTo>
                      <a:pt x="20" y="122"/>
                    </a:moveTo>
                    <a:lnTo>
                      <a:pt x="20" y="122"/>
                    </a:lnTo>
                    <a:lnTo>
                      <a:pt x="14" y="120"/>
                    </a:lnTo>
                    <a:lnTo>
                      <a:pt x="10" y="116"/>
                    </a:lnTo>
                    <a:lnTo>
                      <a:pt x="6" y="112"/>
                    </a:lnTo>
                    <a:lnTo>
                      <a:pt x="6" y="108"/>
                    </a:lnTo>
                    <a:lnTo>
                      <a:pt x="6" y="108"/>
                    </a:lnTo>
                    <a:lnTo>
                      <a:pt x="6" y="104"/>
                    </a:lnTo>
                    <a:lnTo>
                      <a:pt x="6" y="104"/>
                    </a:lnTo>
                    <a:lnTo>
                      <a:pt x="14" y="98"/>
                    </a:lnTo>
                    <a:lnTo>
                      <a:pt x="14" y="98"/>
                    </a:lnTo>
                    <a:lnTo>
                      <a:pt x="14" y="98"/>
                    </a:lnTo>
                    <a:lnTo>
                      <a:pt x="14" y="98"/>
                    </a:lnTo>
                    <a:lnTo>
                      <a:pt x="14" y="98"/>
                    </a:lnTo>
                    <a:lnTo>
                      <a:pt x="14" y="98"/>
                    </a:lnTo>
                    <a:lnTo>
                      <a:pt x="24" y="116"/>
                    </a:lnTo>
                    <a:lnTo>
                      <a:pt x="24" y="116"/>
                    </a:lnTo>
                    <a:lnTo>
                      <a:pt x="24" y="120"/>
                    </a:lnTo>
                    <a:lnTo>
                      <a:pt x="20" y="122"/>
                    </a:lnTo>
                    <a:lnTo>
                      <a:pt x="20" y="122"/>
                    </a:lnTo>
                    <a:lnTo>
                      <a:pt x="20" y="122"/>
                    </a:lnTo>
                    <a:lnTo>
                      <a:pt x="20" y="122"/>
                    </a:lnTo>
                    <a:lnTo>
                      <a:pt x="20" y="122"/>
                    </a:lnTo>
                    <a:close/>
                    <a:moveTo>
                      <a:pt x="10" y="48"/>
                    </a:moveTo>
                    <a:lnTo>
                      <a:pt x="10" y="48"/>
                    </a:lnTo>
                    <a:lnTo>
                      <a:pt x="10" y="48"/>
                    </a:ln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8" y="64"/>
                    </a:lnTo>
                    <a:lnTo>
                      <a:pt x="8" y="64"/>
                    </a:lnTo>
                    <a:lnTo>
                      <a:pt x="10" y="64"/>
                    </a:lnTo>
                    <a:lnTo>
                      <a:pt x="10" y="64"/>
                    </a:lnTo>
                    <a:lnTo>
                      <a:pt x="12" y="64"/>
                    </a:lnTo>
                    <a:lnTo>
                      <a:pt x="12" y="64"/>
                    </a:lnTo>
                    <a:lnTo>
                      <a:pt x="14" y="62"/>
                    </a:lnTo>
                    <a:lnTo>
                      <a:pt x="14" y="62"/>
                    </a:lnTo>
                    <a:lnTo>
                      <a:pt x="14" y="62"/>
                    </a:lnTo>
                    <a:lnTo>
                      <a:pt x="14" y="62"/>
                    </a:lnTo>
                    <a:lnTo>
                      <a:pt x="14" y="62"/>
                    </a:lnTo>
                    <a:lnTo>
                      <a:pt x="14" y="62"/>
                    </a:lnTo>
                    <a:lnTo>
                      <a:pt x="12" y="68"/>
                    </a:lnTo>
                    <a:lnTo>
                      <a:pt x="12" y="68"/>
                    </a:lnTo>
                    <a:lnTo>
                      <a:pt x="10" y="68"/>
                    </a:lnTo>
                    <a:lnTo>
                      <a:pt x="10" y="68"/>
                    </a:lnTo>
                    <a:lnTo>
                      <a:pt x="8" y="68"/>
                    </a:lnTo>
                    <a:lnTo>
                      <a:pt x="8" y="68"/>
                    </a:lnTo>
                    <a:lnTo>
                      <a:pt x="6" y="68"/>
                    </a:lnTo>
                    <a:lnTo>
                      <a:pt x="6" y="68"/>
                    </a:lnTo>
                    <a:lnTo>
                      <a:pt x="4" y="60"/>
                    </a:lnTo>
                    <a:lnTo>
                      <a:pt x="2" y="56"/>
                    </a:lnTo>
                    <a:lnTo>
                      <a:pt x="2" y="54"/>
                    </a:lnTo>
                    <a:lnTo>
                      <a:pt x="2" y="54"/>
                    </a:lnTo>
                    <a:lnTo>
                      <a:pt x="8" y="48"/>
                    </a:lnTo>
                    <a:lnTo>
                      <a:pt x="8" y="48"/>
                    </a:lnTo>
                    <a:lnTo>
                      <a:pt x="8" y="48"/>
                    </a:lnTo>
                    <a:lnTo>
                      <a:pt x="8" y="48"/>
                    </a:lnTo>
                    <a:lnTo>
                      <a:pt x="8" y="48"/>
                    </a:lnTo>
                    <a:lnTo>
                      <a:pt x="8" y="48"/>
                    </a:lnTo>
                    <a:lnTo>
                      <a:pt x="10" y="48"/>
                    </a:lnTo>
                    <a:close/>
                    <a:moveTo>
                      <a:pt x="82" y="18"/>
                    </a:moveTo>
                    <a:lnTo>
                      <a:pt x="82" y="18"/>
                    </a:lnTo>
                    <a:lnTo>
                      <a:pt x="86" y="14"/>
                    </a:lnTo>
                    <a:lnTo>
                      <a:pt x="88" y="12"/>
                    </a:lnTo>
                    <a:lnTo>
                      <a:pt x="96" y="6"/>
                    </a:lnTo>
                    <a:lnTo>
                      <a:pt x="96" y="6"/>
                    </a:lnTo>
                    <a:lnTo>
                      <a:pt x="114" y="2"/>
                    </a:lnTo>
                    <a:lnTo>
                      <a:pt x="114" y="2"/>
                    </a:lnTo>
                    <a:lnTo>
                      <a:pt x="122" y="4"/>
                    </a:lnTo>
                    <a:lnTo>
                      <a:pt x="130" y="6"/>
                    </a:lnTo>
                    <a:lnTo>
                      <a:pt x="130" y="6"/>
                    </a:lnTo>
                    <a:lnTo>
                      <a:pt x="144" y="18"/>
                    </a:lnTo>
                    <a:lnTo>
                      <a:pt x="144" y="18"/>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4"/>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6" y="46"/>
                    </a:lnTo>
                    <a:lnTo>
                      <a:pt x="156" y="46"/>
                    </a:lnTo>
                    <a:lnTo>
                      <a:pt x="158" y="46"/>
                    </a:lnTo>
                    <a:lnTo>
                      <a:pt x="158" y="46"/>
                    </a:lnTo>
                    <a:lnTo>
                      <a:pt x="160" y="48"/>
                    </a:lnTo>
                    <a:lnTo>
                      <a:pt x="160" y="48"/>
                    </a:lnTo>
                    <a:lnTo>
                      <a:pt x="158" y="60"/>
                    </a:lnTo>
                    <a:lnTo>
                      <a:pt x="158" y="60"/>
                    </a:lnTo>
                    <a:lnTo>
                      <a:pt x="162" y="50"/>
                    </a:lnTo>
                    <a:lnTo>
                      <a:pt x="160" y="40"/>
                    </a:lnTo>
                    <a:lnTo>
                      <a:pt x="160" y="40"/>
                    </a:lnTo>
                    <a:lnTo>
                      <a:pt x="162" y="38"/>
                    </a:lnTo>
                    <a:lnTo>
                      <a:pt x="164" y="36"/>
                    </a:lnTo>
                    <a:lnTo>
                      <a:pt x="164" y="36"/>
                    </a:lnTo>
                    <a:lnTo>
                      <a:pt x="168" y="32"/>
                    </a:lnTo>
                    <a:lnTo>
                      <a:pt x="174" y="28"/>
                    </a:lnTo>
                    <a:lnTo>
                      <a:pt x="174" y="28"/>
                    </a:lnTo>
                    <a:lnTo>
                      <a:pt x="176" y="26"/>
                    </a:lnTo>
                    <a:lnTo>
                      <a:pt x="176" y="26"/>
                    </a:lnTo>
                    <a:lnTo>
                      <a:pt x="180" y="28"/>
                    </a:lnTo>
                    <a:lnTo>
                      <a:pt x="180" y="28"/>
                    </a:lnTo>
                    <a:lnTo>
                      <a:pt x="184" y="40"/>
                    </a:lnTo>
                    <a:lnTo>
                      <a:pt x="184" y="40"/>
                    </a:lnTo>
                    <a:lnTo>
                      <a:pt x="184" y="54"/>
                    </a:lnTo>
                    <a:lnTo>
                      <a:pt x="184" y="62"/>
                    </a:lnTo>
                    <a:lnTo>
                      <a:pt x="182" y="68"/>
                    </a:lnTo>
                    <a:lnTo>
                      <a:pt x="182" y="68"/>
                    </a:lnTo>
                    <a:lnTo>
                      <a:pt x="178" y="78"/>
                    </a:lnTo>
                    <a:lnTo>
                      <a:pt x="172" y="82"/>
                    </a:lnTo>
                    <a:lnTo>
                      <a:pt x="166" y="86"/>
                    </a:lnTo>
                    <a:lnTo>
                      <a:pt x="158" y="86"/>
                    </a:lnTo>
                    <a:lnTo>
                      <a:pt x="158" y="86"/>
                    </a:lnTo>
                    <a:lnTo>
                      <a:pt x="150" y="86"/>
                    </a:lnTo>
                    <a:lnTo>
                      <a:pt x="150" y="86"/>
                    </a:lnTo>
                    <a:lnTo>
                      <a:pt x="140" y="84"/>
                    </a:lnTo>
                    <a:lnTo>
                      <a:pt x="130" y="82"/>
                    </a:lnTo>
                    <a:lnTo>
                      <a:pt x="130" y="82"/>
                    </a:lnTo>
                    <a:lnTo>
                      <a:pt x="130" y="94"/>
                    </a:lnTo>
                    <a:lnTo>
                      <a:pt x="130" y="94"/>
                    </a:lnTo>
                    <a:lnTo>
                      <a:pt x="130" y="96"/>
                    </a:lnTo>
                    <a:lnTo>
                      <a:pt x="132" y="98"/>
                    </a:lnTo>
                    <a:lnTo>
                      <a:pt x="132" y="98"/>
                    </a:lnTo>
                    <a:lnTo>
                      <a:pt x="134" y="98"/>
                    </a:lnTo>
                    <a:lnTo>
                      <a:pt x="134" y="98"/>
                    </a:lnTo>
                    <a:lnTo>
                      <a:pt x="138" y="98"/>
                    </a:lnTo>
                    <a:lnTo>
                      <a:pt x="138" y="98"/>
                    </a:lnTo>
                    <a:lnTo>
                      <a:pt x="140" y="94"/>
                    </a:lnTo>
                    <a:lnTo>
                      <a:pt x="142" y="90"/>
                    </a:lnTo>
                    <a:lnTo>
                      <a:pt x="142" y="90"/>
                    </a:lnTo>
                    <a:lnTo>
                      <a:pt x="144" y="88"/>
                    </a:lnTo>
                    <a:lnTo>
                      <a:pt x="144" y="88"/>
                    </a:lnTo>
                    <a:lnTo>
                      <a:pt x="144" y="92"/>
                    </a:lnTo>
                    <a:lnTo>
                      <a:pt x="142" y="96"/>
                    </a:lnTo>
                    <a:lnTo>
                      <a:pt x="140" y="98"/>
                    </a:lnTo>
                    <a:lnTo>
                      <a:pt x="136" y="100"/>
                    </a:lnTo>
                    <a:lnTo>
                      <a:pt x="136" y="100"/>
                    </a:lnTo>
                    <a:lnTo>
                      <a:pt x="134" y="100"/>
                    </a:lnTo>
                    <a:lnTo>
                      <a:pt x="134" y="100"/>
                    </a:lnTo>
                    <a:lnTo>
                      <a:pt x="130" y="100"/>
                    </a:lnTo>
                    <a:lnTo>
                      <a:pt x="126" y="98"/>
                    </a:lnTo>
                    <a:lnTo>
                      <a:pt x="126" y="98"/>
                    </a:lnTo>
                    <a:lnTo>
                      <a:pt x="116" y="90"/>
                    </a:lnTo>
                    <a:lnTo>
                      <a:pt x="106" y="86"/>
                    </a:lnTo>
                    <a:lnTo>
                      <a:pt x="106" y="86"/>
                    </a:lnTo>
                    <a:lnTo>
                      <a:pt x="112" y="92"/>
                    </a:lnTo>
                    <a:lnTo>
                      <a:pt x="112" y="92"/>
                    </a:lnTo>
                    <a:lnTo>
                      <a:pt x="114" y="94"/>
                    </a:lnTo>
                    <a:lnTo>
                      <a:pt x="114" y="94"/>
                    </a:lnTo>
                    <a:lnTo>
                      <a:pt x="110" y="112"/>
                    </a:lnTo>
                    <a:lnTo>
                      <a:pt x="104"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8" y="112"/>
                    </a:lnTo>
                    <a:lnTo>
                      <a:pt x="76" y="114"/>
                    </a:lnTo>
                    <a:lnTo>
                      <a:pt x="70" y="116"/>
                    </a:lnTo>
                    <a:lnTo>
                      <a:pt x="70" y="116"/>
                    </a:lnTo>
                    <a:lnTo>
                      <a:pt x="66" y="114"/>
                    </a:lnTo>
                    <a:lnTo>
                      <a:pt x="66" y="114"/>
                    </a:lnTo>
                    <a:lnTo>
                      <a:pt x="60" y="114"/>
                    </a:lnTo>
                    <a:lnTo>
                      <a:pt x="60" y="114"/>
                    </a:lnTo>
                    <a:lnTo>
                      <a:pt x="56" y="114"/>
                    </a:lnTo>
                    <a:lnTo>
                      <a:pt x="54" y="112"/>
                    </a:lnTo>
                    <a:lnTo>
                      <a:pt x="54" y="110"/>
                    </a:lnTo>
                    <a:lnTo>
                      <a:pt x="54" y="110"/>
                    </a:lnTo>
                    <a:lnTo>
                      <a:pt x="54" y="112"/>
                    </a:lnTo>
                    <a:lnTo>
                      <a:pt x="54" y="112"/>
                    </a:lnTo>
                    <a:lnTo>
                      <a:pt x="54" y="114"/>
                    </a:lnTo>
                    <a:lnTo>
                      <a:pt x="54" y="114"/>
                    </a:lnTo>
                    <a:lnTo>
                      <a:pt x="52" y="122"/>
                    </a:lnTo>
                    <a:lnTo>
                      <a:pt x="50" y="128"/>
                    </a:lnTo>
                    <a:lnTo>
                      <a:pt x="50" y="128"/>
                    </a:lnTo>
                    <a:lnTo>
                      <a:pt x="48" y="132"/>
                    </a:lnTo>
                    <a:lnTo>
                      <a:pt x="48" y="136"/>
                    </a:lnTo>
                    <a:lnTo>
                      <a:pt x="48" y="136"/>
                    </a:lnTo>
                    <a:lnTo>
                      <a:pt x="46" y="138"/>
                    </a:lnTo>
                    <a:lnTo>
                      <a:pt x="44" y="138"/>
                    </a:lnTo>
                    <a:lnTo>
                      <a:pt x="44" y="138"/>
                    </a:lnTo>
                    <a:lnTo>
                      <a:pt x="28" y="136"/>
                    </a:lnTo>
                    <a:lnTo>
                      <a:pt x="28" y="136"/>
                    </a:lnTo>
                    <a:lnTo>
                      <a:pt x="24" y="134"/>
                    </a:lnTo>
                    <a:lnTo>
                      <a:pt x="24" y="128"/>
                    </a:lnTo>
                    <a:lnTo>
                      <a:pt x="24" y="128"/>
                    </a:lnTo>
                    <a:lnTo>
                      <a:pt x="26" y="124"/>
                    </a:lnTo>
                    <a:lnTo>
                      <a:pt x="28" y="120"/>
                    </a:lnTo>
                    <a:lnTo>
                      <a:pt x="28" y="120"/>
                    </a:lnTo>
                    <a:lnTo>
                      <a:pt x="26" y="116"/>
                    </a:lnTo>
                    <a:lnTo>
                      <a:pt x="26" y="114"/>
                    </a:lnTo>
                    <a:lnTo>
                      <a:pt x="26" y="114"/>
                    </a:lnTo>
                    <a:lnTo>
                      <a:pt x="20" y="104"/>
                    </a:lnTo>
                    <a:lnTo>
                      <a:pt x="18" y="96"/>
                    </a:lnTo>
                    <a:lnTo>
                      <a:pt x="16" y="86"/>
                    </a:lnTo>
                    <a:lnTo>
                      <a:pt x="14" y="76"/>
                    </a:lnTo>
                    <a:lnTo>
                      <a:pt x="14" y="76"/>
                    </a:lnTo>
                    <a:lnTo>
                      <a:pt x="16" y="68"/>
                    </a:lnTo>
                    <a:lnTo>
                      <a:pt x="20" y="60"/>
                    </a:lnTo>
                    <a:lnTo>
                      <a:pt x="24" y="52"/>
                    </a:lnTo>
                    <a:lnTo>
                      <a:pt x="30" y="46"/>
                    </a:lnTo>
                    <a:lnTo>
                      <a:pt x="30" y="46"/>
                    </a:lnTo>
                    <a:lnTo>
                      <a:pt x="42" y="38"/>
                    </a:lnTo>
                    <a:lnTo>
                      <a:pt x="56" y="34"/>
                    </a:lnTo>
                    <a:lnTo>
                      <a:pt x="56" y="34"/>
                    </a:lnTo>
                    <a:lnTo>
                      <a:pt x="58" y="34"/>
                    </a:lnTo>
                    <a:lnTo>
                      <a:pt x="58" y="34"/>
                    </a:lnTo>
                    <a:lnTo>
                      <a:pt x="48" y="48"/>
                    </a:lnTo>
                    <a:lnTo>
                      <a:pt x="48" y="48"/>
                    </a:lnTo>
                    <a:lnTo>
                      <a:pt x="44" y="54"/>
                    </a:lnTo>
                    <a:lnTo>
                      <a:pt x="42" y="60"/>
                    </a:lnTo>
                    <a:lnTo>
                      <a:pt x="42" y="60"/>
                    </a:lnTo>
                    <a:lnTo>
                      <a:pt x="40" y="62"/>
                    </a:lnTo>
                    <a:lnTo>
                      <a:pt x="42" y="66"/>
                    </a:lnTo>
                    <a:lnTo>
                      <a:pt x="46" y="72"/>
                    </a:lnTo>
                    <a:lnTo>
                      <a:pt x="46" y="72"/>
                    </a:lnTo>
                    <a:lnTo>
                      <a:pt x="50" y="78"/>
                    </a:lnTo>
                    <a:lnTo>
                      <a:pt x="50" y="82"/>
                    </a:lnTo>
                    <a:lnTo>
                      <a:pt x="48" y="86"/>
                    </a:lnTo>
                    <a:lnTo>
                      <a:pt x="48" y="86"/>
                    </a:lnTo>
                    <a:lnTo>
                      <a:pt x="48" y="90"/>
                    </a:lnTo>
                    <a:lnTo>
                      <a:pt x="48" y="90"/>
                    </a:lnTo>
                    <a:lnTo>
                      <a:pt x="56" y="96"/>
                    </a:lnTo>
                    <a:lnTo>
                      <a:pt x="60" y="98"/>
                    </a:lnTo>
                    <a:lnTo>
                      <a:pt x="64" y="98"/>
                    </a:lnTo>
                    <a:lnTo>
                      <a:pt x="64" y="98"/>
                    </a:lnTo>
                    <a:lnTo>
                      <a:pt x="68" y="98"/>
                    </a:lnTo>
                    <a:lnTo>
                      <a:pt x="72" y="94"/>
                    </a:lnTo>
                    <a:lnTo>
                      <a:pt x="72" y="94"/>
                    </a:lnTo>
                    <a:lnTo>
                      <a:pt x="82" y="90"/>
                    </a:lnTo>
                    <a:lnTo>
                      <a:pt x="92" y="86"/>
                    </a:lnTo>
                    <a:lnTo>
                      <a:pt x="92" y="86"/>
                    </a:lnTo>
                    <a:lnTo>
                      <a:pt x="94" y="84"/>
                    </a:lnTo>
                    <a:lnTo>
                      <a:pt x="94" y="84"/>
                    </a:lnTo>
                    <a:lnTo>
                      <a:pt x="96" y="78"/>
                    </a:lnTo>
                    <a:lnTo>
                      <a:pt x="96" y="70"/>
                    </a:lnTo>
                    <a:lnTo>
                      <a:pt x="96" y="58"/>
                    </a:lnTo>
                    <a:lnTo>
                      <a:pt x="96" y="58"/>
                    </a:lnTo>
                    <a:lnTo>
                      <a:pt x="92" y="42"/>
                    </a:lnTo>
                    <a:lnTo>
                      <a:pt x="92" y="42"/>
                    </a:lnTo>
                    <a:lnTo>
                      <a:pt x="92" y="60"/>
                    </a:lnTo>
                    <a:lnTo>
                      <a:pt x="92" y="60"/>
                    </a:lnTo>
                    <a:lnTo>
                      <a:pt x="92" y="80"/>
                    </a:lnTo>
                    <a:lnTo>
                      <a:pt x="92" y="80"/>
                    </a:lnTo>
                    <a:lnTo>
                      <a:pt x="90" y="82"/>
                    </a:lnTo>
                    <a:lnTo>
                      <a:pt x="88" y="84"/>
                    </a:lnTo>
                    <a:lnTo>
                      <a:pt x="88" y="84"/>
                    </a:lnTo>
                    <a:lnTo>
                      <a:pt x="80" y="88"/>
                    </a:lnTo>
                    <a:lnTo>
                      <a:pt x="72" y="92"/>
                    </a:lnTo>
                    <a:lnTo>
                      <a:pt x="72" y="92"/>
                    </a:lnTo>
                    <a:lnTo>
                      <a:pt x="62" y="94"/>
                    </a:lnTo>
                    <a:lnTo>
                      <a:pt x="62" y="94"/>
                    </a:lnTo>
                    <a:lnTo>
                      <a:pt x="58" y="92"/>
                    </a:lnTo>
                    <a:lnTo>
                      <a:pt x="54" y="88"/>
                    </a:lnTo>
                    <a:lnTo>
                      <a:pt x="54" y="88"/>
                    </a:lnTo>
                    <a:lnTo>
                      <a:pt x="52" y="86"/>
                    </a:lnTo>
                    <a:lnTo>
                      <a:pt x="52" y="84"/>
                    </a:lnTo>
                    <a:lnTo>
                      <a:pt x="52" y="84"/>
                    </a:lnTo>
                    <a:lnTo>
                      <a:pt x="56" y="76"/>
                    </a:lnTo>
                    <a:lnTo>
                      <a:pt x="56" y="76"/>
                    </a:lnTo>
                    <a:lnTo>
                      <a:pt x="60" y="68"/>
                    </a:lnTo>
                    <a:lnTo>
                      <a:pt x="60" y="68"/>
                    </a:lnTo>
                    <a:lnTo>
                      <a:pt x="52" y="76"/>
                    </a:lnTo>
                    <a:lnTo>
                      <a:pt x="52" y="76"/>
                    </a:lnTo>
                    <a:lnTo>
                      <a:pt x="44" y="64"/>
                    </a:lnTo>
                    <a:lnTo>
                      <a:pt x="44" y="64"/>
                    </a:lnTo>
                    <a:lnTo>
                      <a:pt x="44" y="62"/>
                    </a:lnTo>
                    <a:lnTo>
                      <a:pt x="44" y="62"/>
                    </a:lnTo>
                    <a:lnTo>
                      <a:pt x="48" y="54"/>
                    </a:lnTo>
                    <a:lnTo>
                      <a:pt x="52" y="48"/>
                    </a:lnTo>
                    <a:lnTo>
                      <a:pt x="52" y="48"/>
                    </a:lnTo>
                    <a:lnTo>
                      <a:pt x="72" y="24"/>
                    </a:lnTo>
                    <a:lnTo>
                      <a:pt x="72" y="24"/>
                    </a:lnTo>
                    <a:lnTo>
                      <a:pt x="76" y="22"/>
                    </a:lnTo>
                    <a:lnTo>
                      <a:pt x="80" y="22"/>
                    </a:lnTo>
                    <a:lnTo>
                      <a:pt x="86" y="20"/>
                    </a:lnTo>
                    <a:lnTo>
                      <a:pt x="86" y="20"/>
                    </a:lnTo>
                    <a:lnTo>
                      <a:pt x="90" y="18"/>
                    </a:lnTo>
                    <a:lnTo>
                      <a:pt x="90" y="18"/>
                    </a:lnTo>
                    <a:lnTo>
                      <a:pt x="82" y="18"/>
                    </a:lnTo>
                    <a:close/>
                    <a:moveTo>
                      <a:pt x="112" y="0"/>
                    </a:moveTo>
                    <a:lnTo>
                      <a:pt x="112" y="0"/>
                    </a:lnTo>
                    <a:lnTo>
                      <a:pt x="106" y="0"/>
                    </a:lnTo>
                    <a:lnTo>
                      <a:pt x="98" y="2"/>
                    </a:lnTo>
                    <a:lnTo>
                      <a:pt x="92" y="6"/>
                    </a:lnTo>
                    <a:lnTo>
                      <a:pt x="84" y="10"/>
                    </a:lnTo>
                    <a:lnTo>
                      <a:pt x="84" y="10"/>
                    </a:lnTo>
                    <a:lnTo>
                      <a:pt x="80" y="16"/>
                    </a:lnTo>
                    <a:lnTo>
                      <a:pt x="76" y="18"/>
                    </a:lnTo>
                    <a:lnTo>
                      <a:pt x="72" y="20"/>
                    </a:lnTo>
                    <a:lnTo>
                      <a:pt x="72" y="20"/>
                    </a:lnTo>
                    <a:lnTo>
                      <a:pt x="70" y="22"/>
                    </a:lnTo>
                    <a:lnTo>
                      <a:pt x="70" y="22"/>
                    </a:lnTo>
                    <a:lnTo>
                      <a:pt x="62" y="28"/>
                    </a:lnTo>
                    <a:lnTo>
                      <a:pt x="54" y="30"/>
                    </a:lnTo>
                    <a:lnTo>
                      <a:pt x="54" y="30"/>
                    </a:lnTo>
                    <a:lnTo>
                      <a:pt x="42" y="34"/>
                    </a:lnTo>
                    <a:lnTo>
                      <a:pt x="34" y="38"/>
                    </a:lnTo>
                    <a:lnTo>
                      <a:pt x="24" y="46"/>
                    </a:lnTo>
                    <a:lnTo>
                      <a:pt x="18" y="54"/>
                    </a:lnTo>
                    <a:lnTo>
                      <a:pt x="18" y="54"/>
                    </a:lnTo>
                    <a:lnTo>
                      <a:pt x="12" y="60"/>
                    </a:lnTo>
                    <a:lnTo>
                      <a:pt x="12" y="60"/>
                    </a:lnTo>
                    <a:lnTo>
                      <a:pt x="8" y="62"/>
                    </a:lnTo>
                    <a:lnTo>
                      <a:pt x="8" y="62"/>
                    </a:lnTo>
                    <a:lnTo>
                      <a:pt x="12" y="54"/>
                    </a:lnTo>
                    <a:lnTo>
                      <a:pt x="12" y="54"/>
                    </a:lnTo>
                    <a:lnTo>
                      <a:pt x="14" y="54"/>
                    </a:lnTo>
                    <a:lnTo>
                      <a:pt x="14" y="54"/>
                    </a:lnTo>
                    <a:lnTo>
                      <a:pt x="14" y="48"/>
                    </a:lnTo>
                    <a:lnTo>
                      <a:pt x="14" y="48"/>
                    </a:lnTo>
                    <a:lnTo>
                      <a:pt x="12" y="44"/>
                    </a:lnTo>
                    <a:lnTo>
                      <a:pt x="12" y="44"/>
                    </a:lnTo>
                    <a:lnTo>
                      <a:pt x="4" y="48"/>
                    </a:lnTo>
                    <a:lnTo>
                      <a:pt x="0" y="52"/>
                    </a:lnTo>
                    <a:lnTo>
                      <a:pt x="0" y="56"/>
                    </a:lnTo>
                    <a:lnTo>
                      <a:pt x="0" y="56"/>
                    </a:lnTo>
                    <a:lnTo>
                      <a:pt x="2" y="62"/>
                    </a:lnTo>
                    <a:lnTo>
                      <a:pt x="4" y="66"/>
                    </a:lnTo>
                    <a:lnTo>
                      <a:pt x="4" y="66"/>
                    </a:lnTo>
                    <a:lnTo>
                      <a:pt x="8" y="70"/>
                    </a:lnTo>
                    <a:lnTo>
                      <a:pt x="12" y="72"/>
                    </a:lnTo>
                    <a:lnTo>
                      <a:pt x="12" y="72"/>
                    </a:lnTo>
                    <a:lnTo>
                      <a:pt x="12" y="84"/>
                    </a:lnTo>
                    <a:lnTo>
                      <a:pt x="12" y="84"/>
                    </a:lnTo>
                    <a:lnTo>
                      <a:pt x="12" y="88"/>
                    </a:lnTo>
                    <a:lnTo>
                      <a:pt x="12" y="94"/>
                    </a:lnTo>
                    <a:lnTo>
                      <a:pt x="10" y="98"/>
                    </a:lnTo>
                    <a:lnTo>
                      <a:pt x="6" y="100"/>
                    </a:lnTo>
                    <a:lnTo>
                      <a:pt x="6" y="100"/>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4"/>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2"/>
                    </a:lnTo>
                    <a:lnTo>
                      <a:pt x="64" y="128"/>
                    </a:lnTo>
                    <a:lnTo>
                      <a:pt x="64" y="128"/>
                    </a:lnTo>
                    <a:lnTo>
                      <a:pt x="74" y="142"/>
                    </a:lnTo>
                    <a:lnTo>
                      <a:pt x="74" y="142"/>
                    </a:lnTo>
                    <a:lnTo>
                      <a:pt x="78" y="144"/>
                    </a:lnTo>
                    <a:lnTo>
                      <a:pt x="80" y="144"/>
                    </a:lnTo>
                    <a:lnTo>
                      <a:pt x="80" y="144"/>
                    </a:lnTo>
                    <a:lnTo>
                      <a:pt x="84"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6"/>
                    </a:lnTo>
                    <a:lnTo>
                      <a:pt x="124" y="122"/>
                    </a:lnTo>
                    <a:lnTo>
                      <a:pt x="124" y="122"/>
                    </a:lnTo>
                    <a:lnTo>
                      <a:pt x="122" y="114"/>
                    </a:lnTo>
                    <a:lnTo>
                      <a:pt x="122" y="114"/>
                    </a:lnTo>
                    <a:lnTo>
                      <a:pt x="120" y="104"/>
                    </a:lnTo>
                    <a:lnTo>
                      <a:pt x="120" y="104"/>
                    </a:lnTo>
                    <a:lnTo>
                      <a:pt x="118" y="94"/>
                    </a:lnTo>
                    <a:lnTo>
                      <a:pt x="118" y="94"/>
                    </a:lnTo>
                    <a:lnTo>
                      <a:pt x="118" y="94"/>
                    </a:lnTo>
                    <a:lnTo>
                      <a:pt x="118" y="94"/>
                    </a:lnTo>
                    <a:lnTo>
                      <a:pt x="124" y="100"/>
                    </a:lnTo>
                    <a:lnTo>
                      <a:pt x="124" y="100"/>
                    </a:lnTo>
                    <a:lnTo>
                      <a:pt x="128" y="102"/>
                    </a:lnTo>
                    <a:lnTo>
                      <a:pt x="134" y="104"/>
                    </a:lnTo>
                    <a:lnTo>
                      <a:pt x="134" y="104"/>
                    </a:lnTo>
                    <a:lnTo>
                      <a:pt x="140" y="102"/>
                    </a:lnTo>
                    <a:lnTo>
                      <a:pt x="144" y="98"/>
                    </a:lnTo>
                    <a:lnTo>
                      <a:pt x="146" y="94"/>
                    </a:lnTo>
                    <a:lnTo>
                      <a:pt x="146" y="94"/>
                    </a:lnTo>
                    <a:lnTo>
                      <a:pt x="148" y="90"/>
                    </a:lnTo>
                    <a:lnTo>
                      <a:pt x="152" y="90"/>
                    </a:lnTo>
                    <a:lnTo>
                      <a:pt x="152" y="90"/>
                    </a:lnTo>
                    <a:lnTo>
                      <a:pt x="154" y="90"/>
                    </a:lnTo>
                    <a:lnTo>
                      <a:pt x="154" y="90"/>
                    </a:lnTo>
                    <a:lnTo>
                      <a:pt x="158" y="90"/>
                    </a:lnTo>
                    <a:lnTo>
                      <a:pt x="158" y="90"/>
                    </a:lnTo>
                    <a:lnTo>
                      <a:pt x="166" y="88"/>
                    </a:lnTo>
                    <a:lnTo>
                      <a:pt x="174" y="86"/>
                    </a:lnTo>
                    <a:lnTo>
                      <a:pt x="180" y="78"/>
                    </a:lnTo>
                    <a:lnTo>
                      <a:pt x="184" y="70"/>
                    </a:lnTo>
                    <a:lnTo>
                      <a:pt x="184" y="70"/>
                    </a:lnTo>
                    <a:lnTo>
                      <a:pt x="188" y="58"/>
                    </a:lnTo>
                    <a:lnTo>
                      <a:pt x="188" y="46"/>
                    </a:lnTo>
                    <a:lnTo>
                      <a:pt x="188" y="46"/>
                    </a:lnTo>
                    <a:lnTo>
                      <a:pt x="186" y="36"/>
                    </a:lnTo>
                    <a:lnTo>
                      <a:pt x="182" y="28"/>
                    </a:lnTo>
                    <a:lnTo>
                      <a:pt x="182" y="28"/>
                    </a:lnTo>
                    <a:lnTo>
                      <a:pt x="180" y="24"/>
                    </a:lnTo>
                    <a:lnTo>
                      <a:pt x="176" y="22"/>
                    </a:lnTo>
                    <a:lnTo>
                      <a:pt x="176" y="22"/>
                    </a:lnTo>
                    <a:lnTo>
                      <a:pt x="174"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8" name="Freeform 260"/>
              <p:cNvSpPr>
                <a:spLocks/>
              </p:cNvSpPr>
              <p:nvPr/>
            </p:nvSpPr>
            <p:spPr bwMode="auto">
              <a:xfrm>
                <a:off x="3006" y="1868"/>
                <a:ext cx="16" cy="28"/>
              </a:xfrm>
              <a:custGeom>
                <a:avLst/>
                <a:gdLst>
                  <a:gd name="T0" fmla="*/ 0 w 16"/>
                  <a:gd name="T1" fmla="*/ 26 h 28"/>
                  <a:gd name="T2" fmla="*/ 0 w 16"/>
                  <a:gd name="T3" fmla="*/ 26 h 28"/>
                  <a:gd name="T4" fmla="*/ 0 w 16"/>
                  <a:gd name="T5" fmla="*/ 26 h 28"/>
                  <a:gd name="T6" fmla="*/ 0 w 16"/>
                  <a:gd name="T7" fmla="*/ 26 h 28"/>
                  <a:gd name="T8" fmla="*/ 14 w 16"/>
                  <a:gd name="T9" fmla="*/ 0 h 28"/>
                  <a:gd name="T10" fmla="*/ 14 w 16"/>
                  <a:gd name="T11" fmla="*/ 0 h 28"/>
                  <a:gd name="T12" fmla="*/ 16 w 16"/>
                  <a:gd name="T13" fmla="*/ 8 h 28"/>
                  <a:gd name="T14" fmla="*/ 16 w 16"/>
                  <a:gd name="T15" fmla="*/ 8 h 28"/>
                  <a:gd name="T16" fmla="*/ 16 w 16"/>
                  <a:gd name="T17" fmla="*/ 24 h 28"/>
                  <a:gd name="T18" fmla="*/ 16 w 16"/>
                  <a:gd name="T19" fmla="*/ 24 h 28"/>
                  <a:gd name="T20" fmla="*/ 14 w 16"/>
                  <a:gd name="T21" fmla="*/ 26 h 28"/>
                  <a:gd name="T22" fmla="*/ 14 w 16"/>
                  <a:gd name="T23" fmla="*/ 26 h 28"/>
                  <a:gd name="T24" fmla="*/ 14 w 16"/>
                  <a:gd name="T25" fmla="*/ 28 h 28"/>
                  <a:gd name="T26" fmla="*/ 14 w 16"/>
                  <a:gd name="T27" fmla="*/ 28 h 28"/>
                  <a:gd name="T28" fmla="*/ 10 w 16"/>
                  <a:gd name="T29" fmla="*/ 28 h 28"/>
                  <a:gd name="T30" fmla="*/ 10 w 16"/>
                  <a:gd name="T31" fmla="*/ 28 h 28"/>
                  <a:gd name="T32" fmla="*/ 0 w 16"/>
                  <a:gd name="T33" fmla="*/ 26 h 28"/>
                  <a:gd name="T34" fmla="*/ 0 w 16"/>
                  <a:gd name="T35" fmla="*/ 26 h 28"/>
                  <a:gd name="T36" fmla="*/ 0 w 16"/>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6"/>
                    </a:moveTo>
                    <a:lnTo>
                      <a:pt x="0" y="26"/>
                    </a:lnTo>
                    <a:lnTo>
                      <a:pt x="0" y="26"/>
                    </a:lnTo>
                    <a:lnTo>
                      <a:pt x="0" y="26"/>
                    </a:lnTo>
                    <a:lnTo>
                      <a:pt x="14" y="0"/>
                    </a:lnTo>
                    <a:lnTo>
                      <a:pt x="14" y="0"/>
                    </a:lnTo>
                    <a:lnTo>
                      <a:pt x="16" y="8"/>
                    </a:lnTo>
                    <a:lnTo>
                      <a:pt x="16" y="8"/>
                    </a:lnTo>
                    <a:lnTo>
                      <a:pt x="16" y="24"/>
                    </a:lnTo>
                    <a:lnTo>
                      <a:pt x="16" y="24"/>
                    </a:lnTo>
                    <a:lnTo>
                      <a:pt x="14" y="26"/>
                    </a:lnTo>
                    <a:lnTo>
                      <a:pt x="14" y="26"/>
                    </a:lnTo>
                    <a:lnTo>
                      <a:pt x="14" y="28"/>
                    </a:lnTo>
                    <a:lnTo>
                      <a:pt x="14" y="28"/>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49" name="Freeform 261"/>
              <p:cNvSpPr>
                <a:spLocks/>
              </p:cNvSpPr>
              <p:nvPr/>
            </p:nvSpPr>
            <p:spPr bwMode="auto">
              <a:xfrm>
                <a:off x="2908" y="1864"/>
                <a:ext cx="18" cy="24"/>
              </a:xfrm>
              <a:custGeom>
                <a:avLst/>
                <a:gdLst>
                  <a:gd name="T0" fmla="*/ 14 w 18"/>
                  <a:gd name="T1" fmla="*/ 24 h 24"/>
                  <a:gd name="T2" fmla="*/ 14 w 18"/>
                  <a:gd name="T3" fmla="*/ 24 h 24"/>
                  <a:gd name="T4" fmla="*/ 8 w 18"/>
                  <a:gd name="T5" fmla="*/ 22 h 24"/>
                  <a:gd name="T6" fmla="*/ 4 w 18"/>
                  <a:gd name="T7" fmla="*/ 18 h 24"/>
                  <a:gd name="T8" fmla="*/ 0 w 18"/>
                  <a:gd name="T9" fmla="*/ 14 h 24"/>
                  <a:gd name="T10" fmla="*/ 0 w 18"/>
                  <a:gd name="T11" fmla="*/ 10 h 24"/>
                  <a:gd name="T12" fmla="*/ 0 w 18"/>
                  <a:gd name="T13" fmla="*/ 10 h 24"/>
                  <a:gd name="T14" fmla="*/ 0 w 18"/>
                  <a:gd name="T15" fmla="*/ 6 h 24"/>
                  <a:gd name="T16" fmla="*/ 0 w 18"/>
                  <a:gd name="T17" fmla="*/ 6 h 24"/>
                  <a:gd name="T18" fmla="*/ 8 w 18"/>
                  <a:gd name="T19" fmla="*/ 0 h 24"/>
                  <a:gd name="T20" fmla="*/ 8 w 18"/>
                  <a:gd name="T21" fmla="*/ 0 h 24"/>
                  <a:gd name="T22" fmla="*/ 8 w 18"/>
                  <a:gd name="T23" fmla="*/ 0 h 24"/>
                  <a:gd name="T24" fmla="*/ 8 w 18"/>
                  <a:gd name="T25" fmla="*/ 0 h 24"/>
                  <a:gd name="T26" fmla="*/ 8 w 18"/>
                  <a:gd name="T27" fmla="*/ 0 h 24"/>
                  <a:gd name="T28" fmla="*/ 8 w 18"/>
                  <a:gd name="T29" fmla="*/ 0 h 24"/>
                  <a:gd name="T30" fmla="*/ 18 w 18"/>
                  <a:gd name="T31" fmla="*/ 18 h 24"/>
                  <a:gd name="T32" fmla="*/ 18 w 18"/>
                  <a:gd name="T33" fmla="*/ 18 h 24"/>
                  <a:gd name="T34" fmla="*/ 18 w 18"/>
                  <a:gd name="T35" fmla="*/ 22 h 24"/>
                  <a:gd name="T36" fmla="*/ 14 w 18"/>
                  <a:gd name="T37" fmla="*/ 24 h 24"/>
                  <a:gd name="T38" fmla="*/ 14 w 18"/>
                  <a:gd name="T39" fmla="*/ 24 h 24"/>
                  <a:gd name="T40" fmla="*/ 14 w 18"/>
                  <a:gd name="T41" fmla="*/ 24 h 24"/>
                  <a:gd name="T42" fmla="*/ 14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8" y="22"/>
                    </a:lnTo>
                    <a:lnTo>
                      <a:pt x="4" y="18"/>
                    </a:lnTo>
                    <a:lnTo>
                      <a:pt x="0" y="14"/>
                    </a:lnTo>
                    <a:lnTo>
                      <a:pt x="0" y="10"/>
                    </a:lnTo>
                    <a:lnTo>
                      <a:pt x="0" y="10"/>
                    </a:lnTo>
                    <a:lnTo>
                      <a:pt x="0" y="6"/>
                    </a:lnTo>
                    <a:lnTo>
                      <a:pt x="0" y="6"/>
                    </a:lnTo>
                    <a:lnTo>
                      <a:pt x="8" y="0"/>
                    </a:lnTo>
                    <a:lnTo>
                      <a:pt x="8" y="0"/>
                    </a:lnTo>
                    <a:lnTo>
                      <a:pt x="8" y="0"/>
                    </a:lnTo>
                    <a:lnTo>
                      <a:pt x="8" y="0"/>
                    </a:lnTo>
                    <a:lnTo>
                      <a:pt x="8" y="0"/>
                    </a:lnTo>
                    <a:lnTo>
                      <a:pt x="8" y="0"/>
                    </a:lnTo>
                    <a:lnTo>
                      <a:pt x="18" y="18"/>
                    </a:lnTo>
                    <a:lnTo>
                      <a:pt x="18" y="18"/>
                    </a:lnTo>
                    <a:lnTo>
                      <a:pt x="18" y="22"/>
                    </a:lnTo>
                    <a:lnTo>
                      <a:pt x="14" y="24"/>
                    </a:lnTo>
                    <a:lnTo>
                      <a:pt x="14" y="24"/>
                    </a:lnTo>
                    <a:lnTo>
                      <a:pt x="14" y="24"/>
                    </a:lnTo>
                    <a:lnTo>
                      <a:pt x="14"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0" name="Freeform 262"/>
              <p:cNvSpPr>
                <a:spLocks/>
              </p:cNvSpPr>
              <p:nvPr/>
            </p:nvSpPr>
            <p:spPr bwMode="auto">
              <a:xfrm>
                <a:off x="2904" y="1814"/>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20 h 20"/>
                  <a:gd name="T58" fmla="*/ 10 w 12"/>
                  <a:gd name="T59" fmla="*/ 20 h 20"/>
                  <a:gd name="T60" fmla="*/ 8 w 12"/>
                  <a:gd name="T61" fmla="*/ 20 h 20"/>
                  <a:gd name="T62" fmla="*/ 8 w 12"/>
                  <a:gd name="T63" fmla="*/ 20 h 20"/>
                  <a:gd name="T64" fmla="*/ 6 w 12"/>
                  <a:gd name="T65" fmla="*/ 20 h 20"/>
                  <a:gd name="T66" fmla="*/ 6 w 12"/>
                  <a:gd name="T67" fmla="*/ 20 h 20"/>
                  <a:gd name="T68" fmla="*/ 4 w 12"/>
                  <a:gd name="T69" fmla="*/ 20 h 20"/>
                  <a:gd name="T70" fmla="*/ 4 w 12"/>
                  <a:gd name="T71" fmla="*/ 20 h 20"/>
                  <a:gd name="T72" fmla="*/ 2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0" y="20"/>
                    </a:lnTo>
                    <a:lnTo>
                      <a:pt x="10" y="20"/>
                    </a:lnTo>
                    <a:lnTo>
                      <a:pt x="8" y="20"/>
                    </a:lnTo>
                    <a:lnTo>
                      <a:pt x="8" y="20"/>
                    </a:lnTo>
                    <a:lnTo>
                      <a:pt x="6" y="20"/>
                    </a:lnTo>
                    <a:lnTo>
                      <a:pt x="6" y="20"/>
                    </a:lnTo>
                    <a:lnTo>
                      <a:pt x="4" y="20"/>
                    </a:lnTo>
                    <a:lnTo>
                      <a:pt x="4" y="20"/>
                    </a:lnTo>
                    <a:lnTo>
                      <a:pt x="2" y="12"/>
                    </a:lnTo>
                    <a:lnTo>
                      <a:pt x="0" y="8"/>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1" name="Freeform 263"/>
              <p:cNvSpPr>
                <a:spLocks/>
              </p:cNvSpPr>
              <p:nvPr/>
            </p:nvSpPr>
            <p:spPr bwMode="auto">
              <a:xfrm>
                <a:off x="2916" y="1768"/>
                <a:ext cx="170" cy="140"/>
              </a:xfrm>
              <a:custGeom>
                <a:avLst/>
                <a:gdLst>
                  <a:gd name="T0" fmla="*/ 74 w 170"/>
                  <a:gd name="T1" fmla="*/ 10 h 140"/>
                  <a:gd name="T2" fmla="*/ 100 w 170"/>
                  <a:gd name="T3" fmla="*/ 0 h 140"/>
                  <a:gd name="T4" fmla="*/ 130 w 170"/>
                  <a:gd name="T5" fmla="*/ 16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8 w 170"/>
                  <a:gd name="T25" fmla="*/ 36 h 140"/>
                  <a:gd name="T26" fmla="*/ 160 w 170"/>
                  <a:gd name="T27" fmla="*/ 26 h 140"/>
                  <a:gd name="T28" fmla="*/ 166 w 170"/>
                  <a:gd name="T29" fmla="*/ 26 h 140"/>
                  <a:gd name="T30" fmla="*/ 170 w 170"/>
                  <a:gd name="T31" fmla="*/ 52 h 140"/>
                  <a:gd name="T32" fmla="*/ 164 w 170"/>
                  <a:gd name="T33" fmla="*/ 76 h 140"/>
                  <a:gd name="T34" fmla="*/ 144 w 170"/>
                  <a:gd name="T35" fmla="*/ 84 h 140"/>
                  <a:gd name="T36" fmla="*/ 116 w 170"/>
                  <a:gd name="T37" fmla="*/ 80 h 140"/>
                  <a:gd name="T38" fmla="*/ 116 w 170"/>
                  <a:gd name="T39" fmla="*/ 94 h 140"/>
                  <a:gd name="T40" fmla="*/ 120 w 170"/>
                  <a:gd name="T41" fmla="*/ 96 h 140"/>
                  <a:gd name="T42" fmla="*/ 128 w 170"/>
                  <a:gd name="T43" fmla="*/ 88 h 140"/>
                  <a:gd name="T44" fmla="*/ 130 w 170"/>
                  <a:gd name="T45" fmla="*/ 90 h 140"/>
                  <a:gd name="T46" fmla="*/ 122 w 170"/>
                  <a:gd name="T47" fmla="*/ 98 h 140"/>
                  <a:gd name="T48" fmla="*/ 112 w 170"/>
                  <a:gd name="T49" fmla="*/ 96 h 140"/>
                  <a:gd name="T50" fmla="*/ 92 w 170"/>
                  <a:gd name="T51" fmla="*/ 84 h 140"/>
                  <a:gd name="T52" fmla="*/ 100 w 170"/>
                  <a:gd name="T53" fmla="*/ 92 h 140"/>
                  <a:gd name="T54" fmla="*/ 86 w 170"/>
                  <a:gd name="T55" fmla="*/ 124 h 140"/>
                  <a:gd name="T56" fmla="*/ 72 w 170"/>
                  <a:gd name="T57" fmla="*/ 136 h 140"/>
                  <a:gd name="T58" fmla="*/ 62 w 170"/>
                  <a:gd name="T59" fmla="*/ 138 h 140"/>
                  <a:gd name="T60" fmla="*/ 54 w 170"/>
                  <a:gd name="T61" fmla="*/ 122 h 140"/>
                  <a:gd name="T62" fmla="*/ 64 w 170"/>
                  <a:gd name="T63" fmla="*/ 116 h 140"/>
                  <a:gd name="T64" fmla="*/ 62 w 170"/>
                  <a:gd name="T65" fmla="*/ 112 h 140"/>
                  <a:gd name="T66" fmla="*/ 52 w 170"/>
                  <a:gd name="T67" fmla="*/ 112 h 140"/>
                  <a:gd name="T68" fmla="*/ 40 w 170"/>
                  <a:gd name="T69" fmla="*/ 110 h 140"/>
                  <a:gd name="T70" fmla="*/ 40 w 170"/>
                  <a:gd name="T71" fmla="*/ 110 h 140"/>
                  <a:gd name="T72" fmla="*/ 36 w 170"/>
                  <a:gd name="T73" fmla="*/ 126 h 140"/>
                  <a:gd name="T74" fmla="*/ 34 w 170"/>
                  <a:gd name="T75" fmla="*/ 134 h 140"/>
                  <a:gd name="T76" fmla="*/ 14 w 170"/>
                  <a:gd name="T77" fmla="*/ 134 h 140"/>
                  <a:gd name="T78" fmla="*/ 10 w 170"/>
                  <a:gd name="T79" fmla="*/ 126 h 140"/>
                  <a:gd name="T80" fmla="*/ 12 w 170"/>
                  <a:gd name="T81" fmla="*/ 114 h 140"/>
                  <a:gd name="T82" fmla="*/ 4 w 170"/>
                  <a:gd name="T83" fmla="*/ 94 h 140"/>
                  <a:gd name="T84" fmla="*/ 2 w 170"/>
                  <a:gd name="T85" fmla="*/ 66 h 140"/>
                  <a:gd name="T86" fmla="*/ 16 w 170"/>
                  <a:gd name="T87" fmla="*/ 44 h 140"/>
                  <a:gd name="T88" fmla="*/ 44 w 170"/>
                  <a:gd name="T89" fmla="*/ 32 h 140"/>
                  <a:gd name="T90" fmla="*/ 30 w 170"/>
                  <a:gd name="T91" fmla="*/ 52 h 140"/>
                  <a:gd name="T92" fmla="*/ 28 w 170"/>
                  <a:gd name="T93" fmla="*/ 64 h 140"/>
                  <a:gd name="T94" fmla="*/ 36 w 170"/>
                  <a:gd name="T95" fmla="*/ 80 h 140"/>
                  <a:gd name="T96" fmla="*/ 34 w 170"/>
                  <a:gd name="T97" fmla="*/ 88 h 140"/>
                  <a:gd name="T98" fmla="*/ 50 w 170"/>
                  <a:gd name="T99" fmla="*/ 96 h 140"/>
                  <a:gd name="T100" fmla="*/ 68 w 170"/>
                  <a:gd name="T101" fmla="*/ 88 h 140"/>
                  <a:gd name="T102" fmla="*/ 80 w 170"/>
                  <a:gd name="T103" fmla="*/ 82 h 140"/>
                  <a:gd name="T104" fmla="*/ 82 w 170"/>
                  <a:gd name="T105" fmla="*/ 56 h 140"/>
                  <a:gd name="T106" fmla="*/ 78 w 170"/>
                  <a:gd name="T107" fmla="*/ 58 h 140"/>
                  <a:gd name="T108" fmla="*/ 74 w 170"/>
                  <a:gd name="T109" fmla="*/ 82 h 140"/>
                  <a:gd name="T110" fmla="*/ 58 w 170"/>
                  <a:gd name="T111" fmla="*/ 90 h 140"/>
                  <a:gd name="T112" fmla="*/ 40 w 170"/>
                  <a:gd name="T113" fmla="*/ 86 h 140"/>
                  <a:gd name="T114" fmla="*/ 38 w 170"/>
                  <a:gd name="T115" fmla="*/ 82 h 140"/>
                  <a:gd name="T116" fmla="*/ 46 w 170"/>
                  <a:gd name="T117" fmla="*/ 66 h 140"/>
                  <a:gd name="T118" fmla="*/ 30 w 170"/>
                  <a:gd name="T119" fmla="*/ 62 h 140"/>
                  <a:gd name="T120" fmla="*/ 38 w 170"/>
                  <a:gd name="T121" fmla="*/ 46 h 140"/>
                  <a:gd name="T122" fmla="*/ 62 w 170"/>
                  <a:gd name="T123" fmla="*/ 20 h 140"/>
                  <a:gd name="T124" fmla="*/ 76 w 170"/>
                  <a:gd name="T125" fmla="*/ 1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6"/>
                    </a:moveTo>
                    <a:lnTo>
                      <a:pt x="68" y="16"/>
                    </a:lnTo>
                    <a:lnTo>
                      <a:pt x="72" y="12"/>
                    </a:lnTo>
                    <a:lnTo>
                      <a:pt x="74" y="10"/>
                    </a:lnTo>
                    <a:lnTo>
                      <a:pt x="82" y="4"/>
                    </a:lnTo>
                    <a:lnTo>
                      <a:pt x="82" y="4"/>
                    </a:lnTo>
                    <a:lnTo>
                      <a:pt x="100" y="0"/>
                    </a:lnTo>
                    <a:lnTo>
                      <a:pt x="100" y="0"/>
                    </a:lnTo>
                    <a:lnTo>
                      <a:pt x="108" y="2"/>
                    </a:lnTo>
                    <a:lnTo>
                      <a:pt x="116" y="4"/>
                    </a:lnTo>
                    <a:lnTo>
                      <a:pt x="116" y="4"/>
                    </a:lnTo>
                    <a:lnTo>
                      <a:pt x="130" y="16"/>
                    </a:lnTo>
                    <a:lnTo>
                      <a:pt x="130" y="16"/>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2"/>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2" y="44"/>
                    </a:lnTo>
                    <a:lnTo>
                      <a:pt x="142" y="44"/>
                    </a:lnTo>
                    <a:lnTo>
                      <a:pt x="144" y="44"/>
                    </a:lnTo>
                    <a:lnTo>
                      <a:pt x="144" y="44"/>
                    </a:lnTo>
                    <a:lnTo>
                      <a:pt x="146" y="46"/>
                    </a:lnTo>
                    <a:lnTo>
                      <a:pt x="146" y="46"/>
                    </a:lnTo>
                    <a:lnTo>
                      <a:pt x="144" y="58"/>
                    </a:lnTo>
                    <a:lnTo>
                      <a:pt x="144" y="58"/>
                    </a:lnTo>
                    <a:lnTo>
                      <a:pt x="148" y="48"/>
                    </a:lnTo>
                    <a:lnTo>
                      <a:pt x="146" y="38"/>
                    </a:lnTo>
                    <a:lnTo>
                      <a:pt x="146" y="38"/>
                    </a:lnTo>
                    <a:lnTo>
                      <a:pt x="148" y="36"/>
                    </a:lnTo>
                    <a:lnTo>
                      <a:pt x="150" y="34"/>
                    </a:lnTo>
                    <a:lnTo>
                      <a:pt x="150" y="34"/>
                    </a:lnTo>
                    <a:lnTo>
                      <a:pt x="154" y="30"/>
                    </a:lnTo>
                    <a:lnTo>
                      <a:pt x="160" y="26"/>
                    </a:lnTo>
                    <a:lnTo>
                      <a:pt x="160" y="26"/>
                    </a:lnTo>
                    <a:lnTo>
                      <a:pt x="162" y="24"/>
                    </a:lnTo>
                    <a:lnTo>
                      <a:pt x="162" y="24"/>
                    </a:lnTo>
                    <a:lnTo>
                      <a:pt x="166" y="26"/>
                    </a:lnTo>
                    <a:lnTo>
                      <a:pt x="166" y="26"/>
                    </a:lnTo>
                    <a:lnTo>
                      <a:pt x="170" y="38"/>
                    </a:lnTo>
                    <a:lnTo>
                      <a:pt x="170" y="38"/>
                    </a:lnTo>
                    <a:lnTo>
                      <a:pt x="170" y="52"/>
                    </a:lnTo>
                    <a:lnTo>
                      <a:pt x="170" y="60"/>
                    </a:lnTo>
                    <a:lnTo>
                      <a:pt x="168" y="66"/>
                    </a:lnTo>
                    <a:lnTo>
                      <a:pt x="168" y="66"/>
                    </a:lnTo>
                    <a:lnTo>
                      <a:pt x="164" y="76"/>
                    </a:lnTo>
                    <a:lnTo>
                      <a:pt x="158" y="80"/>
                    </a:lnTo>
                    <a:lnTo>
                      <a:pt x="152" y="84"/>
                    </a:lnTo>
                    <a:lnTo>
                      <a:pt x="144" y="84"/>
                    </a:lnTo>
                    <a:lnTo>
                      <a:pt x="144" y="84"/>
                    </a:lnTo>
                    <a:lnTo>
                      <a:pt x="136" y="84"/>
                    </a:lnTo>
                    <a:lnTo>
                      <a:pt x="136" y="84"/>
                    </a:lnTo>
                    <a:lnTo>
                      <a:pt x="126" y="82"/>
                    </a:lnTo>
                    <a:lnTo>
                      <a:pt x="116" y="80"/>
                    </a:lnTo>
                    <a:lnTo>
                      <a:pt x="116" y="80"/>
                    </a:lnTo>
                    <a:lnTo>
                      <a:pt x="116" y="92"/>
                    </a:lnTo>
                    <a:lnTo>
                      <a:pt x="116" y="92"/>
                    </a:lnTo>
                    <a:lnTo>
                      <a:pt x="116" y="94"/>
                    </a:lnTo>
                    <a:lnTo>
                      <a:pt x="118" y="96"/>
                    </a:lnTo>
                    <a:lnTo>
                      <a:pt x="118" y="96"/>
                    </a:lnTo>
                    <a:lnTo>
                      <a:pt x="120" y="96"/>
                    </a:lnTo>
                    <a:lnTo>
                      <a:pt x="120" y="96"/>
                    </a:lnTo>
                    <a:lnTo>
                      <a:pt x="124" y="96"/>
                    </a:lnTo>
                    <a:lnTo>
                      <a:pt x="124" y="96"/>
                    </a:lnTo>
                    <a:lnTo>
                      <a:pt x="126" y="92"/>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8"/>
                    </a:lnTo>
                    <a:lnTo>
                      <a:pt x="112" y="96"/>
                    </a:lnTo>
                    <a:lnTo>
                      <a:pt x="112" y="96"/>
                    </a:lnTo>
                    <a:lnTo>
                      <a:pt x="102" y="88"/>
                    </a:lnTo>
                    <a:lnTo>
                      <a:pt x="92" y="84"/>
                    </a:lnTo>
                    <a:lnTo>
                      <a:pt x="92" y="84"/>
                    </a:lnTo>
                    <a:lnTo>
                      <a:pt x="98" y="90"/>
                    </a:lnTo>
                    <a:lnTo>
                      <a:pt x="98" y="90"/>
                    </a:lnTo>
                    <a:lnTo>
                      <a:pt x="100" y="92"/>
                    </a:lnTo>
                    <a:lnTo>
                      <a:pt x="100" y="92"/>
                    </a:lnTo>
                    <a:lnTo>
                      <a:pt x="96" y="110"/>
                    </a:lnTo>
                    <a:lnTo>
                      <a:pt x="90" y="118"/>
                    </a:lnTo>
                    <a:lnTo>
                      <a:pt x="86" y="124"/>
                    </a:lnTo>
                    <a:lnTo>
                      <a:pt x="86" y="124"/>
                    </a:lnTo>
                    <a:lnTo>
                      <a:pt x="76" y="132"/>
                    </a:lnTo>
                    <a:lnTo>
                      <a:pt x="76" y="132"/>
                    </a:lnTo>
                    <a:lnTo>
                      <a:pt x="72" y="136"/>
                    </a:lnTo>
                    <a:lnTo>
                      <a:pt x="72" y="136"/>
                    </a:lnTo>
                    <a:lnTo>
                      <a:pt x="70" y="138"/>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4" y="110"/>
                    </a:lnTo>
                    <a:lnTo>
                      <a:pt x="62" y="112"/>
                    </a:lnTo>
                    <a:lnTo>
                      <a:pt x="56" y="114"/>
                    </a:lnTo>
                    <a:lnTo>
                      <a:pt x="56" y="114"/>
                    </a:lnTo>
                    <a:lnTo>
                      <a:pt x="52" y="112"/>
                    </a:lnTo>
                    <a:lnTo>
                      <a:pt x="52" y="112"/>
                    </a:lnTo>
                    <a:lnTo>
                      <a:pt x="46" y="112"/>
                    </a:lnTo>
                    <a:lnTo>
                      <a:pt x="46" y="112"/>
                    </a:lnTo>
                    <a:lnTo>
                      <a:pt x="42" y="112"/>
                    </a:lnTo>
                    <a:lnTo>
                      <a:pt x="40" y="110"/>
                    </a:lnTo>
                    <a:lnTo>
                      <a:pt x="40" y="108"/>
                    </a:lnTo>
                    <a:lnTo>
                      <a:pt x="40" y="108"/>
                    </a:lnTo>
                    <a:lnTo>
                      <a:pt x="40" y="110"/>
                    </a:lnTo>
                    <a:lnTo>
                      <a:pt x="40" y="110"/>
                    </a:lnTo>
                    <a:lnTo>
                      <a:pt x="40" y="112"/>
                    </a:lnTo>
                    <a:lnTo>
                      <a:pt x="40" y="112"/>
                    </a:lnTo>
                    <a:lnTo>
                      <a:pt x="38" y="120"/>
                    </a:lnTo>
                    <a:lnTo>
                      <a:pt x="36" y="126"/>
                    </a:lnTo>
                    <a:lnTo>
                      <a:pt x="36" y="126"/>
                    </a:lnTo>
                    <a:lnTo>
                      <a:pt x="34" y="130"/>
                    </a:lnTo>
                    <a:lnTo>
                      <a:pt x="34" y="134"/>
                    </a:lnTo>
                    <a:lnTo>
                      <a:pt x="34" y="134"/>
                    </a:lnTo>
                    <a:lnTo>
                      <a:pt x="32" y="136"/>
                    </a:lnTo>
                    <a:lnTo>
                      <a:pt x="30" y="136"/>
                    </a:lnTo>
                    <a:lnTo>
                      <a:pt x="30" y="136"/>
                    </a:lnTo>
                    <a:lnTo>
                      <a:pt x="14" y="134"/>
                    </a:lnTo>
                    <a:lnTo>
                      <a:pt x="14" y="134"/>
                    </a:lnTo>
                    <a:lnTo>
                      <a:pt x="10" y="132"/>
                    </a:lnTo>
                    <a:lnTo>
                      <a:pt x="10" y="126"/>
                    </a:lnTo>
                    <a:lnTo>
                      <a:pt x="10" y="126"/>
                    </a:lnTo>
                    <a:lnTo>
                      <a:pt x="12" y="122"/>
                    </a:lnTo>
                    <a:lnTo>
                      <a:pt x="14" y="118"/>
                    </a:lnTo>
                    <a:lnTo>
                      <a:pt x="14" y="118"/>
                    </a:lnTo>
                    <a:lnTo>
                      <a:pt x="12" y="114"/>
                    </a:lnTo>
                    <a:lnTo>
                      <a:pt x="12" y="112"/>
                    </a:lnTo>
                    <a:lnTo>
                      <a:pt x="12" y="112"/>
                    </a:lnTo>
                    <a:lnTo>
                      <a:pt x="6" y="102"/>
                    </a:lnTo>
                    <a:lnTo>
                      <a:pt x="4" y="94"/>
                    </a:lnTo>
                    <a:lnTo>
                      <a:pt x="2" y="84"/>
                    </a:lnTo>
                    <a:lnTo>
                      <a:pt x="0" y="74"/>
                    </a:lnTo>
                    <a:lnTo>
                      <a:pt x="0" y="74"/>
                    </a:lnTo>
                    <a:lnTo>
                      <a:pt x="2" y="66"/>
                    </a:lnTo>
                    <a:lnTo>
                      <a:pt x="6" y="58"/>
                    </a:lnTo>
                    <a:lnTo>
                      <a:pt x="10" y="50"/>
                    </a:lnTo>
                    <a:lnTo>
                      <a:pt x="16" y="44"/>
                    </a:lnTo>
                    <a:lnTo>
                      <a:pt x="16" y="44"/>
                    </a:lnTo>
                    <a:lnTo>
                      <a:pt x="28" y="36"/>
                    </a:lnTo>
                    <a:lnTo>
                      <a:pt x="42" y="32"/>
                    </a:lnTo>
                    <a:lnTo>
                      <a:pt x="42" y="32"/>
                    </a:lnTo>
                    <a:lnTo>
                      <a:pt x="44" y="32"/>
                    </a:lnTo>
                    <a:lnTo>
                      <a:pt x="44" y="32"/>
                    </a:lnTo>
                    <a:lnTo>
                      <a:pt x="34" y="46"/>
                    </a:lnTo>
                    <a:lnTo>
                      <a:pt x="34" y="46"/>
                    </a:lnTo>
                    <a:lnTo>
                      <a:pt x="30" y="52"/>
                    </a:lnTo>
                    <a:lnTo>
                      <a:pt x="28" y="58"/>
                    </a:lnTo>
                    <a:lnTo>
                      <a:pt x="28" y="58"/>
                    </a:lnTo>
                    <a:lnTo>
                      <a:pt x="26" y="60"/>
                    </a:lnTo>
                    <a:lnTo>
                      <a:pt x="28" y="64"/>
                    </a:lnTo>
                    <a:lnTo>
                      <a:pt x="32" y="70"/>
                    </a:lnTo>
                    <a:lnTo>
                      <a:pt x="32" y="70"/>
                    </a:lnTo>
                    <a:lnTo>
                      <a:pt x="36" y="76"/>
                    </a:lnTo>
                    <a:lnTo>
                      <a:pt x="36" y="80"/>
                    </a:lnTo>
                    <a:lnTo>
                      <a:pt x="34" y="84"/>
                    </a:lnTo>
                    <a:lnTo>
                      <a:pt x="34" y="84"/>
                    </a:lnTo>
                    <a:lnTo>
                      <a:pt x="34" y="88"/>
                    </a:lnTo>
                    <a:lnTo>
                      <a:pt x="34" y="88"/>
                    </a:lnTo>
                    <a:lnTo>
                      <a:pt x="42" y="94"/>
                    </a:lnTo>
                    <a:lnTo>
                      <a:pt x="46" y="96"/>
                    </a:lnTo>
                    <a:lnTo>
                      <a:pt x="50" y="96"/>
                    </a:lnTo>
                    <a:lnTo>
                      <a:pt x="50" y="96"/>
                    </a:lnTo>
                    <a:lnTo>
                      <a:pt x="54" y="96"/>
                    </a:lnTo>
                    <a:lnTo>
                      <a:pt x="58" y="92"/>
                    </a:lnTo>
                    <a:lnTo>
                      <a:pt x="58" y="92"/>
                    </a:lnTo>
                    <a:lnTo>
                      <a:pt x="68" y="88"/>
                    </a:lnTo>
                    <a:lnTo>
                      <a:pt x="78" y="84"/>
                    </a:lnTo>
                    <a:lnTo>
                      <a:pt x="78" y="84"/>
                    </a:lnTo>
                    <a:lnTo>
                      <a:pt x="80" y="82"/>
                    </a:lnTo>
                    <a:lnTo>
                      <a:pt x="80" y="82"/>
                    </a:lnTo>
                    <a:lnTo>
                      <a:pt x="82" y="76"/>
                    </a:lnTo>
                    <a:lnTo>
                      <a:pt x="82" y="68"/>
                    </a:lnTo>
                    <a:lnTo>
                      <a:pt x="82" y="56"/>
                    </a:lnTo>
                    <a:lnTo>
                      <a:pt x="82" y="56"/>
                    </a:lnTo>
                    <a:lnTo>
                      <a:pt x="78" y="40"/>
                    </a:lnTo>
                    <a:lnTo>
                      <a:pt x="78" y="40"/>
                    </a:lnTo>
                    <a:lnTo>
                      <a:pt x="78" y="58"/>
                    </a:lnTo>
                    <a:lnTo>
                      <a:pt x="78" y="58"/>
                    </a:lnTo>
                    <a:lnTo>
                      <a:pt x="78" y="78"/>
                    </a:lnTo>
                    <a:lnTo>
                      <a:pt x="78" y="78"/>
                    </a:lnTo>
                    <a:lnTo>
                      <a:pt x="76" y="80"/>
                    </a:lnTo>
                    <a:lnTo>
                      <a:pt x="74" y="82"/>
                    </a:lnTo>
                    <a:lnTo>
                      <a:pt x="74" y="82"/>
                    </a:lnTo>
                    <a:lnTo>
                      <a:pt x="66" y="86"/>
                    </a:lnTo>
                    <a:lnTo>
                      <a:pt x="58" y="90"/>
                    </a:lnTo>
                    <a:lnTo>
                      <a:pt x="58" y="90"/>
                    </a:lnTo>
                    <a:lnTo>
                      <a:pt x="48" y="92"/>
                    </a:lnTo>
                    <a:lnTo>
                      <a:pt x="48" y="92"/>
                    </a:lnTo>
                    <a:lnTo>
                      <a:pt x="44" y="90"/>
                    </a:lnTo>
                    <a:lnTo>
                      <a:pt x="40" y="86"/>
                    </a:lnTo>
                    <a:lnTo>
                      <a:pt x="40" y="86"/>
                    </a:lnTo>
                    <a:lnTo>
                      <a:pt x="38" y="84"/>
                    </a:lnTo>
                    <a:lnTo>
                      <a:pt x="38" y="82"/>
                    </a:lnTo>
                    <a:lnTo>
                      <a:pt x="38" y="82"/>
                    </a:lnTo>
                    <a:lnTo>
                      <a:pt x="42" y="74"/>
                    </a:lnTo>
                    <a:lnTo>
                      <a:pt x="42" y="74"/>
                    </a:lnTo>
                    <a:lnTo>
                      <a:pt x="46" y="66"/>
                    </a:lnTo>
                    <a:lnTo>
                      <a:pt x="46" y="66"/>
                    </a:lnTo>
                    <a:lnTo>
                      <a:pt x="38" y="74"/>
                    </a:lnTo>
                    <a:lnTo>
                      <a:pt x="38" y="74"/>
                    </a:lnTo>
                    <a:lnTo>
                      <a:pt x="30" y="62"/>
                    </a:lnTo>
                    <a:lnTo>
                      <a:pt x="30" y="62"/>
                    </a:lnTo>
                    <a:lnTo>
                      <a:pt x="30" y="60"/>
                    </a:lnTo>
                    <a:lnTo>
                      <a:pt x="30" y="60"/>
                    </a:lnTo>
                    <a:lnTo>
                      <a:pt x="34" y="52"/>
                    </a:lnTo>
                    <a:lnTo>
                      <a:pt x="38" y="46"/>
                    </a:lnTo>
                    <a:lnTo>
                      <a:pt x="38" y="46"/>
                    </a:lnTo>
                    <a:lnTo>
                      <a:pt x="58" y="22"/>
                    </a:lnTo>
                    <a:lnTo>
                      <a:pt x="58" y="22"/>
                    </a:lnTo>
                    <a:lnTo>
                      <a:pt x="62" y="20"/>
                    </a:lnTo>
                    <a:lnTo>
                      <a:pt x="66"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2" name="Freeform 264"/>
              <p:cNvSpPr>
                <a:spLocks/>
              </p:cNvSpPr>
              <p:nvPr/>
            </p:nvSpPr>
            <p:spPr bwMode="auto">
              <a:xfrm>
                <a:off x="2902" y="1766"/>
                <a:ext cx="188" cy="144"/>
              </a:xfrm>
              <a:custGeom>
                <a:avLst/>
                <a:gdLst>
                  <a:gd name="T0" fmla="*/ 106 w 188"/>
                  <a:gd name="T1" fmla="*/ 0 h 144"/>
                  <a:gd name="T2" fmla="*/ 84 w 188"/>
                  <a:gd name="T3" fmla="*/ 10 h 144"/>
                  <a:gd name="T4" fmla="*/ 76 w 188"/>
                  <a:gd name="T5" fmla="*/ 18 h 144"/>
                  <a:gd name="T6" fmla="*/ 70 w 188"/>
                  <a:gd name="T7" fmla="*/ 22 h 144"/>
                  <a:gd name="T8" fmla="*/ 54 w 188"/>
                  <a:gd name="T9" fmla="*/ 30 h 144"/>
                  <a:gd name="T10" fmla="*/ 34 w 188"/>
                  <a:gd name="T11" fmla="*/ 38 h 144"/>
                  <a:gd name="T12" fmla="*/ 18 w 188"/>
                  <a:gd name="T13" fmla="*/ 54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6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2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2 h 144"/>
                  <a:gd name="T68" fmla="*/ 120 w 188"/>
                  <a:gd name="T69" fmla="*/ 104 h 144"/>
                  <a:gd name="T70" fmla="*/ 118 w 188"/>
                  <a:gd name="T71" fmla="*/ 94 h 144"/>
                  <a:gd name="T72" fmla="*/ 124 w 188"/>
                  <a:gd name="T73" fmla="*/ 100 h 144"/>
                  <a:gd name="T74" fmla="*/ 134 w 188"/>
                  <a:gd name="T75" fmla="*/ 104 h 144"/>
                  <a:gd name="T76" fmla="*/ 144 w 188"/>
                  <a:gd name="T77" fmla="*/ 98 h 144"/>
                  <a:gd name="T78" fmla="*/ 148 w 188"/>
                  <a:gd name="T79" fmla="*/ 90 h 144"/>
                  <a:gd name="T80" fmla="*/ 154 w 188"/>
                  <a:gd name="T81" fmla="*/ 90 h 144"/>
                  <a:gd name="T82" fmla="*/ 158 w 188"/>
                  <a:gd name="T83" fmla="*/ 90 h 144"/>
                  <a:gd name="T84" fmla="*/ 180 w 188"/>
                  <a:gd name="T85" fmla="*/ 78 h 144"/>
                  <a:gd name="T86" fmla="*/ 188 w 188"/>
                  <a:gd name="T87" fmla="*/ 58 h 144"/>
                  <a:gd name="T88" fmla="*/ 186 w 188"/>
                  <a:gd name="T89" fmla="*/ 36 h 144"/>
                  <a:gd name="T90" fmla="*/ 180 w 188"/>
                  <a:gd name="T91" fmla="*/ 24 h 144"/>
                  <a:gd name="T92" fmla="*/ 174 w 188"/>
                  <a:gd name="T93" fmla="*/ 24 h 144"/>
                  <a:gd name="T94" fmla="*/ 166 w 188"/>
                  <a:gd name="T95" fmla="*/ 30 h 144"/>
                  <a:gd name="T96" fmla="*/ 162 w 188"/>
                  <a:gd name="T97" fmla="*/ 32 h 144"/>
                  <a:gd name="T98" fmla="*/ 156 w 188"/>
                  <a:gd name="T99" fmla="*/ 24 h 144"/>
                  <a:gd name="T100" fmla="*/ 138 w 188"/>
                  <a:gd name="T101" fmla="*/ 8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0"/>
                    </a:lnTo>
                    <a:lnTo>
                      <a:pt x="98" y="2"/>
                    </a:lnTo>
                    <a:lnTo>
                      <a:pt x="92" y="6"/>
                    </a:lnTo>
                    <a:lnTo>
                      <a:pt x="84" y="10"/>
                    </a:lnTo>
                    <a:lnTo>
                      <a:pt x="84" y="10"/>
                    </a:lnTo>
                    <a:lnTo>
                      <a:pt x="80" y="16"/>
                    </a:lnTo>
                    <a:lnTo>
                      <a:pt x="76" y="18"/>
                    </a:lnTo>
                    <a:lnTo>
                      <a:pt x="72" y="20"/>
                    </a:lnTo>
                    <a:lnTo>
                      <a:pt x="72" y="20"/>
                    </a:lnTo>
                    <a:lnTo>
                      <a:pt x="70" y="22"/>
                    </a:lnTo>
                    <a:lnTo>
                      <a:pt x="70" y="22"/>
                    </a:lnTo>
                    <a:lnTo>
                      <a:pt x="62" y="28"/>
                    </a:lnTo>
                    <a:lnTo>
                      <a:pt x="54" y="30"/>
                    </a:lnTo>
                    <a:lnTo>
                      <a:pt x="54" y="30"/>
                    </a:lnTo>
                    <a:lnTo>
                      <a:pt x="42" y="34"/>
                    </a:lnTo>
                    <a:lnTo>
                      <a:pt x="34" y="38"/>
                    </a:lnTo>
                    <a:lnTo>
                      <a:pt x="24" y="46"/>
                    </a:lnTo>
                    <a:lnTo>
                      <a:pt x="18" y="54"/>
                    </a:lnTo>
                    <a:lnTo>
                      <a:pt x="18" y="54"/>
                    </a:lnTo>
                    <a:lnTo>
                      <a:pt x="12" y="60"/>
                    </a:lnTo>
                    <a:lnTo>
                      <a:pt x="12" y="60"/>
                    </a:lnTo>
                    <a:lnTo>
                      <a:pt x="8" y="62"/>
                    </a:lnTo>
                    <a:lnTo>
                      <a:pt x="8" y="62"/>
                    </a:lnTo>
                    <a:lnTo>
                      <a:pt x="12" y="54"/>
                    </a:lnTo>
                    <a:lnTo>
                      <a:pt x="12" y="54"/>
                    </a:lnTo>
                    <a:lnTo>
                      <a:pt x="14" y="54"/>
                    </a:lnTo>
                    <a:lnTo>
                      <a:pt x="14" y="54"/>
                    </a:lnTo>
                    <a:lnTo>
                      <a:pt x="14" y="48"/>
                    </a:lnTo>
                    <a:lnTo>
                      <a:pt x="14" y="48"/>
                    </a:lnTo>
                    <a:lnTo>
                      <a:pt x="12" y="44"/>
                    </a:lnTo>
                    <a:lnTo>
                      <a:pt x="12" y="44"/>
                    </a:lnTo>
                    <a:lnTo>
                      <a:pt x="4" y="48"/>
                    </a:lnTo>
                    <a:lnTo>
                      <a:pt x="0" y="52"/>
                    </a:lnTo>
                    <a:lnTo>
                      <a:pt x="0" y="56"/>
                    </a:lnTo>
                    <a:lnTo>
                      <a:pt x="0" y="56"/>
                    </a:lnTo>
                    <a:lnTo>
                      <a:pt x="2" y="62"/>
                    </a:lnTo>
                    <a:lnTo>
                      <a:pt x="4" y="66"/>
                    </a:lnTo>
                    <a:lnTo>
                      <a:pt x="4" y="66"/>
                    </a:lnTo>
                    <a:lnTo>
                      <a:pt x="8" y="70"/>
                    </a:lnTo>
                    <a:lnTo>
                      <a:pt x="12" y="72"/>
                    </a:lnTo>
                    <a:lnTo>
                      <a:pt x="12" y="72"/>
                    </a:lnTo>
                    <a:lnTo>
                      <a:pt x="12" y="84"/>
                    </a:lnTo>
                    <a:lnTo>
                      <a:pt x="12" y="84"/>
                    </a:lnTo>
                    <a:lnTo>
                      <a:pt x="12" y="88"/>
                    </a:lnTo>
                    <a:lnTo>
                      <a:pt x="12" y="94"/>
                    </a:lnTo>
                    <a:lnTo>
                      <a:pt x="10" y="98"/>
                    </a:lnTo>
                    <a:lnTo>
                      <a:pt x="6" y="100"/>
                    </a:lnTo>
                    <a:lnTo>
                      <a:pt x="6" y="100"/>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4"/>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2"/>
                    </a:lnTo>
                    <a:lnTo>
                      <a:pt x="64" y="128"/>
                    </a:lnTo>
                    <a:lnTo>
                      <a:pt x="64" y="128"/>
                    </a:lnTo>
                    <a:lnTo>
                      <a:pt x="74" y="142"/>
                    </a:lnTo>
                    <a:lnTo>
                      <a:pt x="74" y="142"/>
                    </a:lnTo>
                    <a:lnTo>
                      <a:pt x="78" y="144"/>
                    </a:lnTo>
                    <a:lnTo>
                      <a:pt x="80" y="144"/>
                    </a:lnTo>
                    <a:lnTo>
                      <a:pt x="80" y="144"/>
                    </a:lnTo>
                    <a:lnTo>
                      <a:pt x="84"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6"/>
                    </a:lnTo>
                    <a:lnTo>
                      <a:pt x="124" y="122"/>
                    </a:lnTo>
                    <a:lnTo>
                      <a:pt x="124" y="122"/>
                    </a:lnTo>
                    <a:lnTo>
                      <a:pt x="122" y="114"/>
                    </a:lnTo>
                    <a:lnTo>
                      <a:pt x="122" y="114"/>
                    </a:lnTo>
                    <a:lnTo>
                      <a:pt x="120" y="104"/>
                    </a:lnTo>
                    <a:lnTo>
                      <a:pt x="120" y="104"/>
                    </a:lnTo>
                    <a:lnTo>
                      <a:pt x="118" y="94"/>
                    </a:lnTo>
                    <a:lnTo>
                      <a:pt x="118" y="94"/>
                    </a:lnTo>
                    <a:lnTo>
                      <a:pt x="118" y="94"/>
                    </a:lnTo>
                    <a:lnTo>
                      <a:pt x="118" y="94"/>
                    </a:lnTo>
                    <a:lnTo>
                      <a:pt x="124" y="100"/>
                    </a:lnTo>
                    <a:lnTo>
                      <a:pt x="124" y="100"/>
                    </a:lnTo>
                    <a:lnTo>
                      <a:pt x="128" y="102"/>
                    </a:lnTo>
                    <a:lnTo>
                      <a:pt x="134" y="104"/>
                    </a:lnTo>
                    <a:lnTo>
                      <a:pt x="134" y="104"/>
                    </a:lnTo>
                    <a:lnTo>
                      <a:pt x="140" y="102"/>
                    </a:lnTo>
                    <a:lnTo>
                      <a:pt x="144" y="98"/>
                    </a:lnTo>
                    <a:lnTo>
                      <a:pt x="146" y="94"/>
                    </a:lnTo>
                    <a:lnTo>
                      <a:pt x="146" y="94"/>
                    </a:lnTo>
                    <a:lnTo>
                      <a:pt x="148" y="90"/>
                    </a:lnTo>
                    <a:lnTo>
                      <a:pt x="152" y="90"/>
                    </a:lnTo>
                    <a:lnTo>
                      <a:pt x="152" y="90"/>
                    </a:lnTo>
                    <a:lnTo>
                      <a:pt x="154" y="90"/>
                    </a:lnTo>
                    <a:lnTo>
                      <a:pt x="154" y="90"/>
                    </a:lnTo>
                    <a:lnTo>
                      <a:pt x="158" y="90"/>
                    </a:lnTo>
                    <a:lnTo>
                      <a:pt x="158" y="90"/>
                    </a:lnTo>
                    <a:lnTo>
                      <a:pt x="166" y="88"/>
                    </a:lnTo>
                    <a:lnTo>
                      <a:pt x="174" y="86"/>
                    </a:lnTo>
                    <a:lnTo>
                      <a:pt x="180" y="78"/>
                    </a:lnTo>
                    <a:lnTo>
                      <a:pt x="184" y="70"/>
                    </a:lnTo>
                    <a:lnTo>
                      <a:pt x="184" y="70"/>
                    </a:lnTo>
                    <a:lnTo>
                      <a:pt x="188" y="58"/>
                    </a:lnTo>
                    <a:lnTo>
                      <a:pt x="188" y="46"/>
                    </a:lnTo>
                    <a:lnTo>
                      <a:pt x="188" y="46"/>
                    </a:lnTo>
                    <a:lnTo>
                      <a:pt x="186" y="36"/>
                    </a:lnTo>
                    <a:lnTo>
                      <a:pt x="182" y="28"/>
                    </a:lnTo>
                    <a:lnTo>
                      <a:pt x="182" y="28"/>
                    </a:lnTo>
                    <a:lnTo>
                      <a:pt x="180" y="24"/>
                    </a:lnTo>
                    <a:lnTo>
                      <a:pt x="176" y="22"/>
                    </a:lnTo>
                    <a:lnTo>
                      <a:pt x="176" y="22"/>
                    </a:lnTo>
                    <a:lnTo>
                      <a:pt x="174"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3" name="Freeform 265"/>
              <p:cNvSpPr>
                <a:spLocks/>
              </p:cNvSpPr>
              <p:nvPr/>
            </p:nvSpPr>
            <p:spPr bwMode="auto">
              <a:xfrm>
                <a:off x="2908" y="1864"/>
                <a:ext cx="18" cy="24"/>
              </a:xfrm>
              <a:custGeom>
                <a:avLst/>
                <a:gdLst>
                  <a:gd name="T0" fmla="*/ 8 w 18"/>
                  <a:gd name="T1" fmla="*/ 0 h 24"/>
                  <a:gd name="T2" fmla="*/ 8 w 18"/>
                  <a:gd name="T3" fmla="*/ 0 h 24"/>
                  <a:gd name="T4" fmla="*/ 2 w 18"/>
                  <a:gd name="T5" fmla="*/ 6 h 24"/>
                  <a:gd name="T6" fmla="*/ 2 w 18"/>
                  <a:gd name="T7" fmla="*/ 6 h 24"/>
                  <a:gd name="T8" fmla="*/ 0 w 18"/>
                  <a:gd name="T9" fmla="*/ 10 h 24"/>
                  <a:gd name="T10" fmla="*/ 0 w 18"/>
                  <a:gd name="T11" fmla="*/ 10 h 24"/>
                  <a:gd name="T12" fmla="*/ 0 w 18"/>
                  <a:gd name="T13" fmla="*/ 14 h 24"/>
                  <a:gd name="T14" fmla="*/ 4 w 18"/>
                  <a:gd name="T15" fmla="*/ 18 h 24"/>
                  <a:gd name="T16" fmla="*/ 8 w 18"/>
                  <a:gd name="T17" fmla="*/ 22 h 24"/>
                  <a:gd name="T18" fmla="*/ 14 w 18"/>
                  <a:gd name="T19" fmla="*/ 24 h 24"/>
                  <a:gd name="T20" fmla="*/ 14 w 18"/>
                  <a:gd name="T21" fmla="*/ 24 h 24"/>
                  <a:gd name="T22" fmla="*/ 14 w 18"/>
                  <a:gd name="T23" fmla="*/ 24 h 24"/>
                  <a:gd name="T24" fmla="*/ 14 w 18"/>
                  <a:gd name="T25" fmla="*/ 24 h 24"/>
                  <a:gd name="T26" fmla="*/ 14 w 18"/>
                  <a:gd name="T27" fmla="*/ 24 h 24"/>
                  <a:gd name="T28" fmla="*/ 14 w 18"/>
                  <a:gd name="T29" fmla="*/ 24 h 24"/>
                  <a:gd name="T30" fmla="*/ 18 w 18"/>
                  <a:gd name="T31" fmla="*/ 22 h 24"/>
                  <a:gd name="T32" fmla="*/ 16 w 18"/>
                  <a:gd name="T33" fmla="*/ 18 h 24"/>
                  <a:gd name="T34" fmla="*/ 16 w 18"/>
                  <a:gd name="T35" fmla="*/ 18 h 24"/>
                  <a:gd name="T36" fmla="*/ 8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8" y="0"/>
                    </a:moveTo>
                    <a:lnTo>
                      <a:pt x="8" y="0"/>
                    </a:lnTo>
                    <a:lnTo>
                      <a:pt x="2" y="6"/>
                    </a:lnTo>
                    <a:lnTo>
                      <a:pt x="2"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8"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4" name="Freeform 266"/>
              <p:cNvSpPr>
                <a:spLocks/>
              </p:cNvSpPr>
              <p:nvPr/>
            </p:nvSpPr>
            <p:spPr bwMode="auto">
              <a:xfrm>
                <a:off x="2908" y="1864"/>
                <a:ext cx="18" cy="24"/>
              </a:xfrm>
              <a:custGeom>
                <a:avLst/>
                <a:gdLst>
                  <a:gd name="T0" fmla="*/ 8 w 18"/>
                  <a:gd name="T1" fmla="*/ 0 h 24"/>
                  <a:gd name="T2" fmla="*/ 8 w 18"/>
                  <a:gd name="T3" fmla="*/ 0 h 24"/>
                  <a:gd name="T4" fmla="*/ 2 w 18"/>
                  <a:gd name="T5" fmla="*/ 6 h 24"/>
                  <a:gd name="T6" fmla="*/ 2 w 18"/>
                  <a:gd name="T7" fmla="*/ 6 h 24"/>
                  <a:gd name="T8" fmla="*/ 0 w 18"/>
                  <a:gd name="T9" fmla="*/ 10 h 24"/>
                  <a:gd name="T10" fmla="*/ 0 w 18"/>
                  <a:gd name="T11" fmla="*/ 10 h 24"/>
                  <a:gd name="T12" fmla="*/ 0 w 18"/>
                  <a:gd name="T13" fmla="*/ 14 h 24"/>
                  <a:gd name="T14" fmla="*/ 4 w 18"/>
                  <a:gd name="T15" fmla="*/ 18 h 24"/>
                  <a:gd name="T16" fmla="*/ 8 w 18"/>
                  <a:gd name="T17" fmla="*/ 22 h 24"/>
                  <a:gd name="T18" fmla="*/ 14 w 18"/>
                  <a:gd name="T19" fmla="*/ 24 h 24"/>
                  <a:gd name="T20" fmla="*/ 14 w 18"/>
                  <a:gd name="T21" fmla="*/ 24 h 24"/>
                  <a:gd name="T22" fmla="*/ 14 w 18"/>
                  <a:gd name="T23" fmla="*/ 24 h 24"/>
                  <a:gd name="T24" fmla="*/ 14 w 18"/>
                  <a:gd name="T25" fmla="*/ 24 h 24"/>
                  <a:gd name="T26" fmla="*/ 14 w 18"/>
                  <a:gd name="T27" fmla="*/ 24 h 24"/>
                  <a:gd name="T28" fmla="*/ 14 w 18"/>
                  <a:gd name="T29" fmla="*/ 24 h 24"/>
                  <a:gd name="T30" fmla="*/ 18 w 18"/>
                  <a:gd name="T31" fmla="*/ 22 h 24"/>
                  <a:gd name="T32" fmla="*/ 16 w 18"/>
                  <a:gd name="T33" fmla="*/ 18 h 24"/>
                  <a:gd name="T34" fmla="*/ 16 w 18"/>
                  <a:gd name="T35" fmla="*/ 18 h 24"/>
                  <a:gd name="T36" fmla="*/ 8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8" y="0"/>
                    </a:moveTo>
                    <a:lnTo>
                      <a:pt x="8" y="0"/>
                    </a:lnTo>
                    <a:lnTo>
                      <a:pt x="2" y="6"/>
                    </a:lnTo>
                    <a:lnTo>
                      <a:pt x="2"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8"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5" name="Freeform 267"/>
              <p:cNvSpPr>
                <a:spLocks/>
              </p:cNvSpPr>
              <p:nvPr/>
            </p:nvSpPr>
            <p:spPr bwMode="auto">
              <a:xfrm>
                <a:off x="2908" y="1864"/>
                <a:ext cx="14" cy="24"/>
              </a:xfrm>
              <a:custGeom>
                <a:avLst/>
                <a:gdLst>
                  <a:gd name="T0" fmla="*/ 8 w 14"/>
                  <a:gd name="T1" fmla="*/ 0 h 24"/>
                  <a:gd name="T2" fmla="*/ 8 w 14"/>
                  <a:gd name="T3" fmla="*/ 0 h 24"/>
                  <a:gd name="T4" fmla="*/ 0 w 14"/>
                  <a:gd name="T5" fmla="*/ 6 h 24"/>
                  <a:gd name="T6" fmla="*/ 0 w 14"/>
                  <a:gd name="T7" fmla="*/ 6 h 24"/>
                  <a:gd name="T8" fmla="*/ 0 w 14"/>
                  <a:gd name="T9" fmla="*/ 10 h 24"/>
                  <a:gd name="T10" fmla="*/ 0 w 14"/>
                  <a:gd name="T11" fmla="*/ 10 h 24"/>
                  <a:gd name="T12" fmla="*/ 0 w 14"/>
                  <a:gd name="T13" fmla="*/ 14 h 24"/>
                  <a:gd name="T14" fmla="*/ 4 w 14"/>
                  <a:gd name="T15" fmla="*/ 18 h 24"/>
                  <a:gd name="T16" fmla="*/ 8 w 14"/>
                  <a:gd name="T17" fmla="*/ 22 h 24"/>
                  <a:gd name="T18" fmla="*/ 14 w 14"/>
                  <a:gd name="T19" fmla="*/ 24 h 24"/>
                  <a:gd name="T20" fmla="*/ 14 w 14"/>
                  <a:gd name="T21" fmla="*/ 24 h 24"/>
                  <a:gd name="T22" fmla="*/ 14 w 14"/>
                  <a:gd name="T23" fmla="*/ 24 h 24"/>
                  <a:gd name="T24" fmla="*/ 14 w 14"/>
                  <a:gd name="T25" fmla="*/ 24 h 24"/>
                  <a:gd name="T26" fmla="*/ 14 w 14"/>
                  <a:gd name="T27" fmla="*/ 24 h 24"/>
                  <a:gd name="T28" fmla="*/ 14 w 14"/>
                  <a:gd name="T29" fmla="*/ 24 h 24"/>
                  <a:gd name="T30" fmla="*/ 14 w 14"/>
                  <a:gd name="T31" fmla="*/ 24 h 24"/>
                  <a:gd name="T32" fmla="*/ 14 w 14"/>
                  <a:gd name="T33" fmla="*/ 24 h 24"/>
                  <a:gd name="T34" fmla="*/ 14 w 14"/>
                  <a:gd name="T35" fmla="*/ 24 h 24"/>
                  <a:gd name="T36" fmla="*/ 14 w 14"/>
                  <a:gd name="T37" fmla="*/ 24 h 24"/>
                  <a:gd name="T38" fmla="*/ 8 w 14"/>
                  <a:gd name="T39" fmla="*/ 22 h 24"/>
                  <a:gd name="T40" fmla="*/ 4 w 14"/>
                  <a:gd name="T41" fmla="*/ 18 h 24"/>
                  <a:gd name="T42" fmla="*/ 0 w 14"/>
                  <a:gd name="T43" fmla="*/ 14 h 24"/>
                  <a:gd name="T44" fmla="*/ 0 w 14"/>
                  <a:gd name="T45" fmla="*/ 10 h 24"/>
                  <a:gd name="T46" fmla="*/ 0 w 14"/>
                  <a:gd name="T47" fmla="*/ 10 h 24"/>
                  <a:gd name="T48" fmla="*/ 2 w 14"/>
                  <a:gd name="T49" fmla="*/ 6 h 24"/>
                  <a:gd name="T50" fmla="*/ 2 w 14"/>
                  <a:gd name="T51" fmla="*/ 6 h 24"/>
                  <a:gd name="T52" fmla="*/ 8 w 14"/>
                  <a:gd name="T53" fmla="*/ 0 h 24"/>
                  <a:gd name="T54" fmla="*/ 8 w 14"/>
                  <a:gd name="T55" fmla="*/ 0 h 24"/>
                  <a:gd name="T56" fmla="*/ 8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8" y="0"/>
                    </a:moveTo>
                    <a:lnTo>
                      <a:pt x="8" y="0"/>
                    </a:lnTo>
                    <a:lnTo>
                      <a:pt x="0" y="6"/>
                    </a:lnTo>
                    <a:lnTo>
                      <a:pt x="0"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4" y="24"/>
                    </a:lnTo>
                    <a:lnTo>
                      <a:pt x="14" y="24"/>
                    </a:lnTo>
                    <a:lnTo>
                      <a:pt x="14" y="24"/>
                    </a:lnTo>
                    <a:lnTo>
                      <a:pt x="14" y="24"/>
                    </a:lnTo>
                    <a:lnTo>
                      <a:pt x="8" y="22"/>
                    </a:lnTo>
                    <a:lnTo>
                      <a:pt x="4" y="18"/>
                    </a:lnTo>
                    <a:lnTo>
                      <a:pt x="0"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6" name="Freeform 268"/>
              <p:cNvSpPr>
                <a:spLocks/>
              </p:cNvSpPr>
              <p:nvPr/>
            </p:nvSpPr>
            <p:spPr bwMode="auto">
              <a:xfrm>
                <a:off x="2908" y="1864"/>
                <a:ext cx="14" cy="24"/>
              </a:xfrm>
              <a:custGeom>
                <a:avLst/>
                <a:gdLst>
                  <a:gd name="T0" fmla="*/ 8 w 14"/>
                  <a:gd name="T1" fmla="*/ 0 h 24"/>
                  <a:gd name="T2" fmla="*/ 8 w 14"/>
                  <a:gd name="T3" fmla="*/ 0 h 24"/>
                  <a:gd name="T4" fmla="*/ 0 w 14"/>
                  <a:gd name="T5" fmla="*/ 6 h 24"/>
                  <a:gd name="T6" fmla="*/ 0 w 14"/>
                  <a:gd name="T7" fmla="*/ 6 h 24"/>
                  <a:gd name="T8" fmla="*/ 0 w 14"/>
                  <a:gd name="T9" fmla="*/ 10 h 24"/>
                  <a:gd name="T10" fmla="*/ 0 w 14"/>
                  <a:gd name="T11" fmla="*/ 10 h 24"/>
                  <a:gd name="T12" fmla="*/ 0 w 14"/>
                  <a:gd name="T13" fmla="*/ 14 h 24"/>
                  <a:gd name="T14" fmla="*/ 4 w 14"/>
                  <a:gd name="T15" fmla="*/ 18 h 24"/>
                  <a:gd name="T16" fmla="*/ 8 w 14"/>
                  <a:gd name="T17" fmla="*/ 22 h 24"/>
                  <a:gd name="T18" fmla="*/ 14 w 14"/>
                  <a:gd name="T19" fmla="*/ 24 h 24"/>
                  <a:gd name="T20" fmla="*/ 14 w 14"/>
                  <a:gd name="T21" fmla="*/ 24 h 24"/>
                  <a:gd name="T22" fmla="*/ 14 w 14"/>
                  <a:gd name="T23" fmla="*/ 24 h 24"/>
                  <a:gd name="T24" fmla="*/ 14 w 14"/>
                  <a:gd name="T25" fmla="*/ 24 h 24"/>
                  <a:gd name="T26" fmla="*/ 14 w 14"/>
                  <a:gd name="T27" fmla="*/ 24 h 24"/>
                  <a:gd name="T28" fmla="*/ 14 w 14"/>
                  <a:gd name="T29" fmla="*/ 24 h 24"/>
                  <a:gd name="T30" fmla="*/ 14 w 14"/>
                  <a:gd name="T31" fmla="*/ 24 h 24"/>
                  <a:gd name="T32" fmla="*/ 14 w 14"/>
                  <a:gd name="T33" fmla="*/ 24 h 24"/>
                  <a:gd name="T34" fmla="*/ 14 w 14"/>
                  <a:gd name="T35" fmla="*/ 24 h 24"/>
                  <a:gd name="T36" fmla="*/ 14 w 14"/>
                  <a:gd name="T37" fmla="*/ 24 h 24"/>
                  <a:gd name="T38" fmla="*/ 8 w 14"/>
                  <a:gd name="T39" fmla="*/ 22 h 24"/>
                  <a:gd name="T40" fmla="*/ 4 w 14"/>
                  <a:gd name="T41" fmla="*/ 18 h 24"/>
                  <a:gd name="T42" fmla="*/ 0 w 14"/>
                  <a:gd name="T43" fmla="*/ 14 h 24"/>
                  <a:gd name="T44" fmla="*/ 0 w 14"/>
                  <a:gd name="T45" fmla="*/ 10 h 24"/>
                  <a:gd name="T46" fmla="*/ 0 w 14"/>
                  <a:gd name="T47" fmla="*/ 10 h 24"/>
                  <a:gd name="T48" fmla="*/ 2 w 14"/>
                  <a:gd name="T49" fmla="*/ 6 h 24"/>
                  <a:gd name="T50" fmla="*/ 2 w 14"/>
                  <a:gd name="T51" fmla="*/ 6 h 24"/>
                  <a:gd name="T52" fmla="*/ 8 w 14"/>
                  <a:gd name="T53" fmla="*/ 0 h 24"/>
                  <a:gd name="T54" fmla="*/ 8 w 14"/>
                  <a:gd name="T55" fmla="*/ 0 h 24"/>
                  <a:gd name="T56" fmla="*/ 8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8" y="0"/>
                    </a:moveTo>
                    <a:lnTo>
                      <a:pt x="8" y="0"/>
                    </a:lnTo>
                    <a:lnTo>
                      <a:pt x="0" y="6"/>
                    </a:lnTo>
                    <a:lnTo>
                      <a:pt x="0" y="6"/>
                    </a:lnTo>
                    <a:lnTo>
                      <a:pt x="0" y="10"/>
                    </a:lnTo>
                    <a:lnTo>
                      <a:pt x="0" y="10"/>
                    </a:lnTo>
                    <a:lnTo>
                      <a:pt x="0" y="14"/>
                    </a:lnTo>
                    <a:lnTo>
                      <a:pt x="4" y="18"/>
                    </a:lnTo>
                    <a:lnTo>
                      <a:pt x="8" y="22"/>
                    </a:lnTo>
                    <a:lnTo>
                      <a:pt x="14" y="24"/>
                    </a:lnTo>
                    <a:lnTo>
                      <a:pt x="14" y="24"/>
                    </a:lnTo>
                    <a:lnTo>
                      <a:pt x="14" y="24"/>
                    </a:lnTo>
                    <a:lnTo>
                      <a:pt x="14" y="24"/>
                    </a:lnTo>
                    <a:lnTo>
                      <a:pt x="14" y="24"/>
                    </a:lnTo>
                    <a:lnTo>
                      <a:pt x="14" y="24"/>
                    </a:lnTo>
                    <a:lnTo>
                      <a:pt x="14" y="24"/>
                    </a:lnTo>
                    <a:lnTo>
                      <a:pt x="14" y="24"/>
                    </a:lnTo>
                    <a:lnTo>
                      <a:pt x="14" y="24"/>
                    </a:lnTo>
                    <a:lnTo>
                      <a:pt x="14" y="24"/>
                    </a:lnTo>
                    <a:lnTo>
                      <a:pt x="8" y="22"/>
                    </a:lnTo>
                    <a:lnTo>
                      <a:pt x="4" y="18"/>
                    </a:lnTo>
                    <a:lnTo>
                      <a:pt x="0"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7" name="Freeform 269"/>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10 w 16"/>
                  <a:gd name="T9" fmla="*/ 28 h 28"/>
                  <a:gd name="T10" fmla="*/ 10 w 16"/>
                  <a:gd name="T11" fmla="*/ 28 h 28"/>
                  <a:gd name="T12" fmla="*/ 14 w 16"/>
                  <a:gd name="T13" fmla="*/ 28 h 28"/>
                  <a:gd name="T14" fmla="*/ 14 w 16"/>
                  <a:gd name="T15" fmla="*/ 28 h 28"/>
                  <a:gd name="T16" fmla="*/ 14 w 16"/>
                  <a:gd name="T17" fmla="*/ 26 h 28"/>
                  <a:gd name="T18" fmla="*/ 14 w 16"/>
                  <a:gd name="T19" fmla="*/ 26 h 28"/>
                  <a:gd name="T20" fmla="*/ 16 w 16"/>
                  <a:gd name="T21" fmla="*/ 24 h 28"/>
                  <a:gd name="T22" fmla="*/ 16 w 16"/>
                  <a:gd name="T23" fmla="*/ 24 h 28"/>
                  <a:gd name="T24" fmla="*/ 16 w 16"/>
                  <a:gd name="T25" fmla="*/ 10 h 28"/>
                  <a:gd name="T26" fmla="*/ 16 w 16"/>
                  <a:gd name="T27" fmla="*/ 10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0" y="26"/>
                    </a:lnTo>
                    <a:lnTo>
                      <a:pt x="0" y="26"/>
                    </a:lnTo>
                    <a:lnTo>
                      <a:pt x="10" y="28"/>
                    </a:lnTo>
                    <a:lnTo>
                      <a:pt x="10" y="28"/>
                    </a:lnTo>
                    <a:lnTo>
                      <a:pt x="14" y="28"/>
                    </a:lnTo>
                    <a:lnTo>
                      <a:pt x="14" y="28"/>
                    </a:lnTo>
                    <a:lnTo>
                      <a:pt x="14" y="26"/>
                    </a:lnTo>
                    <a:lnTo>
                      <a:pt x="14" y="26"/>
                    </a:lnTo>
                    <a:lnTo>
                      <a:pt x="16" y="24"/>
                    </a:lnTo>
                    <a:lnTo>
                      <a:pt x="16" y="24"/>
                    </a:lnTo>
                    <a:lnTo>
                      <a:pt x="16" y="10"/>
                    </a:lnTo>
                    <a:lnTo>
                      <a:pt x="16" y="10"/>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8" name="Freeform 270"/>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10 w 16"/>
                  <a:gd name="T9" fmla="*/ 28 h 28"/>
                  <a:gd name="T10" fmla="*/ 10 w 16"/>
                  <a:gd name="T11" fmla="*/ 28 h 28"/>
                  <a:gd name="T12" fmla="*/ 14 w 16"/>
                  <a:gd name="T13" fmla="*/ 28 h 28"/>
                  <a:gd name="T14" fmla="*/ 14 w 16"/>
                  <a:gd name="T15" fmla="*/ 28 h 28"/>
                  <a:gd name="T16" fmla="*/ 14 w 16"/>
                  <a:gd name="T17" fmla="*/ 26 h 28"/>
                  <a:gd name="T18" fmla="*/ 14 w 16"/>
                  <a:gd name="T19" fmla="*/ 26 h 28"/>
                  <a:gd name="T20" fmla="*/ 16 w 16"/>
                  <a:gd name="T21" fmla="*/ 24 h 28"/>
                  <a:gd name="T22" fmla="*/ 16 w 16"/>
                  <a:gd name="T23" fmla="*/ 24 h 28"/>
                  <a:gd name="T24" fmla="*/ 16 w 16"/>
                  <a:gd name="T25" fmla="*/ 10 h 28"/>
                  <a:gd name="T26" fmla="*/ 16 w 16"/>
                  <a:gd name="T27" fmla="*/ 10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0" y="26"/>
                    </a:lnTo>
                    <a:lnTo>
                      <a:pt x="0" y="26"/>
                    </a:lnTo>
                    <a:lnTo>
                      <a:pt x="10" y="28"/>
                    </a:lnTo>
                    <a:lnTo>
                      <a:pt x="10" y="28"/>
                    </a:lnTo>
                    <a:lnTo>
                      <a:pt x="14" y="28"/>
                    </a:lnTo>
                    <a:lnTo>
                      <a:pt x="14" y="28"/>
                    </a:lnTo>
                    <a:lnTo>
                      <a:pt x="14" y="26"/>
                    </a:lnTo>
                    <a:lnTo>
                      <a:pt x="14" y="26"/>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59" name="Freeform 271"/>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0 w 16"/>
                  <a:gd name="T9" fmla="*/ 26 h 28"/>
                  <a:gd name="T10" fmla="*/ 0 w 16"/>
                  <a:gd name="T11" fmla="*/ 26 h 28"/>
                  <a:gd name="T12" fmla="*/ 14 w 16"/>
                  <a:gd name="T13" fmla="*/ 0 h 28"/>
                  <a:gd name="T14" fmla="*/ 14 w 16"/>
                  <a:gd name="T15" fmla="*/ 0 h 28"/>
                  <a:gd name="T16" fmla="*/ 16 w 16"/>
                  <a:gd name="T17" fmla="*/ 10 h 28"/>
                  <a:gd name="T18" fmla="*/ 16 w 16"/>
                  <a:gd name="T19" fmla="*/ 10 h 28"/>
                  <a:gd name="T20" fmla="*/ 16 w 16"/>
                  <a:gd name="T21" fmla="*/ 24 h 28"/>
                  <a:gd name="T22" fmla="*/ 16 w 16"/>
                  <a:gd name="T23" fmla="*/ 24 h 28"/>
                  <a:gd name="T24" fmla="*/ 14 w 16"/>
                  <a:gd name="T25" fmla="*/ 26 h 28"/>
                  <a:gd name="T26" fmla="*/ 14 w 16"/>
                  <a:gd name="T27" fmla="*/ 26 h 28"/>
                  <a:gd name="T28" fmla="*/ 14 w 16"/>
                  <a:gd name="T29" fmla="*/ 28 h 28"/>
                  <a:gd name="T30" fmla="*/ 14 w 16"/>
                  <a:gd name="T31" fmla="*/ 28 h 28"/>
                  <a:gd name="T32" fmla="*/ 14 w 16"/>
                  <a:gd name="T33" fmla="*/ 26 h 28"/>
                  <a:gd name="T34" fmla="*/ 14 w 16"/>
                  <a:gd name="T35" fmla="*/ 26 h 28"/>
                  <a:gd name="T36" fmla="*/ 16 w 16"/>
                  <a:gd name="T37" fmla="*/ 24 h 28"/>
                  <a:gd name="T38" fmla="*/ 16 w 16"/>
                  <a:gd name="T39" fmla="*/ 24 h 28"/>
                  <a:gd name="T40" fmla="*/ 16 w 16"/>
                  <a:gd name="T41" fmla="*/ 8 h 28"/>
                  <a:gd name="T42" fmla="*/ 16 w 16"/>
                  <a:gd name="T43" fmla="*/ 8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6"/>
                    </a:lnTo>
                    <a:lnTo>
                      <a:pt x="0" y="26"/>
                    </a:lnTo>
                    <a:lnTo>
                      <a:pt x="0" y="26"/>
                    </a:lnTo>
                    <a:lnTo>
                      <a:pt x="0" y="26"/>
                    </a:lnTo>
                    <a:lnTo>
                      <a:pt x="14" y="0"/>
                    </a:lnTo>
                    <a:lnTo>
                      <a:pt x="14" y="0"/>
                    </a:lnTo>
                    <a:lnTo>
                      <a:pt x="16" y="10"/>
                    </a:lnTo>
                    <a:lnTo>
                      <a:pt x="16" y="10"/>
                    </a:lnTo>
                    <a:lnTo>
                      <a:pt x="16" y="24"/>
                    </a:lnTo>
                    <a:lnTo>
                      <a:pt x="16" y="24"/>
                    </a:lnTo>
                    <a:lnTo>
                      <a:pt x="14" y="26"/>
                    </a:lnTo>
                    <a:lnTo>
                      <a:pt x="14" y="26"/>
                    </a:lnTo>
                    <a:lnTo>
                      <a:pt x="14" y="28"/>
                    </a:lnTo>
                    <a:lnTo>
                      <a:pt x="14" y="28"/>
                    </a:lnTo>
                    <a:lnTo>
                      <a:pt x="14" y="26"/>
                    </a:lnTo>
                    <a:lnTo>
                      <a:pt x="14" y="26"/>
                    </a:lnTo>
                    <a:lnTo>
                      <a:pt x="16" y="24"/>
                    </a:lnTo>
                    <a:lnTo>
                      <a:pt x="16"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0" name="Freeform 272"/>
              <p:cNvSpPr>
                <a:spLocks/>
              </p:cNvSpPr>
              <p:nvPr/>
            </p:nvSpPr>
            <p:spPr bwMode="auto">
              <a:xfrm>
                <a:off x="3006" y="1868"/>
                <a:ext cx="16" cy="28"/>
              </a:xfrm>
              <a:custGeom>
                <a:avLst/>
                <a:gdLst>
                  <a:gd name="T0" fmla="*/ 14 w 16"/>
                  <a:gd name="T1" fmla="*/ 0 h 28"/>
                  <a:gd name="T2" fmla="*/ 14 w 16"/>
                  <a:gd name="T3" fmla="*/ 0 h 28"/>
                  <a:gd name="T4" fmla="*/ 0 w 16"/>
                  <a:gd name="T5" fmla="*/ 26 h 28"/>
                  <a:gd name="T6" fmla="*/ 0 w 16"/>
                  <a:gd name="T7" fmla="*/ 26 h 28"/>
                  <a:gd name="T8" fmla="*/ 0 w 16"/>
                  <a:gd name="T9" fmla="*/ 26 h 28"/>
                  <a:gd name="T10" fmla="*/ 0 w 16"/>
                  <a:gd name="T11" fmla="*/ 26 h 28"/>
                  <a:gd name="T12" fmla="*/ 14 w 16"/>
                  <a:gd name="T13" fmla="*/ 0 h 28"/>
                  <a:gd name="T14" fmla="*/ 14 w 16"/>
                  <a:gd name="T15" fmla="*/ 0 h 28"/>
                  <a:gd name="T16" fmla="*/ 16 w 16"/>
                  <a:gd name="T17" fmla="*/ 10 h 28"/>
                  <a:gd name="T18" fmla="*/ 16 w 16"/>
                  <a:gd name="T19" fmla="*/ 10 h 28"/>
                  <a:gd name="T20" fmla="*/ 16 w 16"/>
                  <a:gd name="T21" fmla="*/ 24 h 28"/>
                  <a:gd name="T22" fmla="*/ 16 w 16"/>
                  <a:gd name="T23" fmla="*/ 24 h 28"/>
                  <a:gd name="T24" fmla="*/ 14 w 16"/>
                  <a:gd name="T25" fmla="*/ 26 h 28"/>
                  <a:gd name="T26" fmla="*/ 14 w 16"/>
                  <a:gd name="T27" fmla="*/ 26 h 28"/>
                  <a:gd name="T28" fmla="*/ 14 w 16"/>
                  <a:gd name="T29" fmla="*/ 28 h 28"/>
                  <a:gd name="T30" fmla="*/ 14 w 16"/>
                  <a:gd name="T31" fmla="*/ 28 h 28"/>
                  <a:gd name="T32" fmla="*/ 14 w 16"/>
                  <a:gd name="T33" fmla="*/ 26 h 28"/>
                  <a:gd name="T34" fmla="*/ 14 w 16"/>
                  <a:gd name="T35" fmla="*/ 26 h 28"/>
                  <a:gd name="T36" fmla="*/ 16 w 16"/>
                  <a:gd name="T37" fmla="*/ 24 h 28"/>
                  <a:gd name="T38" fmla="*/ 16 w 16"/>
                  <a:gd name="T39" fmla="*/ 24 h 28"/>
                  <a:gd name="T40" fmla="*/ 16 w 16"/>
                  <a:gd name="T41" fmla="*/ 8 h 28"/>
                  <a:gd name="T42" fmla="*/ 16 w 16"/>
                  <a:gd name="T43" fmla="*/ 8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6"/>
                    </a:lnTo>
                    <a:lnTo>
                      <a:pt x="0" y="26"/>
                    </a:lnTo>
                    <a:lnTo>
                      <a:pt x="0" y="26"/>
                    </a:lnTo>
                    <a:lnTo>
                      <a:pt x="0" y="26"/>
                    </a:lnTo>
                    <a:lnTo>
                      <a:pt x="14" y="0"/>
                    </a:lnTo>
                    <a:lnTo>
                      <a:pt x="14" y="0"/>
                    </a:lnTo>
                    <a:lnTo>
                      <a:pt x="16" y="10"/>
                    </a:lnTo>
                    <a:lnTo>
                      <a:pt x="16" y="10"/>
                    </a:lnTo>
                    <a:lnTo>
                      <a:pt x="16" y="24"/>
                    </a:lnTo>
                    <a:lnTo>
                      <a:pt x="16" y="24"/>
                    </a:lnTo>
                    <a:lnTo>
                      <a:pt x="14" y="26"/>
                    </a:lnTo>
                    <a:lnTo>
                      <a:pt x="14" y="26"/>
                    </a:lnTo>
                    <a:lnTo>
                      <a:pt x="14" y="28"/>
                    </a:lnTo>
                    <a:lnTo>
                      <a:pt x="14" y="28"/>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1" name="Freeform 273"/>
              <p:cNvSpPr>
                <a:spLocks/>
              </p:cNvSpPr>
              <p:nvPr/>
            </p:nvSpPr>
            <p:spPr bwMode="auto">
              <a:xfrm>
                <a:off x="2904" y="1814"/>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20 h 20"/>
                  <a:gd name="T16" fmla="*/ 4 w 12"/>
                  <a:gd name="T17" fmla="*/ 20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6 w 12"/>
                  <a:gd name="T43" fmla="*/ 16 h 20"/>
                  <a:gd name="T44" fmla="*/ 6 w 12"/>
                  <a:gd name="T45" fmla="*/ 16 h 20"/>
                  <a:gd name="T46" fmla="*/ 6 w 12"/>
                  <a:gd name="T47" fmla="*/ 16 h 20"/>
                  <a:gd name="T48" fmla="*/ 6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6"/>
                    </a:lnTo>
                    <a:lnTo>
                      <a:pt x="0" y="6"/>
                    </a:lnTo>
                    <a:lnTo>
                      <a:pt x="2" y="12"/>
                    </a:lnTo>
                    <a:lnTo>
                      <a:pt x="4" y="20"/>
                    </a:lnTo>
                    <a:lnTo>
                      <a:pt x="4" y="20"/>
                    </a:lnTo>
                    <a:lnTo>
                      <a:pt x="6" y="20"/>
                    </a:lnTo>
                    <a:lnTo>
                      <a:pt x="6" y="20"/>
                    </a:lnTo>
                    <a:lnTo>
                      <a:pt x="8" y="20"/>
                    </a:lnTo>
                    <a:lnTo>
                      <a:pt x="8" y="20"/>
                    </a:lnTo>
                    <a:lnTo>
                      <a:pt x="10" y="20"/>
                    </a:lnTo>
                    <a:lnTo>
                      <a:pt x="10" y="20"/>
                    </a:lnTo>
                    <a:lnTo>
                      <a:pt x="12" y="14"/>
                    </a:lnTo>
                    <a:lnTo>
                      <a:pt x="12" y="14"/>
                    </a:lnTo>
                    <a:lnTo>
                      <a:pt x="10" y="16"/>
                    </a:lnTo>
                    <a:lnTo>
                      <a:pt x="10" y="16"/>
                    </a:lnTo>
                    <a:lnTo>
                      <a:pt x="8" y="16"/>
                    </a:lnTo>
                    <a:lnTo>
                      <a:pt x="8" y="16"/>
                    </a:lnTo>
                    <a:lnTo>
                      <a:pt x="6" y="16"/>
                    </a:lnTo>
                    <a:lnTo>
                      <a:pt x="6" y="16"/>
                    </a:lnTo>
                    <a:lnTo>
                      <a:pt x="6" y="16"/>
                    </a:lnTo>
                    <a:lnTo>
                      <a:pt x="6" y="16"/>
                    </a:lnTo>
                    <a:lnTo>
                      <a:pt x="4" y="12"/>
                    </a:lnTo>
                    <a:lnTo>
                      <a:pt x="4" y="12"/>
                    </a:lnTo>
                    <a:lnTo>
                      <a:pt x="8" y="0"/>
                    </a:lnTo>
                    <a:lnTo>
                      <a:pt x="8" y="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2" name="Freeform 274"/>
              <p:cNvSpPr>
                <a:spLocks/>
              </p:cNvSpPr>
              <p:nvPr/>
            </p:nvSpPr>
            <p:spPr bwMode="auto">
              <a:xfrm>
                <a:off x="2904" y="1814"/>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20 h 20"/>
                  <a:gd name="T16" fmla="*/ 4 w 12"/>
                  <a:gd name="T17" fmla="*/ 20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6 w 12"/>
                  <a:gd name="T43" fmla="*/ 16 h 20"/>
                  <a:gd name="T44" fmla="*/ 6 w 12"/>
                  <a:gd name="T45" fmla="*/ 16 h 20"/>
                  <a:gd name="T46" fmla="*/ 6 w 12"/>
                  <a:gd name="T47" fmla="*/ 16 h 20"/>
                  <a:gd name="T48" fmla="*/ 6 w 12"/>
                  <a:gd name="T49" fmla="*/ 16 h 20"/>
                  <a:gd name="T50" fmla="*/ 4 w 12"/>
                  <a:gd name="T51" fmla="*/ 12 h 20"/>
                  <a:gd name="T52" fmla="*/ 4 w 12"/>
                  <a:gd name="T53" fmla="*/ 12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6"/>
                    </a:lnTo>
                    <a:lnTo>
                      <a:pt x="0" y="6"/>
                    </a:lnTo>
                    <a:lnTo>
                      <a:pt x="2" y="12"/>
                    </a:lnTo>
                    <a:lnTo>
                      <a:pt x="4" y="20"/>
                    </a:lnTo>
                    <a:lnTo>
                      <a:pt x="4" y="20"/>
                    </a:lnTo>
                    <a:lnTo>
                      <a:pt x="6" y="20"/>
                    </a:lnTo>
                    <a:lnTo>
                      <a:pt x="6" y="20"/>
                    </a:lnTo>
                    <a:lnTo>
                      <a:pt x="8" y="20"/>
                    </a:lnTo>
                    <a:lnTo>
                      <a:pt x="8" y="20"/>
                    </a:lnTo>
                    <a:lnTo>
                      <a:pt x="10" y="20"/>
                    </a:lnTo>
                    <a:lnTo>
                      <a:pt x="10" y="20"/>
                    </a:lnTo>
                    <a:lnTo>
                      <a:pt x="12" y="14"/>
                    </a:lnTo>
                    <a:lnTo>
                      <a:pt x="12" y="14"/>
                    </a:lnTo>
                    <a:lnTo>
                      <a:pt x="10" y="16"/>
                    </a:lnTo>
                    <a:lnTo>
                      <a:pt x="10" y="16"/>
                    </a:lnTo>
                    <a:lnTo>
                      <a:pt x="8" y="16"/>
                    </a:lnTo>
                    <a:lnTo>
                      <a:pt x="8" y="16"/>
                    </a:lnTo>
                    <a:lnTo>
                      <a:pt x="6" y="16"/>
                    </a:lnTo>
                    <a:lnTo>
                      <a:pt x="6" y="16"/>
                    </a:lnTo>
                    <a:lnTo>
                      <a:pt x="6" y="16"/>
                    </a:lnTo>
                    <a:lnTo>
                      <a:pt x="6" y="16"/>
                    </a:lnTo>
                    <a:lnTo>
                      <a:pt x="4" y="12"/>
                    </a:lnTo>
                    <a:lnTo>
                      <a:pt x="4" y="1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3" name="Freeform 275"/>
              <p:cNvSpPr>
                <a:spLocks noEditPoints="1"/>
              </p:cNvSpPr>
              <p:nvPr/>
            </p:nvSpPr>
            <p:spPr bwMode="auto">
              <a:xfrm>
                <a:off x="2908" y="1814"/>
                <a:ext cx="8" cy="20"/>
              </a:xfrm>
              <a:custGeom>
                <a:avLst/>
                <a:gdLst>
                  <a:gd name="T0" fmla="*/ 6 w 8"/>
                  <a:gd name="T1" fmla="*/ 20 h 20"/>
                  <a:gd name="T2" fmla="*/ 6 w 8"/>
                  <a:gd name="T3" fmla="*/ 20 h 20"/>
                  <a:gd name="T4" fmla="*/ 4 w 8"/>
                  <a:gd name="T5" fmla="*/ 20 h 20"/>
                  <a:gd name="T6" fmla="*/ 4 w 8"/>
                  <a:gd name="T7" fmla="*/ 20 h 20"/>
                  <a:gd name="T8" fmla="*/ 2 w 8"/>
                  <a:gd name="T9" fmla="*/ 20 h 20"/>
                  <a:gd name="T10" fmla="*/ 2 w 8"/>
                  <a:gd name="T11" fmla="*/ 20 h 20"/>
                  <a:gd name="T12" fmla="*/ 0 w 8"/>
                  <a:gd name="T13" fmla="*/ 20 h 20"/>
                  <a:gd name="T14" fmla="*/ 0 w 8"/>
                  <a:gd name="T15" fmla="*/ 20 h 20"/>
                  <a:gd name="T16" fmla="*/ 2 w 8"/>
                  <a:gd name="T17" fmla="*/ 20 h 20"/>
                  <a:gd name="T18" fmla="*/ 2 w 8"/>
                  <a:gd name="T19" fmla="*/ 20 h 20"/>
                  <a:gd name="T20" fmla="*/ 4 w 8"/>
                  <a:gd name="T21" fmla="*/ 20 h 20"/>
                  <a:gd name="T22" fmla="*/ 4 w 8"/>
                  <a:gd name="T23" fmla="*/ 20 h 20"/>
                  <a:gd name="T24" fmla="*/ 6 w 8"/>
                  <a:gd name="T25" fmla="*/ 20 h 20"/>
                  <a:gd name="T26" fmla="*/ 8 w 8"/>
                  <a:gd name="T27" fmla="*/ 14 h 20"/>
                  <a:gd name="T28" fmla="*/ 8 w 8"/>
                  <a:gd name="T29" fmla="*/ 14 h 20"/>
                  <a:gd name="T30" fmla="*/ 6 w 8"/>
                  <a:gd name="T31" fmla="*/ 16 h 20"/>
                  <a:gd name="T32" fmla="*/ 6 w 8"/>
                  <a:gd name="T33" fmla="*/ 16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2 h 20"/>
                  <a:gd name="T46" fmla="*/ 0 w 8"/>
                  <a:gd name="T47" fmla="*/ 12 h 20"/>
                  <a:gd name="T48" fmla="*/ 2 w 8"/>
                  <a:gd name="T49" fmla="*/ 16 h 20"/>
                  <a:gd name="T50" fmla="*/ 2 w 8"/>
                  <a:gd name="T51" fmla="*/ 16 h 20"/>
                  <a:gd name="T52" fmla="*/ 2 w 8"/>
                  <a:gd name="T53" fmla="*/ 16 h 20"/>
                  <a:gd name="T54" fmla="*/ 2 w 8"/>
                  <a:gd name="T55" fmla="*/ 16 h 20"/>
                  <a:gd name="T56" fmla="*/ 2 w 8"/>
                  <a:gd name="T57" fmla="*/ 16 h 20"/>
                  <a:gd name="T58" fmla="*/ 2 w 8"/>
                  <a:gd name="T59" fmla="*/ 16 h 20"/>
                  <a:gd name="T60" fmla="*/ 0 w 8"/>
                  <a:gd name="T61" fmla="*/ 12 h 20"/>
                  <a:gd name="T62" fmla="*/ 0 w 8"/>
                  <a:gd name="T63" fmla="*/ 12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20"/>
                    </a:moveTo>
                    <a:lnTo>
                      <a:pt x="6" y="20"/>
                    </a:lnTo>
                    <a:lnTo>
                      <a:pt x="4" y="20"/>
                    </a:lnTo>
                    <a:lnTo>
                      <a:pt x="4" y="20"/>
                    </a:lnTo>
                    <a:lnTo>
                      <a:pt x="2" y="20"/>
                    </a:lnTo>
                    <a:lnTo>
                      <a:pt x="2" y="20"/>
                    </a:lnTo>
                    <a:lnTo>
                      <a:pt x="0" y="20"/>
                    </a:lnTo>
                    <a:lnTo>
                      <a:pt x="0" y="20"/>
                    </a:lnTo>
                    <a:lnTo>
                      <a:pt x="2" y="20"/>
                    </a:lnTo>
                    <a:lnTo>
                      <a:pt x="2" y="20"/>
                    </a:lnTo>
                    <a:lnTo>
                      <a:pt x="4" y="20"/>
                    </a:lnTo>
                    <a:lnTo>
                      <a:pt x="4" y="20"/>
                    </a:lnTo>
                    <a:lnTo>
                      <a:pt x="6" y="20"/>
                    </a:lnTo>
                    <a:close/>
                    <a:moveTo>
                      <a:pt x="8" y="14"/>
                    </a:moveTo>
                    <a:lnTo>
                      <a:pt x="8" y="14"/>
                    </a:lnTo>
                    <a:lnTo>
                      <a:pt x="6" y="16"/>
                    </a:lnTo>
                    <a:lnTo>
                      <a:pt x="6" y="16"/>
                    </a:lnTo>
                    <a:lnTo>
                      <a:pt x="8" y="14"/>
                    </a:lnTo>
                    <a:lnTo>
                      <a:pt x="8" y="14"/>
                    </a:lnTo>
                    <a:lnTo>
                      <a:pt x="8" y="14"/>
                    </a:lnTo>
                    <a:close/>
                    <a:moveTo>
                      <a:pt x="4" y="0"/>
                    </a:moveTo>
                    <a:lnTo>
                      <a:pt x="4" y="0"/>
                    </a:lnTo>
                    <a:lnTo>
                      <a:pt x="0" y="12"/>
                    </a:lnTo>
                    <a:lnTo>
                      <a:pt x="0" y="12"/>
                    </a:lnTo>
                    <a:lnTo>
                      <a:pt x="2" y="16"/>
                    </a:lnTo>
                    <a:lnTo>
                      <a:pt x="2" y="16"/>
                    </a:lnTo>
                    <a:lnTo>
                      <a:pt x="2" y="16"/>
                    </a:lnTo>
                    <a:lnTo>
                      <a:pt x="2" y="16"/>
                    </a:lnTo>
                    <a:lnTo>
                      <a:pt x="2" y="16"/>
                    </a:lnTo>
                    <a:lnTo>
                      <a:pt x="2" y="16"/>
                    </a:lnTo>
                    <a:lnTo>
                      <a:pt x="0" y="12"/>
                    </a:lnTo>
                    <a:lnTo>
                      <a:pt x="0" y="12"/>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4" name="Freeform 276"/>
              <p:cNvSpPr>
                <a:spLocks/>
              </p:cNvSpPr>
              <p:nvPr/>
            </p:nvSpPr>
            <p:spPr bwMode="auto">
              <a:xfrm>
                <a:off x="2908" y="1834"/>
                <a:ext cx="6" cy="0"/>
              </a:xfrm>
              <a:custGeom>
                <a:avLst/>
                <a:gdLst>
                  <a:gd name="T0" fmla="*/ 6 w 6"/>
                  <a:gd name="T1" fmla="*/ 6 w 6"/>
                  <a:gd name="T2" fmla="*/ 4 w 6"/>
                  <a:gd name="T3" fmla="*/ 4 w 6"/>
                  <a:gd name="T4" fmla="*/ 2 w 6"/>
                  <a:gd name="T5" fmla="*/ 2 w 6"/>
                  <a:gd name="T6" fmla="*/ 0 w 6"/>
                  <a:gd name="T7" fmla="*/ 0 w 6"/>
                  <a:gd name="T8" fmla="*/ 2 w 6"/>
                  <a:gd name="T9" fmla="*/ 2 w 6"/>
                  <a:gd name="T10" fmla="*/ 4 w 6"/>
                  <a:gd name="T11" fmla="*/ 4 w 6"/>
                  <a:gd name="T12"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6" y="0"/>
                    </a:moveTo>
                    <a:lnTo>
                      <a:pt x="6" y="0"/>
                    </a:lnTo>
                    <a:lnTo>
                      <a:pt x="4" y="0"/>
                    </a:lnTo>
                    <a:lnTo>
                      <a:pt x="4" y="0"/>
                    </a:lnTo>
                    <a:lnTo>
                      <a:pt x="2" y="0"/>
                    </a:lnTo>
                    <a:lnTo>
                      <a:pt x="2" y="0"/>
                    </a:lnTo>
                    <a:lnTo>
                      <a:pt x="0" y="0"/>
                    </a:lnTo>
                    <a:lnTo>
                      <a:pt x="0" y="0"/>
                    </a:lnTo>
                    <a:lnTo>
                      <a:pt x="2" y="0"/>
                    </a:lnTo>
                    <a:lnTo>
                      <a:pt x="2"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5" name="Freeform 277"/>
              <p:cNvSpPr>
                <a:spLocks/>
              </p:cNvSpPr>
              <p:nvPr/>
            </p:nvSpPr>
            <p:spPr bwMode="auto">
              <a:xfrm>
                <a:off x="2914" y="182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6" name="Freeform 278"/>
              <p:cNvSpPr>
                <a:spLocks/>
              </p:cNvSpPr>
              <p:nvPr/>
            </p:nvSpPr>
            <p:spPr bwMode="auto">
              <a:xfrm>
                <a:off x="2908" y="1814"/>
                <a:ext cx="4" cy="16"/>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0 w 4"/>
                  <a:gd name="T21" fmla="*/ 12 h 16"/>
                  <a:gd name="T22" fmla="*/ 0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7" name="Freeform 279"/>
              <p:cNvSpPr>
                <a:spLocks/>
              </p:cNvSpPr>
              <p:nvPr/>
            </p:nvSpPr>
            <p:spPr bwMode="auto">
              <a:xfrm>
                <a:off x="2910" y="18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8" name="Freeform 280"/>
              <p:cNvSpPr>
                <a:spLocks noEditPoints="1"/>
              </p:cNvSpPr>
              <p:nvPr/>
            </p:nvSpPr>
            <p:spPr bwMode="auto">
              <a:xfrm>
                <a:off x="3018" y="1802"/>
                <a:ext cx="20" cy="14"/>
              </a:xfrm>
              <a:custGeom>
                <a:avLst/>
                <a:gdLst>
                  <a:gd name="T0" fmla="*/ 6 w 20"/>
                  <a:gd name="T1" fmla="*/ 12 h 14"/>
                  <a:gd name="T2" fmla="*/ 6 w 20"/>
                  <a:gd name="T3" fmla="*/ 12 h 14"/>
                  <a:gd name="T4" fmla="*/ 6 w 20"/>
                  <a:gd name="T5" fmla="*/ 10 h 14"/>
                  <a:gd name="T6" fmla="*/ 6 w 20"/>
                  <a:gd name="T7" fmla="*/ 10 h 14"/>
                  <a:gd name="T8" fmla="*/ 8 w 20"/>
                  <a:gd name="T9" fmla="*/ 8 h 14"/>
                  <a:gd name="T10" fmla="*/ 8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4 h 14"/>
                  <a:gd name="T26" fmla="*/ 8 w 20"/>
                  <a:gd name="T27" fmla="*/ 14 h 14"/>
                  <a:gd name="T28" fmla="*/ 6 w 20"/>
                  <a:gd name="T29" fmla="*/ 12 h 14"/>
                  <a:gd name="T30" fmla="*/ 14 w 20"/>
                  <a:gd name="T31" fmla="*/ 0 h 14"/>
                  <a:gd name="T32" fmla="*/ 14 w 20"/>
                  <a:gd name="T33" fmla="*/ 0 h 14"/>
                  <a:gd name="T34" fmla="*/ 6 w 20"/>
                  <a:gd name="T35" fmla="*/ 4 h 14"/>
                  <a:gd name="T36" fmla="*/ 0 w 20"/>
                  <a:gd name="T37" fmla="*/ 10 h 14"/>
                  <a:gd name="T38" fmla="*/ 0 w 20"/>
                  <a:gd name="T39" fmla="*/ 10 h 14"/>
                  <a:gd name="T40" fmla="*/ 4 w 20"/>
                  <a:gd name="T41" fmla="*/ 10 h 14"/>
                  <a:gd name="T42" fmla="*/ 4 w 20"/>
                  <a:gd name="T43" fmla="*/ 10 h 14"/>
                  <a:gd name="T44" fmla="*/ 8 w 20"/>
                  <a:gd name="T45" fmla="*/ 14 h 14"/>
                  <a:gd name="T46" fmla="*/ 8 w 20"/>
                  <a:gd name="T47" fmla="*/ 14 h 14"/>
                  <a:gd name="T48" fmla="*/ 20 w 20"/>
                  <a:gd name="T49" fmla="*/ 6 h 14"/>
                  <a:gd name="T50" fmla="*/ 20 w 20"/>
                  <a:gd name="T51" fmla="*/ 6 h 14"/>
                  <a:gd name="T52" fmla="*/ 16 w 20"/>
                  <a:gd name="T53" fmla="*/ 6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6" y="10"/>
                    </a:lnTo>
                    <a:lnTo>
                      <a:pt x="6" y="10"/>
                    </a:lnTo>
                    <a:lnTo>
                      <a:pt x="8" y="8"/>
                    </a:lnTo>
                    <a:lnTo>
                      <a:pt x="8" y="8"/>
                    </a:lnTo>
                    <a:lnTo>
                      <a:pt x="12" y="10"/>
                    </a:lnTo>
                    <a:lnTo>
                      <a:pt x="12" y="10"/>
                    </a:lnTo>
                    <a:lnTo>
                      <a:pt x="12" y="10"/>
                    </a:lnTo>
                    <a:lnTo>
                      <a:pt x="12" y="10"/>
                    </a:lnTo>
                    <a:lnTo>
                      <a:pt x="12" y="10"/>
                    </a:lnTo>
                    <a:lnTo>
                      <a:pt x="12" y="10"/>
                    </a:lnTo>
                    <a:lnTo>
                      <a:pt x="8" y="14"/>
                    </a:lnTo>
                    <a:lnTo>
                      <a:pt x="8" y="14"/>
                    </a:lnTo>
                    <a:lnTo>
                      <a:pt x="6" y="12"/>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69" name="Freeform 281"/>
              <p:cNvSpPr>
                <a:spLocks/>
              </p:cNvSpPr>
              <p:nvPr/>
            </p:nvSpPr>
            <p:spPr bwMode="auto">
              <a:xfrm>
                <a:off x="3024" y="1810"/>
                <a:ext cx="6" cy="6"/>
              </a:xfrm>
              <a:custGeom>
                <a:avLst/>
                <a:gdLst>
                  <a:gd name="T0" fmla="*/ 0 w 6"/>
                  <a:gd name="T1" fmla="*/ 4 h 6"/>
                  <a:gd name="T2" fmla="*/ 0 w 6"/>
                  <a:gd name="T3" fmla="*/ 4 h 6"/>
                  <a:gd name="T4" fmla="*/ 0 w 6"/>
                  <a:gd name="T5" fmla="*/ 2 h 6"/>
                  <a:gd name="T6" fmla="*/ 0 w 6"/>
                  <a:gd name="T7" fmla="*/ 2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2"/>
                    </a:lnTo>
                    <a:lnTo>
                      <a:pt x="0" y="2"/>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0" name="Freeform 282"/>
              <p:cNvSpPr>
                <a:spLocks/>
              </p:cNvSpPr>
              <p:nvPr/>
            </p:nvSpPr>
            <p:spPr bwMode="auto">
              <a:xfrm>
                <a:off x="3018" y="1802"/>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1" name="Freeform 283"/>
              <p:cNvSpPr>
                <a:spLocks/>
              </p:cNvSpPr>
              <p:nvPr/>
            </p:nvSpPr>
            <p:spPr bwMode="auto">
              <a:xfrm>
                <a:off x="2972" y="17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4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2" name="Freeform 284"/>
              <p:cNvSpPr>
                <a:spLocks/>
              </p:cNvSpPr>
              <p:nvPr/>
            </p:nvSpPr>
            <p:spPr bwMode="auto">
              <a:xfrm>
                <a:off x="2972" y="1792"/>
                <a:ext cx="20" cy="20"/>
              </a:xfrm>
              <a:custGeom>
                <a:avLst/>
                <a:gdLst>
                  <a:gd name="T0" fmla="*/ 16 w 20"/>
                  <a:gd name="T1" fmla="*/ 0 h 20"/>
                  <a:gd name="T2" fmla="*/ 16 w 20"/>
                  <a:gd name="T3" fmla="*/ 0 h 20"/>
                  <a:gd name="T4" fmla="*/ 10 w 20"/>
                  <a:gd name="T5" fmla="*/ 2 h 20"/>
                  <a:gd name="T6" fmla="*/ 6 w 20"/>
                  <a:gd name="T7" fmla="*/ 4 h 20"/>
                  <a:gd name="T8" fmla="*/ 2 w 20"/>
                  <a:gd name="T9" fmla="*/ 10 h 20"/>
                  <a:gd name="T10" fmla="*/ 0 w 20"/>
                  <a:gd name="T11" fmla="*/ 20 h 20"/>
                  <a:gd name="T12" fmla="*/ 0 w 20"/>
                  <a:gd name="T13" fmla="*/ 20 h 20"/>
                  <a:gd name="T14" fmla="*/ 8 w 20"/>
                  <a:gd name="T15" fmla="*/ 6 h 20"/>
                  <a:gd name="T16" fmla="*/ 8 w 20"/>
                  <a:gd name="T17" fmla="*/ 6 h 20"/>
                  <a:gd name="T18" fmla="*/ 8 w 20"/>
                  <a:gd name="T19" fmla="*/ 6 h 20"/>
                  <a:gd name="T20" fmla="*/ 8 w 20"/>
                  <a:gd name="T21" fmla="*/ 12 h 20"/>
                  <a:gd name="T22" fmla="*/ 8 w 20"/>
                  <a:gd name="T23" fmla="*/ 12 h 20"/>
                  <a:gd name="T24" fmla="*/ 14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3" name="Freeform 285"/>
              <p:cNvSpPr>
                <a:spLocks/>
              </p:cNvSpPr>
              <p:nvPr/>
            </p:nvSpPr>
            <p:spPr bwMode="auto">
              <a:xfrm>
                <a:off x="3068"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4" name="Freeform 286"/>
              <p:cNvSpPr>
                <a:spLocks/>
              </p:cNvSpPr>
              <p:nvPr/>
            </p:nvSpPr>
            <p:spPr bwMode="auto">
              <a:xfrm>
                <a:off x="3068"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5" name="Freeform 287"/>
              <p:cNvSpPr>
                <a:spLocks/>
              </p:cNvSpPr>
              <p:nvPr/>
            </p:nvSpPr>
            <p:spPr bwMode="auto">
              <a:xfrm>
                <a:off x="3012"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6" name="Freeform 288"/>
              <p:cNvSpPr>
                <a:spLocks/>
              </p:cNvSpPr>
              <p:nvPr/>
            </p:nvSpPr>
            <p:spPr bwMode="auto">
              <a:xfrm>
                <a:off x="3012"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7" name="Freeform 289"/>
              <p:cNvSpPr>
                <a:spLocks/>
              </p:cNvSpPr>
              <p:nvPr/>
            </p:nvSpPr>
            <p:spPr bwMode="auto">
              <a:xfrm>
                <a:off x="3028"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8" name="Freeform 290"/>
              <p:cNvSpPr>
                <a:spLocks/>
              </p:cNvSpPr>
              <p:nvPr/>
            </p:nvSpPr>
            <p:spPr bwMode="auto">
              <a:xfrm>
                <a:off x="3028"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79" name="Freeform 291"/>
              <p:cNvSpPr>
                <a:spLocks/>
              </p:cNvSpPr>
              <p:nvPr/>
            </p:nvSpPr>
            <p:spPr bwMode="auto">
              <a:xfrm>
                <a:off x="3024" y="1810"/>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2 w 6"/>
                  <a:gd name="T13" fmla="*/ 4 h 4"/>
                  <a:gd name="T14" fmla="*/ 2 w 6"/>
                  <a:gd name="T15" fmla="*/ 4 h 4"/>
                  <a:gd name="T16" fmla="*/ 6 w 6"/>
                  <a:gd name="T17" fmla="*/ 2 h 4"/>
                  <a:gd name="T18" fmla="*/ 6 w 6"/>
                  <a:gd name="T19" fmla="*/ 2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0" name="Freeform 292"/>
              <p:cNvSpPr>
                <a:spLocks/>
              </p:cNvSpPr>
              <p:nvPr/>
            </p:nvSpPr>
            <p:spPr bwMode="auto">
              <a:xfrm>
                <a:off x="3024" y="1810"/>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2 w 6"/>
                  <a:gd name="T13" fmla="*/ 4 h 4"/>
                  <a:gd name="T14" fmla="*/ 2 w 6"/>
                  <a:gd name="T15" fmla="*/ 4 h 4"/>
                  <a:gd name="T16" fmla="*/ 6 w 6"/>
                  <a:gd name="T17" fmla="*/ 2 h 4"/>
                  <a:gd name="T18" fmla="*/ 6 w 6"/>
                  <a:gd name="T19" fmla="*/ 2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1" name="Freeform 293"/>
              <p:cNvSpPr>
                <a:spLocks/>
              </p:cNvSpPr>
              <p:nvPr/>
            </p:nvSpPr>
            <p:spPr bwMode="auto">
              <a:xfrm>
                <a:off x="3024" y="1812"/>
                <a:ext cx="6" cy="4"/>
              </a:xfrm>
              <a:custGeom>
                <a:avLst/>
                <a:gdLst>
                  <a:gd name="T0" fmla="*/ 6 w 6"/>
                  <a:gd name="T1" fmla="*/ 0 h 4"/>
                  <a:gd name="T2" fmla="*/ 6 w 6"/>
                  <a:gd name="T3" fmla="*/ 0 h 4"/>
                  <a:gd name="T4" fmla="*/ 2 w 6"/>
                  <a:gd name="T5" fmla="*/ 2 h 4"/>
                  <a:gd name="T6" fmla="*/ 2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2"/>
                    </a:lnTo>
                    <a:lnTo>
                      <a:pt x="2" y="2"/>
                    </a:lnTo>
                    <a:lnTo>
                      <a:pt x="0" y="2"/>
                    </a:lnTo>
                    <a:lnTo>
                      <a:pt x="0" y="2"/>
                    </a:lnTo>
                    <a:lnTo>
                      <a:pt x="2" y="4"/>
                    </a:lnTo>
                    <a:lnTo>
                      <a:pt x="2" y="4"/>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2" name="Freeform 294"/>
              <p:cNvSpPr>
                <a:spLocks/>
              </p:cNvSpPr>
              <p:nvPr/>
            </p:nvSpPr>
            <p:spPr bwMode="auto">
              <a:xfrm>
                <a:off x="3024" y="1812"/>
                <a:ext cx="6" cy="4"/>
              </a:xfrm>
              <a:custGeom>
                <a:avLst/>
                <a:gdLst>
                  <a:gd name="T0" fmla="*/ 6 w 6"/>
                  <a:gd name="T1" fmla="*/ 0 h 4"/>
                  <a:gd name="T2" fmla="*/ 6 w 6"/>
                  <a:gd name="T3" fmla="*/ 0 h 4"/>
                  <a:gd name="T4" fmla="*/ 2 w 6"/>
                  <a:gd name="T5" fmla="*/ 2 h 4"/>
                  <a:gd name="T6" fmla="*/ 2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2"/>
                    </a:lnTo>
                    <a:lnTo>
                      <a:pt x="2" y="2"/>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3" name="Freeform 295"/>
              <p:cNvSpPr>
                <a:spLocks/>
              </p:cNvSpPr>
              <p:nvPr/>
            </p:nvSpPr>
            <p:spPr bwMode="auto">
              <a:xfrm>
                <a:off x="209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4" name="Freeform 296"/>
              <p:cNvSpPr>
                <a:spLocks/>
              </p:cNvSpPr>
              <p:nvPr/>
            </p:nvSpPr>
            <p:spPr bwMode="auto">
              <a:xfrm>
                <a:off x="218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5" name="Freeform 297"/>
              <p:cNvSpPr>
                <a:spLocks/>
              </p:cNvSpPr>
              <p:nvPr/>
            </p:nvSpPr>
            <p:spPr bwMode="auto">
              <a:xfrm>
                <a:off x="227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6" name="Freeform 298"/>
              <p:cNvSpPr>
                <a:spLocks/>
              </p:cNvSpPr>
              <p:nvPr/>
            </p:nvSpPr>
            <p:spPr bwMode="auto">
              <a:xfrm>
                <a:off x="2594"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7" name="Freeform 299"/>
              <p:cNvSpPr>
                <a:spLocks/>
              </p:cNvSpPr>
              <p:nvPr/>
            </p:nvSpPr>
            <p:spPr bwMode="auto">
              <a:xfrm>
                <a:off x="2594"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8" name="Freeform 300"/>
              <p:cNvSpPr>
                <a:spLocks/>
              </p:cNvSpPr>
              <p:nvPr/>
            </p:nvSpPr>
            <p:spPr bwMode="auto">
              <a:xfrm>
                <a:off x="2654"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89" name="Freeform 301"/>
              <p:cNvSpPr>
                <a:spLocks/>
              </p:cNvSpPr>
              <p:nvPr/>
            </p:nvSpPr>
            <p:spPr bwMode="auto">
              <a:xfrm>
                <a:off x="2654"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0" name="Freeform 302"/>
              <p:cNvSpPr>
                <a:spLocks/>
              </p:cNvSpPr>
              <p:nvPr/>
            </p:nvSpPr>
            <p:spPr bwMode="auto">
              <a:xfrm>
                <a:off x="274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1" name="Freeform 303"/>
              <p:cNvSpPr>
                <a:spLocks/>
              </p:cNvSpPr>
              <p:nvPr/>
            </p:nvSpPr>
            <p:spPr bwMode="auto">
              <a:xfrm>
                <a:off x="283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2" name="Freeform 304"/>
              <p:cNvSpPr>
                <a:spLocks/>
              </p:cNvSpPr>
              <p:nvPr/>
            </p:nvSpPr>
            <p:spPr bwMode="auto">
              <a:xfrm>
                <a:off x="292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3" name="Freeform 305"/>
              <p:cNvSpPr>
                <a:spLocks noEditPoints="1"/>
              </p:cNvSpPr>
              <p:nvPr/>
            </p:nvSpPr>
            <p:spPr bwMode="auto">
              <a:xfrm>
                <a:off x="2366" y="1576"/>
                <a:ext cx="188" cy="146"/>
              </a:xfrm>
              <a:custGeom>
                <a:avLst/>
                <a:gdLst>
                  <a:gd name="T0" fmla="*/ 120 w 188"/>
                  <a:gd name="T1" fmla="*/ 112 h 146"/>
                  <a:gd name="T2" fmla="*/ 112 w 188"/>
                  <a:gd name="T3" fmla="*/ 132 h 146"/>
                  <a:gd name="T4" fmla="*/ 6 w 188"/>
                  <a:gd name="T5" fmla="*/ 114 h 146"/>
                  <a:gd name="T6" fmla="*/ 14 w 188"/>
                  <a:gd name="T7" fmla="*/ 100 h 146"/>
                  <a:gd name="T8" fmla="*/ 20 w 188"/>
                  <a:gd name="T9" fmla="*/ 124 h 146"/>
                  <a:gd name="T10" fmla="*/ 8 w 188"/>
                  <a:gd name="T11" fmla="*/ 50 h 146"/>
                  <a:gd name="T12" fmla="*/ 6 w 188"/>
                  <a:gd name="T13" fmla="*/ 62 h 146"/>
                  <a:gd name="T14" fmla="*/ 12 w 188"/>
                  <a:gd name="T15" fmla="*/ 66 h 146"/>
                  <a:gd name="T16" fmla="*/ 12 w 188"/>
                  <a:gd name="T17" fmla="*/ 68 h 146"/>
                  <a:gd name="T18" fmla="*/ 2 w 188"/>
                  <a:gd name="T19" fmla="*/ 58 h 146"/>
                  <a:gd name="T20" fmla="*/ 8 w 188"/>
                  <a:gd name="T21" fmla="*/ 50 h 146"/>
                  <a:gd name="T22" fmla="*/ 114 w 188"/>
                  <a:gd name="T23" fmla="*/ 4 h 146"/>
                  <a:gd name="T24" fmla="*/ 144 w 188"/>
                  <a:gd name="T25" fmla="*/ 22 h 146"/>
                  <a:gd name="T26" fmla="*/ 154 w 188"/>
                  <a:gd name="T27" fmla="*/ 42 h 146"/>
                  <a:gd name="T28" fmla="*/ 144 w 188"/>
                  <a:gd name="T29" fmla="*/ 54 h 146"/>
                  <a:gd name="T30" fmla="*/ 150 w 188"/>
                  <a:gd name="T31" fmla="*/ 56 h 146"/>
                  <a:gd name="T32" fmla="*/ 158 w 188"/>
                  <a:gd name="T33" fmla="*/ 60 h 146"/>
                  <a:gd name="T34" fmla="*/ 168 w 188"/>
                  <a:gd name="T35" fmla="*/ 34 h 146"/>
                  <a:gd name="T36" fmla="*/ 182 w 188"/>
                  <a:gd name="T37" fmla="*/ 42 h 146"/>
                  <a:gd name="T38" fmla="*/ 158 w 188"/>
                  <a:gd name="T39" fmla="*/ 88 h 146"/>
                  <a:gd name="T40" fmla="*/ 128 w 188"/>
                  <a:gd name="T41" fmla="*/ 96 h 146"/>
                  <a:gd name="T42" fmla="*/ 140 w 188"/>
                  <a:gd name="T43" fmla="*/ 96 h 146"/>
                  <a:gd name="T44" fmla="*/ 136 w 188"/>
                  <a:gd name="T45" fmla="*/ 102 h 146"/>
                  <a:gd name="T46" fmla="*/ 106 w 188"/>
                  <a:gd name="T47" fmla="*/ 88 h 146"/>
                  <a:gd name="T48" fmla="*/ 98 w 188"/>
                  <a:gd name="T49" fmla="*/ 128 h 146"/>
                  <a:gd name="T50" fmla="*/ 80 w 188"/>
                  <a:gd name="T51" fmla="*/ 142 h 146"/>
                  <a:gd name="T52" fmla="*/ 78 w 188"/>
                  <a:gd name="T53" fmla="*/ 120 h 146"/>
                  <a:gd name="T54" fmla="*/ 66 w 188"/>
                  <a:gd name="T55" fmla="*/ 116 h 146"/>
                  <a:gd name="T56" fmla="*/ 52 w 188"/>
                  <a:gd name="T57" fmla="*/ 112 h 146"/>
                  <a:gd name="T58" fmla="*/ 46 w 188"/>
                  <a:gd name="T59" fmla="*/ 138 h 146"/>
                  <a:gd name="T60" fmla="*/ 24 w 188"/>
                  <a:gd name="T61" fmla="*/ 130 h 146"/>
                  <a:gd name="T62" fmla="*/ 20 w 188"/>
                  <a:gd name="T63" fmla="*/ 106 h 146"/>
                  <a:gd name="T64" fmla="*/ 30 w 188"/>
                  <a:gd name="T65" fmla="*/ 46 h 146"/>
                  <a:gd name="T66" fmla="*/ 46 w 188"/>
                  <a:gd name="T67" fmla="*/ 50 h 146"/>
                  <a:gd name="T68" fmla="*/ 48 w 188"/>
                  <a:gd name="T69" fmla="*/ 80 h 146"/>
                  <a:gd name="T70" fmla="*/ 62 w 188"/>
                  <a:gd name="T71" fmla="*/ 100 h 146"/>
                  <a:gd name="T72" fmla="*/ 94 w 188"/>
                  <a:gd name="T73" fmla="*/ 86 h 146"/>
                  <a:gd name="T74" fmla="*/ 92 w 188"/>
                  <a:gd name="T75" fmla="*/ 62 h 146"/>
                  <a:gd name="T76" fmla="*/ 72 w 188"/>
                  <a:gd name="T77" fmla="*/ 94 h 146"/>
                  <a:gd name="T78" fmla="*/ 52 w 188"/>
                  <a:gd name="T79" fmla="*/ 84 h 146"/>
                  <a:gd name="T80" fmla="*/ 44 w 188"/>
                  <a:gd name="T81" fmla="*/ 66 h 146"/>
                  <a:gd name="T82" fmla="*/ 72 w 188"/>
                  <a:gd name="T83" fmla="*/ 26 h 146"/>
                  <a:gd name="T84" fmla="*/ 112 w 188"/>
                  <a:gd name="T85" fmla="*/ 0 h 146"/>
                  <a:gd name="T86" fmla="*/ 76 w 188"/>
                  <a:gd name="T87" fmla="*/ 20 h 146"/>
                  <a:gd name="T88" fmla="*/ 42 w 188"/>
                  <a:gd name="T89" fmla="*/ 36 h 146"/>
                  <a:gd name="T90" fmla="*/ 8 w 188"/>
                  <a:gd name="T91" fmla="*/ 64 h 146"/>
                  <a:gd name="T92" fmla="*/ 12 w 188"/>
                  <a:gd name="T93" fmla="*/ 46 h 146"/>
                  <a:gd name="T94" fmla="*/ 8 w 188"/>
                  <a:gd name="T95" fmla="*/ 72 h 146"/>
                  <a:gd name="T96" fmla="*/ 6 w 188"/>
                  <a:gd name="T97" fmla="*/ 102 h 146"/>
                  <a:gd name="T98" fmla="*/ 16 w 188"/>
                  <a:gd name="T99" fmla="*/ 126 h 146"/>
                  <a:gd name="T100" fmla="*/ 24 w 188"/>
                  <a:gd name="T101" fmla="*/ 140 h 146"/>
                  <a:gd name="T102" fmla="*/ 50 w 188"/>
                  <a:gd name="T103" fmla="*/ 136 h 146"/>
                  <a:gd name="T104" fmla="*/ 64 w 188"/>
                  <a:gd name="T105" fmla="*/ 124 h 146"/>
                  <a:gd name="T106" fmla="*/ 84 w 188"/>
                  <a:gd name="T107" fmla="*/ 146 h 146"/>
                  <a:gd name="T108" fmla="*/ 116 w 188"/>
                  <a:gd name="T109" fmla="*/ 134 h 146"/>
                  <a:gd name="T110" fmla="*/ 120 w 188"/>
                  <a:gd name="T111" fmla="*/ 106 h 146"/>
                  <a:gd name="T112" fmla="*/ 128 w 188"/>
                  <a:gd name="T113" fmla="*/ 104 h 146"/>
                  <a:gd name="T114" fmla="*/ 150 w 188"/>
                  <a:gd name="T115" fmla="*/ 92 h 146"/>
                  <a:gd name="T116" fmla="*/ 180 w 188"/>
                  <a:gd name="T117" fmla="*/ 80 h 146"/>
                  <a:gd name="T118" fmla="*/ 182 w 188"/>
                  <a:gd name="T119" fmla="*/ 28 h 146"/>
                  <a:gd name="T120" fmla="*/ 164 w 188"/>
                  <a:gd name="T121" fmla="*/ 32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2" y="130"/>
                    </a:moveTo>
                    <a:lnTo>
                      <a:pt x="102" y="130"/>
                    </a:lnTo>
                    <a:lnTo>
                      <a:pt x="102" y="130"/>
                    </a:lnTo>
                    <a:lnTo>
                      <a:pt x="102" y="130"/>
                    </a:lnTo>
                    <a:lnTo>
                      <a:pt x="116" y="104"/>
                    </a:lnTo>
                    <a:lnTo>
                      <a:pt x="116" y="104"/>
                    </a:lnTo>
                    <a:lnTo>
                      <a:pt x="120" y="112"/>
                    </a:lnTo>
                    <a:lnTo>
                      <a:pt x="120"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4" y="100"/>
                    </a:lnTo>
                    <a:lnTo>
                      <a:pt x="14"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50"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2"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8"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6"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8" y="72"/>
                    </a:lnTo>
                    <a:lnTo>
                      <a:pt x="12" y="74"/>
                    </a:lnTo>
                    <a:lnTo>
                      <a:pt x="12" y="74"/>
                    </a:lnTo>
                    <a:lnTo>
                      <a:pt x="12" y="84"/>
                    </a:lnTo>
                    <a:lnTo>
                      <a:pt x="12" y="84"/>
                    </a:lnTo>
                    <a:lnTo>
                      <a:pt x="12" y="90"/>
                    </a:lnTo>
                    <a:lnTo>
                      <a:pt x="10" y="96"/>
                    </a:lnTo>
                    <a:lnTo>
                      <a:pt x="8" y="100"/>
                    </a:lnTo>
                    <a:lnTo>
                      <a:pt x="6" y="102"/>
                    </a:lnTo>
                    <a:lnTo>
                      <a:pt x="6"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4"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4"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4" name="Freeform 306"/>
              <p:cNvSpPr>
                <a:spLocks/>
              </p:cNvSpPr>
              <p:nvPr/>
            </p:nvSpPr>
            <p:spPr bwMode="auto">
              <a:xfrm>
                <a:off x="2468" y="1680"/>
                <a:ext cx="18" cy="28"/>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8 w 18"/>
                  <a:gd name="T13" fmla="*/ 8 h 28"/>
                  <a:gd name="T14" fmla="*/ 18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8" y="8"/>
                    </a:lnTo>
                    <a:lnTo>
                      <a:pt x="18"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5" name="Freeform 307"/>
              <p:cNvSpPr>
                <a:spLocks/>
              </p:cNvSpPr>
              <p:nvPr/>
            </p:nvSpPr>
            <p:spPr bwMode="auto">
              <a:xfrm>
                <a:off x="2370" y="1676"/>
                <a:ext cx="18" cy="24"/>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10 w 18"/>
                  <a:gd name="T19" fmla="*/ 0 h 24"/>
                  <a:gd name="T20" fmla="*/ 10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10" y="0"/>
                    </a:lnTo>
                    <a:lnTo>
                      <a:pt x="10"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6" name="Freeform 308"/>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7" name="Freeform 309"/>
              <p:cNvSpPr>
                <a:spLocks/>
              </p:cNvSpPr>
              <p:nvPr/>
            </p:nvSpPr>
            <p:spPr bwMode="auto">
              <a:xfrm>
                <a:off x="2380" y="1580"/>
                <a:ext cx="170" cy="138"/>
              </a:xfrm>
              <a:custGeom>
                <a:avLst/>
                <a:gdLst>
                  <a:gd name="T0" fmla="*/ 74 w 170"/>
                  <a:gd name="T1" fmla="*/ 10 h 138"/>
                  <a:gd name="T2" fmla="*/ 100 w 170"/>
                  <a:gd name="T3" fmla="*/ 0 h 138"/>
                  <a:gd name="T4" fmla="*/ 130 w 170"/>
                  <a:gd name="T5" fmla="*/ 16 h 138"/>
                  <a:gd name="T6" fmla="*/ 136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8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6"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8"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4"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2"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8" name="Freeform 310"/>
              <p:cNvSpPr>
                <a:spLocks/>
              </p:cNvSpPr>
              <p:nvPr/>
            </p:nvSpPr>
            <p:spPr bwMode="auto">
              <a:xfrm>
                <a:off x="2366" y="1576"/>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8 w 188"/>
                  <a:gd name="T13" fmla="*/ 56 h 146"/>
                  <a:gd name="T14" fmla="*/ 8 w 188"/>
                  <a:gd name="T15" fmla="*/ 64 h 146"/>
                  <a:gd name="T16" fmla="*/ 10 w 188"/>
                  <a:gd name="T17" fmla="*/ 56 h 146"/>
                  <a:gd name="T18" fmla="*/ 12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8 w 188"/>
                  <a:gd name="T31" fmla="*/ 100 h 146"/>
                  <a:gd name="T32" fmla="*/ 2 w 188"/>
                  <a:gd name="T33" fmla="*/ 108 h 146"/>
                  <a:gd name="T34" fmla="*/ 6 w 188"/>
                  <a:gd name="T35" fmla="*/ 118 h 146"/>
                  <a:gd name="T36" fmla="*/ 16 w 188"/>
                  <a:gd name="T37" fmla="*/ 126 h 146"/>
                  <a:gd name="T38" fmla="*/ 20 w 188"/>
                  <a:gd name="T39" fmla="*/ 132 h 146"/>
                  <a:gd name="T40" fmla="*/ 22 w 188"/>
                  <a:gd name="T41" fmla="*/ 138 h 146"/>
                  <a:gd name="T42" fmla="*/ 34 w 188"/>
                  <a:gd name="T43" fmla="*/ 142 h 146"/>
                  <a:gd name="T44" fmla="*/ 44 w 188"/>
                  <a:gd name="T45" fmla="*/ 144 h 146"/>
                  <a:gd name="T46" fmla="*/ 48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6 h 146"/>
                  <a:gd name="T70" fmla="*/ 116 w 188"/>
                  <a:gd name="T71" fmla="*/ 96 h 146"/>
                  <a:gd name="T72" fmla="*/ 124 w 188"/>
                  <a:gd name="T73" fmla="*/ 102 h 146"/>
                  <a:gd name="T74" fmla="*/ 132 w 188"/>
                  <a:gd name="T75" fmla="*/ 106 h 146"/>
                  <a:gd name="T76" fmla="*/ 142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4 w 188"/>
                  <a:gd name="T89" fmla="*/ 38 h 146"/>
                  <a:gd name="T90" fmla="*/ 180 w 188"/>
                  <a:gd name="T91" fmla="*/ 26 h 146"/>
                  <a:gd name="T92" fmla="*/ 172 w 188"/>
                  <a:gd name="T93" fmla="*/ 26 h 146"/>
                  <a:gd name="T94" fmla="*/ 164 w 188"/>
                  <a:gd name="T95" fmla="*/ 32 h 146"/>
                  <a:gd name="T96" fmla="*/ 162 w 188"/>
                  <a:gd name="T97" fmla="*/ 34 h 146"/>
                  <a:gd name="T98" fmla="*/ 156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8" y="72"/>
                    </a:lnTo>
                    <a:lnTo>
                      <a:pt x="12" y="74"/>
                    </a:lnTo>
                    <a:lnTo>
                      <a:pt x="12" y="74"/>
                    </a:lnTo>
                    <a:lnTo>
                      <a:pt x="12" y="84"/>
                    </a:lnTo>
                    <a:lnTo>
                      <a:pt x="12" y="84"/>
                    </a:lnTo>
                    <a:lnTo>
                      <a:pt x="12" y="90"/>
                    </a:lnTo>
                    <a:lnTo>
                      <a:pt x="10" y="96"/>
                    </a:lnTo>
                    <a:lnTo>
                      <a:pt x="8" y="100"/>
                    </a:lnTo>
                    <a:lnTo>
                      <a:pt x="6" y="102"/>
                    </a:lnTo>
                    <a:lnTo>
                      <a:pt x="6"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4"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4"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699" name="Freeform 311"/>
              <p:cNvSpPr>
                <a:spLocks/>
              </p:cNvSpPr>
              <p:nvPr/>
            </p:nvSpPr>
            <p:spPr bwMode="auto">
              <a:xfrm>
                <a:off x="2372" y="1676"/>
                <a:ext cx="16" cy="24"/>
              </a:xfrm>
              <a:custGeom>
                <a:avLst/>
                <a:gdLst>
                  <a:gd name="T0" fmla="*/ 8 w 16"/>
                  <a:gd name="T1" fmla="*/ 0 h 24"/>
                  <a:gd name="T2" fmla="*/ 8 w 16"/>
                  <a:gd name="T3" fmla="*/ 0 h 24"/>
                  <a:gd name="T4" fmla="*/ 0 w 16"/>
                  <a:gd name="T5" fmla="*/ 6 h 24"/>
                  <a:gd name="T6" fmla="*/ 0 w 16"/>
                  <a:gd name="T7" fmla="*/ 6 h 24"/>
                  <a:gd name="T8" fmla="*/ 0 w 16"/>
                  <a:gd name="T9" fmla="*/ 10 h 24"/>
                  <a:gd name="T10" fmla="*/ 0 w 16"/>
                  <a:gd name="T11" fmla="*/ 10 h 24"/>
                  <a:gd name="T12" fmla="*/ 0 w 16"/>
                  <a:gd name="T13" fmla="*/ 14 h 24"/>
                  <a:gd name="T14" fmla="*/ 4 w 16"/>
                  <a:gd name="T15" fmla="*/ 18 h 24"/>
                  <a:gd name="T16" fmla="*/ 8 w 16"/>
                  <a:gd name="T17" fmla="*/ 22 h 24"/>
                  <a:gd name="T18" fmla="*/ 12 w 16"/>
                  <a:gd name="T19" fmla="*/ 24 h 24"/>
                  <a:gd name="T20" fmla="*/ 12 w 16"/>
                  <a:gd name="T21" fmla="*/ 24 h 24"/>
                  <a:gd name="T22" fmla="*/ 14 w 16"/>
                  <a:gd name="T23" fmla="*/ 22 h 24"/>
                  <a:gd name="T24" fmla="*/ 14 w 16"/>
                  <a:gd name="T25" fmla="*/ 22 h 24"/>
                  <a:gd name="T26" fmla="*/ 14 w 16"/>
                  <a:gd name="T27" fmla="*/ 22 h 24"/>
                  <a:gd name="T28" fmla="*/ 14 w 16"/>
                  <a:gd name="T29" fmla="*/ 22 h 24"/>
                  <a:gd name="T30" fmla="*/ 16 w 16"/>
                  <a:gd name="T31" fmla="*/ 22 h 24"/>
                  <a:gd name="T32" fmla="*/ 16 w 16"/>
                  <a:gd name="T33" fmla="*/ 18 h 24"/>
                  <a:gd name="T34" fmla="*/ 16 w 16"/>
                  <a:gd name="T35" fmla="*/ 18 h 24"/>
                  <a:gd name="T36" fmla="*/ 8 w 16"/>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8" y="0"/>
                    </a:moveTo>
                    <a:lnTo>
                      <a:pt x="8" y="0"/>
                    </a:lnTo>
                    <a:lnTo>
                      <a:pt x="0" y="6"/>
                    </a:lnTo>
                    <a:lnTo>
                      <a:pt x="0" y="6"/>
                    </a:lnTo>
                    <a:lnTo>
                      <a:pt x="0" y="10"/>
                    </a:lnTo>
                    <a:lnTo>
                      <a:pt x="0" y="10"/>
                    </a:lnTo>
                    <a:lnTo>
                      <a:pt x="0" y="14"/>
                    </a:lnTo>
                    <a:lnTo>
                      <a:pt x="4" y="18"/>
                    </a:lnTo>
                    <a:lnTo>
                      <a:pt x="8" y="22"/>
                    </a:lnTo>
                    <a:lnTo>
                      <a:pt x="12" y="24"/>
                    </a:lnTo>
                    <a:lnTo>
                      <a:pt x="12" y="24"/>
                    </a:lnTo>
                    <a:lnTo>
                      <a:pt x="14" y="22"/>
                    </a:lnTo>
                    <a:lnTo>
                      <a:pt x="14" y="22"/>
                    </a:lnTo>
                    <a:lnTo>
                      <a:pt x="14" y="22"/>
                    </a:lnTo>
                    <a:lnTo>
                      <a:pt x="14" y="22"/>
                    </a:lnTo>
                    <a:lnTo>
                      <a:pt x="16"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0" name="Freeform 312"/>
              <p:cNvSpPr>
                <a:spLocks/>
              </p:cNvSpPr>
              <p:nvPr/>
            </p:nvSpPr>
            <p:spPr bwMode="auto">
              <a:xfrm>
                <a:off x="2372" y="1676"/>
                <a:ext cx="16" cy="24"/>
              </a:xfrm>
              <a:custGeom>
                <a:avLst/>
                <a:gdLst>
                  <a:gd name="T0" fmla="*/ 8 w 16"/>
                  <a:gd name="T1" fmla="*/ 0 h 24"/>
                  <a:gd name="T2" fmla="*/ 8 w 16"/>
                  <a:gd name="T3" fmla="*/ 0 h 24"/>
                  <a:gd name="T4" fmla="*/ 0 w 16"/>
                  <a:gd name="T5" fmla="*/ 6 h 24"/>
                  <a:gd name="T6" fmla="*/ 0 w 16"/>
                  <a:gd name="T7" fmla="*/ 6 h 24"/>
                  <a:gd name="T8" fmla="*/ 0 w 16"/>
                  <a:gd name="T9" fmla="*/ 10 h 24"/>
                  <a:gd name="T10" fmla="*/ 0 w 16"/>
                  <a:gd name="T11" fmla="*/ 10 h 24"/>
                  <a:gd name="T12" fmla="*/ 0 w 16"/>
                  <a:gd name="T13" fmla="*/ 14 h 24"/>
                  <a:gd name="T14" fmla="*/ 4 w 16"/>
                  <a:gd name="T15" fmla="*/ 18 h 24"/>
                  <a:gd name="T16" fmla="*/ 8 w 16"/>
                  <a:gd name="T17" fmla="*/ 22 h 24"/>
                  <a:gd name="T18" fmla="*/ 12 w 16"/>
                  <a:gd name="T19" fmla="*/ 24 h 24"/>
                  <a:gd name="T20" fmla="*/ 12 w 16"/>
                  <a:gd name="T21" fmla="*/ 24 h 24"/>
                  <a:gd name="T22" fmla="*/ 14 w 16"/>
                  <a:gd name="T23" fmla="*/ 22 h 24"/>
                  <a:gd name="T24" fmla="*/ 14 w 16"/>
                  <a:gd name="T25" fmla="*/ 22 h 24"/>
                  <a:gd name="T26" fmla="*/ 14 w 16"/>
                  <a:gd name="T27" fmla="*/ 22 h 24"/>
                  <a:gd name="T28" fmla="*/ 14 w 16"/>
                  <a:gd name="T29" fmla="*/ 22 h 24"/>
                  <a:gd name="T30" fmla="*/ 16 w 16"/>
                  <a:gd name="T31" fmla="*/ 22 h 24"/>
                  <a:gd name="T32" fmla="*/ 16 w 16"/>
                  <a:gd name="T33" fmla="*/ 18 h 24"/>
                  <a:gd name="T34" fmla="*/ 16 w 16"/>
                  <a:gd name="T35" fmla="*/ 18 h 24"/>
                  <a:gd name="T36" fmla="*/ 8 w 16"/>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8" y="0"/>
                    </a:moveTo>
                    <a:lnTo>
                      <a:pt x="8" y="0"/>
                    </a:lnTo>
                    <a:lnTo>
                      <a:pt x="0" y="6"/>
                    </a:lnTo>
                    <a:lnTo>
                      <a:pt x="0" y="6"/>
                    </a:lnTo>
                    <a:lnTo>
                      <a:pt x="0" y="10"/>
                    </a:lnTo>
                    <a:lnTo>
                      <a:pt x="0" y="10"/>
                    </a:lnTo>
                    <a:lnTo>
                      <a:pt x="0" y="14"/>
                    </a:lnTo>
                    <a:lnTo>
                      <a:pt x="4" y="18"/>
                    </a:lnTo>
                    <a:lnTo>
                      <a:pt x="8" y="22"/>
                    </a:lnTo>
                    <a:lnTo>
                      <a:pt x="12" y="24"/>
                    </a:lnTo>
                    <a:lnTo>
                      <a:pt x="12" y="24"/>
                    </a:lnTo>
                    <a:lnTo>
                      <a:pt x="14" y="22"/>
                    </a:lnTo>
                    <a:lnTo>
                      <a:pt x="14" y="22"/>
                    </a:lnTo>
                    <a:lnTo>
                      <a:pt x="14" y="22"/>
                    </a:lnTo>
                    <a:lnTo>
                      <a:pt x="14" y="22"/>
                    </a:lnTo>
                    <a:lnTo>
                      <a:pt x="16"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1" name="Freeform 313"/>
              <p:cNvSpPr>
                <a:spLocks/>
              </p:cNvSpPr>
              <p:nvPr/>
            </p:nvSpPr>
            <p:spPr bwMode="auto">
              <a:xfrm>
                <a:off x="2370" y="1676"/>
                <a:ext cx="16" cy="24"/>
              </a:xfrm>
              <a:custGeom>
                <a:avLst/>
                <a:gdLst>
                  <a:gd name="T0" fmla="*/ 10 w 16"/>
                  <a:gd name="T1" fmla="*/ 0 h 24"/>
                  <a:gd name="T2" fmla="*/ 10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2 w 16"/>
                  <a:gd name="T45" fmla="*/ 10 h 24"/>
                  <a:gd name="T46" fmla="*/ 2 w 16"/>
                  <a:gd name="T47" fmla="*/ 10 h 24"/>
                  <a:gd name="T48" fmla="*/ 2 w 16"/>
                  <a:gd name="T49" fmla="*/ 6 h 24"/>
                  <a:gd name="T50" fmla="*/ 2 w 16"/>
                  <a:gd name="T51" fmla="*/ 6 h 24"/>
                  <a:gd name="T52" fmla="*/ 10 w 16"/>
                  <a:gd name="T53" fmla="*/ 0 h 24"/>
                  <a:gd name="T54" fmla="*/ 10 w 16"/>
                  <a:gd name="T55" fmla="*/ 0 h 24"/>
                  <a:gd name="T56" fmla="*/ 10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10" y="0"/>
                    </a:moveTo>
                    <a:lnTo>
                      <a:pt x="10"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2" y="10"/>
                    </a:lnTo>
                    <a:lnTo>
                      <a:pt x="2" y="10"/>
                    </a:lnTo>
                    <a:lnTo>
                      <a:pt x="2" y="6"/>
                    </a:lnTo>
                    <a:lnTo>
                      <a:pt x="2" y="6"/>
                    </a:lnTo>
                    <a:lnTo>
                      <a:pt x="10" y="0"/>
                    </a:lnTo>
                    <a:lnTo>
                      <a:pt x="10" y="0"/>
                    </a:lnTo>
                    <a:lnTo>
                      <a:pt x="1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2" name="Freeform 314"/>
              <p:cNvSpPr>
                <a:spLocks/>
              </p:cNvSpPr>
              <p:nvPr/>
            </p:nvSpPr>
            <p:spPr bwMode="auto">
              <a:xfrm>
                <a:off x="2370" y="1676"/>
                <a:ext cx="16" cy="24"/>
              </a:xfrm>
              <a:custGeom>
                <a:avLst/>
                <a:gdLst>
                  <a:gd name="T0" fmla="*/ 10 w 16"/>
                  <a:gd name="T1" fmla="*/ 0 h 24"/>
                  <a:gd name="T2" fmla="*/ 10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2 w 16"/>
                  <a:gd name="T45" fmla="*/ 10 h 24"/>
                  <a:gd name="T46" fmla="*/ 2 w 16"/>
                  <a:gd name="T47" fmla="*/ 10 h 24"/>
                  <a:gd name="T48" fmla="*/ 2 w 16"/>
                  <a:gd name="T49" fmla="*/ 6 h 24"/>
                  <a:gd name="T50" fmla="*/ 2 w 16"/>
                  <a:gd name="T51" fmla="*/ 6 h 24"/>
                  <a:gd name="T52" fmla="*/ 10 w 16"/>
                  <a:gd name="T53" fmla="*/ 0 h 24"/>
                  <a:gd name="T54" fmla="*/ 10 w 16"/>
                  <a:gd name="T55" fmla="*/ 0 h 24"/>
                  <a:gd name="T56" fmla="*/ 10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10" y="0"/>
                    </a:moveTo>
                    <a:lnTo>
                      <a:pt x="10"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2" y="10"/>
                    </a:lnTo>
                    <a:lnTo>
                      <a:pt x="2" y="10"/>
                    </a:lnTo>
                    <a:lnTo>
                      <a:pt x="2" y="6"/>
                    </a:lnTo>
                    <a:lnTo>
                      <a:pt x="2" y="6"/>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3" name="Freeform 315"/>
              <p:cNvSpPr>
                <a:spLocks/>
              </p:cNvSpPr>
              <p:nvPr/>
            </p:nvSpPr>
            <p:spPr bwMode="auto">
              <a:xfrm>
                <a:off x="2468"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4" name="Freeform 316"/>
              <p:cNvSpPr>
                <a:spLocks/>
              </p:cNvSpPr>
              <p:nvPr/>
            </p:nvSpPr>
            <p:spPr bwMode="auto">
              <a:xfrm>
                <a:off x="2468" y="1680"/>
                <a:ext cx="18" cy="28"/>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5" name="Freeform 317"/>
              <p:cNvSpPr>
                <a:spLocks/>
              </p:cNvSpPr>
              <p:nvPr/>
            </p:nvSpPr>
            <p:spPr bwMode="auto">
              <a:xfrm>
                <a:off x="2468"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8 w 18"/>
                  <a:gd name="T41" fmla="*/ 8 h 26"/>
                  <a:gd name="T42" fmla="*/ 18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8" y="8"/>
                    </a:lnTo>
                    <a:lnTo>
                      <a:pt x="18"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6" name="Freeform 318"/>
              <p:cNvSpPr>
                <a:spLocks/>
              </p:cNvSpPr>
              <p:nvPr/>
            </p:nvSpPr>
            <p:spPr bwMode="auto">
              <a:xfrm>
                <a:off x="2468" y="1680"/>
                <a:ext cx="18" cy="26"/>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8 w 18"/>
                  <a:gd name="T41" fmla="*/ 8 h 26"/>
                  <a:gd name="T42" fmla="*/ 18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8" y="8"/>
                    </a:lnTo>
                    <a:lnTo>
                      <a:pt x="18"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7" name="Freeform 319"/>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2"/>
                    </a:lnTo>
                    <a:lnTo>
                      <a:pt x="4" y="12"/>
                    </a:lnTo>
                    <a:lnTo>
                      <a:pt x="6" y="0"/>
                    </a:lnTo>
                    <a:lnTo>
                      <a:pt x="6" y="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8" name="Freeform 320"/>
              <p:cNvSpPr>
                <a:spLocks/>
              </p:cNvSpPr>
              <p:nvPr/>
            </p:nvSpPr>
            <p:spPr bwMode="auto">
              <a:xfrm>
                <a:off x="2368" y="1626"/>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2"/>
                    </a:lnTo>
                    <a:lnTo>
                      <a:pt x="4"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09" name="Freeform 321"/>
              <p:cNvSpPr>
                <a:spLocks noEditPoints="1"/>
              </p:cNvSpPr>
              <p:nvPr/>
            </p:nvSpPr>
            <p:spPr bwMode="auto">
              <a:xfrm>
                <a:off x="2372" y="1626"/>
                <a:ext cx="8" cy="20"/>
              </a:xfrm>
              <a:custGeom>
                <a:avLst/>
                <a:gdLst>
                  <a:gd name="T0" fmla="*/ 6 w 8"/>
                  <a:gd name="T1" fmla="*/ 18 h 20"/>
                  <a:gd name="T2" fmla="*/ 6 w 8"/>
                  <a:gd name="T3" fmla="*/ 18 h 20"/>
                  <a:gd name="T4" fmla="*/ 2 w 8"/>
                  <a:gd name="T5" fmla="*/ 20 h 20"/>
                  <a:gd name="T6" fmla="*/ 2 w 8"/>
                  <a:gd name="T7" fmla="*/ 20 h 20"/>
                  <a:gd name="T8" fmla="*/ 0 w 8"/>
                  <a:gd name="T9" fmla="*/ 20 h 20"/>
                  <a:gd name="T10" fmla="*/ 0 w 8"/>
                  <a:gd name="T11" fmla="*/ 20 h 20"/>
                  <a:gd name="T12" fmla="*/ 0 w 8"/>
                  <a:gd name="T13" fmla="*/ 20 h 20"/>
                  <a:gd name="T14" fmla="*/ 0 w 8"/>
                  <a:gd name="T15" fmla="*/ 20 h 20"/>
                  <a:gd name="T16" fmla="*/ 0 w 8"/>
                  <a:gd name="T17" fmla="*/ 20 h 20"/>
                  <a:gd name="T18" fmla="*/ 0 w 8"/>
                  <a:gd name="T19" fmla="*/ 20 h 20"/>
                  <a:gd name="T20" fmla="*/ 2 w 8"/>
                  <a:gd name="T21" fmla="*/ 20 h 20"/>
                  <a:gd name="T22" fmla="*/ 2 w 8"/>
                  <a:gd name="T23" fmla="*/ 20 h 20"/>
                  <a:gd name="T24" fmla="*/ 6 w 8"/>
                  <a:gd name="T25" fmla="*/ 18 h 20"/>
                  <a:gd name="T26" fmla="*/ 8 w 8"/>
                  <a:gd name="T27" fmla="*/ 14 h 20"/>
                  <a:gd name="T28" fmla="*/ 8 w 8"/>
                  <a:gd name="T29" fmla="*/ 14 h 20"/>
                  <a:gd name="T30" fmla="*/ 6 w 8"/>
                  <a:gd name="T31" fmla="*/ 16 h 20"/>
                  <a:gd name="T32" fmla="*/ 6 w 8"/>
                  <a:gd name="T33" fmla="*/ 16 h 20"/>
                  <a:gd name="T34" fmla="*/ 8 w 8"/>
                  <a:gd name="T35" fmla="*/ 14 h 20"/>
                  <a:gd name="T36" fmla="*/ 8 w 8"/>
                  <a:gd name="T37" fmla="*/ 14 h 20"/>
                  <a:gd name="T38" fmla="*/ 8 w 8"/>
                  <a:gd name="T39" fmla="*/ 14 h 20"/>
                  <a:gd name="T40" fmla="*/ 2 w 8"/>
                  <a:gd name="T41" fmla="*/ 0 h 20"/>
                  <a:gd name="T42" fmla="*/ 2 w 8"/>
                  <a:gd name="T43" fmla="*/ 0 h 20"/>
                  <a:gd name="T44" fmla="*/ 0 w 8"/>
                  <a:gd name="T45" fmla="*/ 12 h 20"/>
                  <a:gd name="T46" fmla="*/ 0 w 8"/>
                  <a:gd name="T47" fmla="*/ 12 h 20"/>
                  <a:gd name="T48" fmla="*/ 0 w 8"/>
                  <a:gd name="T49" fmla="*/ 16 h 20"/>
                  <a:gd name="T50" fmla="*/ 0 w 8"/>
                  <a:gd name="T51" fmla="*/ 16 h 20"/>
                  <a:gd name="T52" fmla="*/ 0 w 8"/>
                  <a:gd name="T53" fmla="*/ 16 h 20"/>
                  <a:gd name="T54" fmla="*/ 0 w 8"/>
                  <a:gd name="T55" fmla="*/ 16 h 20"/>
                  <a:gd name="T56" fmla="*/ 0 w 8"/>
                  <a:gd name="T57" fmla="*/ 16 h 20"/>
                  <a:gd name="T58" fmla="*/ 0 w 8"/>
                  <a:gd name="T59" fmla="*/ 16 h 20"/>
                  <a:gd name="T60" fmla="*/ 0 w 8"/>
                  <a:gd name="T61" fmla="*/ 12 h 20"/>
                  <a:gd name="T62" fmla="*/ 0 w 8"/>
                  <a:gd name="T63" fmla="*/ 12 h 20"/>
                  <a:gd name="T64" fmla="*/ 2 w 8"/>
                  <a:gd name="T65" fmla="*/ 0 h 20"/>
                  <a:gd name="T66" fmla="*/ 2 w 8"/>
                  <a:gd name="T67" fmla="*/ 0 h 20"/>
                  <a:gd name="T68" fmla="*/ 2 w 8"/>
                  <a:gd name="T69" fmla="*/ 0 h 20"/>
                  <a:gd name="T70" fmla="*/ 2 w 8"/>
                  <a:gd name="T71" fmla="*/ 0 h 20"/>
                  <a:gd name="T72" fmla="*/ 2 w 8"/>
                  <a:gd name="T73" fmla="*/ 0 h 20"/>
                  <a:gd name="T74" fmla="*/ 2 w 8"/>
                  <a:gd name="T75" fmla="*/ 0 h 20"/>
                  <a:gd name="T76" fmla="*/ 2 w 8"/>
                  <a:gd name="T77" fmla="*/ 0 h 20"/>
                  <a:gd name="T78" fmla="*/ 2 w 8"/>
                  <a:gd name="T79" fmla="*/ 0 h 20"/>
                  <a:gd name="T80" fmla="*/ 2 w 8"/>
                  <a:gd name="T81" fmla="*/ 0 h 20"/>
                  <a:gd name="T82" fmla="*/ 2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2" y="20"/>
                    </a:lnTo>
                    <a:lnTo>
                      <a:pt x="2" y="20"/>
                    </a:lnTo>
                    <a:lnTo>
                      <a:pt x="0" y="20"/>
                    </a:lnTo>
                    <a:lnTo>
                      <a:pt x="0" y="20"/>
                    </a:lnTo>
                    <a:lnTo>
                      <a:pt x="0" y="20"/>
                    </a:lnTo>
                    <a:lnTo>
                      <a:pt x="0" y="20"/>
                    </a:lnTo>
                    <a:lnTo>
                      <a:pt x="0" y="20"/>
                    </a:lnTo>
                    <a:lnTo>
                      <a:pt x="0" y="20"/>
                    </a:lnTo>
                    <a:lnTo>
                      <a:pt x="2" y="20"/>
                    </a:lnTo>
                    <a:lnTo>
                      <a:pt x="2" y="20"/>
                    </a:lnTo>
                    <a:lnTo>
                      <a:pt x="6" y="18"/>
                    </a:lnTo>
                    <a:close/>
                    <a:moveTo>
                      <a:pt x="8" y="14"/>
                    </a:moveTo>
                    <a:lnTo>
                      <a:pt x="8" y="14"/>
                    </a:lnTo>
                    <a:lnTo>
                      <a:pt x="6" y="16"/>
                    </a:lnTo>
                    <a:lnTo>
                      <a:pt x="6" y="16"/>
                    </a:lnTo>
                    <a:lnTo>
                      <a:pt x="8" y="14"/>
                    </a:lnTo>
                    <a:lnTo>
                      <a:pt x="8" y="14"/>
                    </a:lnTo>
                    <a:lnTo>
                      <a:pt x="8" y="14"/>
                    </a:lnTo>
                    <a:close/>
                    <a:moveTo>
                      <a:pt x="2" y="0"/>
                    </a:moveTo>
                    <a:lnTo>
                      <a:pt x="2" y="0"/>
                    </a:lnTo>
                    <a:lnTo>
                      <a:pt x="0" y="12"/>
                    </a:lnTo>
                    <a:lnTo>
                      <a:pt x="0" y="12"/>
                    </a:lnTo>
                    <a:lnTo>
                      <a:pt x="0" y="16"/>
                    </a:lnTo>
                    <a:lnTo>
                      <a:pt x="0" y="16"/>
                    </a:lnTo>
                    <a:lnTo>
                      <a:pt x="0" y="16"/>
                    </a:lnTo>
                    <a:lnTo>
                      <a:pt x="0" y="16"/>
                    </a:lnTo>
                    <a:lnTo>
                      <a:pt x="0" y="16"/>
                    </a:lnTo>
                    <a:lnTo>
                      <a:pt x="0" y="16"/>
                    </a:lnTo>
                    <a:lnTo>
                      <a:pt x="0" y="12"/>
                    </a:lnTo>
                    <a:lnTo>
                      <a:pt x="0" y="12"/>
                    </a:lnTo>
                    <a:lnTo>
                      <a:pt x="2" y="0"/>
                    </a:lnTo>
                    <a:close/>
                    <a:moveTo>
                      <a:pt x="2" y="0"/>
                    </a:moveTo>
                    <a:lnTo>
                      <a:pt x="2" y="0"/>
                    </a:lnTo>
                    <a:lnTo>
                      <a:pt x="2" y="0"/>
                    </a:lnTo>
                    <a:lnTo>
                      <a:pt x="2" y="0"/>
                    </a:lnTo>
                    <a:lnTo>
                      <a:pt x="2" y="0"/>
                    </a:lnTo>
                    <a:lnTo>
                      <a:pt x="2" y="0"/>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0" name="Freeform 322"/>
              <p:cNvSpPr>
                <a:spLocks/>
              </p:cNvSpPr>
              <p:nvPr/>
            </p:nvSpPr>
            <p:spPr bwMode="auto">
              <a:xfrm>
                <a:off x="2372" y="1644"/>
                <a:ext cx="6" cy="2"/>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1" name="Freeform 323"/>
              <p:cNvSpPr>
                <a:spLocks/>
              </p:cNvSpPr>
              <p:nvPr/>
            </p:nvSpPr>
            <p:spPr bwMode="auto">
              <a:xfrm>
                <a:off x="2378"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2" name="Freeform 324"/>
              <p:cNvSpPr>
                <a:spLocks/>
              </p:cNvSpPr>
              <p:nvPr/>
            </p:nvSpPr>
            <p:spPr bwMode="auto">
              <a:xfrm>
                <a:off x="2372" y="1626"/>
                <a:ext cx="2" cy="16"/>
              </a:xfrm>
              <a:custGeom>
                <a:avLst/>
                <a:gdLst>
                  <a:gd name="T0" fmla="*/ 2 w 2"/>
                  <a:gd name="T1" fmla="*/ 0 h 16"/>
                  <a:gd name="T2" fmla="*/ 2 w 2"/>
                  <a:gd name="T3" fmla="*/ 0 h 16"/>
                  <a:gd name="T4" fmla="*/ 0 w 2"/>
                  <a:gd name="T5" fmla="*/ 12 h 16"/>
                  <a:gd name="T6" fmla="*/ 0 w 2"/>
                  <a:gd name="T7" fmla="*/ 12 h 16"/>
                  <a:gd name="T8" fmla="*/ 0 w 2"/>
                  <a:gd name="T9" fmla="*/ 16 h 16"/>
                  <a:gd name="T10" fmla="*/ 0 w 2"/>
                  <a:gd name="T11" fmla="*/ 16 h 16"/>
                  <a:gd name="T12" fmla="*/ 0 w 2"/>
                  <a:gd name="T13" fmla="*/ 16 h 16"/>
                  <a:gd name="T14" fmla="*/ 0 w 2"/>
                  <a:gd name="T15" fmla="*/ 16 h 16"/>
                  <a:gd name="T16" fmla="*/ 0 w 2"/>
                  <a:gd name="T17" fmla="*/ 16 h 16"/>
                  <a:gd name="T18" fmla="*/ 0 w 2"/>
                  <a:gd name="T19" fmla="*/ 16 h 16"/>
                  <a:gd name="T20" fmla="*/ 0 w 2"/>
                  <a:gd name="T21" fmla="*/ 12 h 16"/>
                  <a:gd name="T22" fmla="*/ 0 w 2"/>
                  <a:gd name="T23" fmla="*/ 12 h 16"/>
                  <a:gd name="T24" fmla="*/ 2 w 2"/>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6">
                    <a:moveTo>
                      <a:pt x="2" y="0"/>
                    </a:moveTo>
                    <a:lnTo>
                      <a:pt x="2" y="0"/>
                    </a:lnTo>
                    <a:lnTo>
                      <a:pt x="0" y="12"/>
                    </a:lnTo>
                    <a:lnTo>
                      <a:pt x="0" y="12"/>
                    </a:lnTo>
                    <a:lnTo>
                      <a:pt x="0" y="16"/>
                    </a:lnTo>
                    <a:lnTo>
                      <a:pt x="0" y="16"/>
                    </a:lnTo>
                    <a:lnTo>
                      <a:pt x="0" y="16"/>
                    </a:lnTo>
                    <a:lnTo>
                      <a:pt x="0" y="16"/>
                    </a:lnTo>
                    <a:lnTo>
                      <a:pt x="0" y="16"/>
                    </a:lnTo>
                    <a:lnTo>
                      <a:pt x="0" y="16"/>
                    </a:lnTo>
                    <a:lnTo>
                      <a:pt x="0" y="12"/>
                    </a:lnTo>
                    <a:lnTo>
                      <a:pt x="0" y="1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3" name="Freeform 325"/>
              <p:cNvSpPr>
                <a:spLocks/>
              </p:cNvSpPr>
              <p:nvPr/>
            </p:nvSpPr>
            <p:spPr bwMode="auto">
              <a:xfrm>
                <a:off x="2374" y="16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4" name="Freeform 326"/>
              <p:cNvSpPr>
                <a:spLocks noEditPoints="1"/>
              </p:cNvSpPr>
              <p:nvPr/>
            </p:nvSpPr>
            <p:spPr bwMode="auto">
              <a:xfrm>
                <a:off x="2482" y="1616"/>
                <a:ext cx="20" cy="12"/>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4 w 20"/>
                  <a:gd name="T55" fmla="*/ 8 h 12"/>
                  <a:gd name="T56" fmla="*/ 4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4" y="8"/>
                    </a:lnTo>
                    <a:lnTo>
                      <a:pt x="4" y="8"/>
                    </a:lnTo>
                    <a:lnTo>
                      <a:pt x="6" y="12"/>
                    </a:lnTo>
                    <a:lnTo>
                      <a:pt x="6"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5" name="Freeform 327"/>
              <p:cNvSpPr>
                <a:spLocks/>
              </p:cNvSpPr>
              <p:nvPr/>
            </p:nvSpPr>
            <p:spPr bwMode="auto">
              <a:xfrm>
                <a:off x="2488" y="1622"/>
                <a:ext cx="6" cy="4"/>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6" name="Freeform 328"/>
              <p:cNvSpPr>
                <a:spLocks/>
              </p:cNvSpPr>
              <p:nvPr/>
            </p:nvSpPr>
            <p:spPr bwMode="auto">
              <a:xfrm>
                <a:off x="2482" y="1616"/>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4 w 20"/>
                  <a:gd name="T11" fmla="*/ 8 h 12"/>
                  <a:gd name="T12" fmla="*/ 4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4" y="8"/>
                    </a:lnTo>
                    <a:lnTo>
                      <a:pt x="4"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7" name="Freeform 329"/>
              <p:cNvSpPr>
                <a:spLocks/>
              </p:cNvSpPr>
              <p:nvPr/>
            </p:nvSpPr>
            <p:spPr bwMode="auto">
              <a:xfrm>
                <a:off x="2436" y="160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6 w 22"/>
                  <a:gd name="T15" fmla="*/ 6 h 20"/>
                  <a:gd name="T16" fmla="*/ 8 w 22"/>
                  <a:gd name="T17" fmla="*/ 6 h 20"/>
                  <a:gd name="T18" fmla="*/ 8 w 22"/>
                  <a:gd name="T19" fmla="*/ 6 h 20"/>
                  <a:gd name="T20" fmla="*/ 8 w 22"/>
                  <a:gd name="T21" fmla="*/ 12 h 20"/>
                  <a:gd name="T22" fmla="*/ 8 w 22"/>
                  <a:gd name="T23" fmla="*/ 12 h 20"/>
                  <a:gd name="T24" fmla="*/ 12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6" y="6"/>
                    </a:lnTo>
                    <a:lnTo>
                      <a:pt x="8" y="6"/>
                    </a:lnTo>
                    <a:lnTo>
                      <a:pt x="8" y="6"/>
                    </a:lnTo>
                    <a:lnTo>
                      <a:pt x="8" y="12"/>
                    </a:lnTo>
                    <a:lnTo>
                      <a:pt x="8" y="12"/>
                    </a:lnTo>
                    <a:lnTo>
                      <a:pt x="12"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8" name="Freeform 330"/>
              <p:cNvSpPr>
                <a:spLocks/>
              </p:cNvSpPr>
              <p:nvPr/>
            </p:nvSpPr>
            <p:spPr bwMode="auto">
              <a:xfrm>
                <a:off x="2436" y="160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6 w 22"/>
                  <a:gd name="T15" fmla="*/ 6 h 20"/>
                  <a:gd name="T16" fmla="*/ 8 w 22"/>
                  <a:gd name="T17" fmla="*/ 6 h 20"/>
                  <a:gd name="T18" fmla="*/ 8 w 22"/>
                  <a:gd name="T19" fmla="*/ 6 h 20"/>
                  <a:gd name="T20" fmla="*/ 8 w 22"/>
                  <a:gd name="T21" fmla="*/ 12 h 20"/>
                  <a:gd name="T22" fmla="*/ 8 w 22"/>
                  <a:gd name="T23" fmla="*/ 12 h 20"/>
                  <a:gd name="T24" fmla="*/ 12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6" y="6"/>
                    </a:lnTo>
                    <a:lnTo>
                      <a:pt x="8" y="6"/>
                    </a:lnTo>
                    <a:lnTo>
                      <a:pt x="8" y="6"/>
                    </a:lnTo>
                    <a:lnTo>
                      <a:pt x="8" y="12"/>
                    </a:lnTo>
                    <a:lnTo>
                      <a:pt x="8" y="12"/>
                    </a:lnTo>
                    <a:lnTo>
                      <a:pt x="12"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19" name="Freeform 331"/>
              <p:cNvSpPr>
                <a:spLocks/>
              </p:cNvSpPr>
              <p:nvPr/>
            </p:nvSpPr>
            <p:spPr bwMode="auto">
              <a:xfrm>
                <a:off x="2530"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0" name="Freeform 332"/>
              <p:cNvSpPr>
                <a:spLocks/>
              </p:cNvSpPr>
              <p:nvPr/>
            </p:nvSpPr>
            <p:spPr bwMode="auto">
              <a:xfrm>
                <a:off x="2530"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1" name="Freeform 333"/>
              <p:cNvSpPr>
                <a:spLocks/>
              </p:cNvSpPr>
              <p:nvPr/>
            </p:nvSpPr>
            <p:spPr bwMode="auto">
              <a:xfrm>
                <a:off x="2476" y="1604"/>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2" name="Freeform 334"/>
              <p:cNvSpPr>
                <a:spLocks/>
              </p:cNvSpPr>
              <p:nvPr/>
            </p:nvSpPr>
            <p:spPr bwMode="auto">
              <a:xfrm>
                <a:off x="2476" y="1604"/>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3" name="Freeform 335"/>
              <p:cNvSpPr>
                <a:spLocks/>
              </p:cNvSpPr>
              <p:nvPr/>
            </p:nvSpPr>
            <p:spPr bwMode="auto">
              <a:xfrm>
                <a:off x="2490"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4" name="Freeform 336"/>
              <p:cNvSpPr>
                <a:spLocks/>
              </p:cNvSpPr>
              <p:nvPr/>
            </p:nvSpPr>
            <p:spPr bwMode="auto">
              <a:xfrm>
                <a:off x="2490"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5" name="Freeform 337"/>
              <p:cNvSpPr>
                <a:spLocks/>
              </p:cNvSpPr>
              <p:nvPr/>
            </p:nvSpPr>
            <p:spPr bwMode="auto">
              <a:xfrm>
                <a:off x="2488"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6" name="Freeform 338"/>
              <p:cNvSpPr>
                <a:spLocks/>
              </p:cNvSpPr>
              <p:nvPr/>
            </p:nvSpPr>
            <p:spPr bwMode="auto">
              <a:xfrm>
                <a:off x="2488" y="1622"/>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7" name="Freeform 339"/>
              <p:cNvSpPr>
                <a:spLocks noEditPoints="1"/>
              </p:cNvSpPr>
              <p:nvPr/>
            </p:nvSpPr>
            <p:spPr bwMode="auto">
              <a:xfrm>
                <a:off x="2488" y="1622"/>
                <a:ext cx="6" cy="4"/>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8" name="Freeform 340"/>
              <p:cNvSpPr>
                <a:spLocks/>
              </p:cNvSpPr>
              <p:nvPr/>
            </p:nvSpPr>
            <p:spPr bwMode="auto">
              <a:xfrm>
                <a:off x="2488" y="1624"/>
                <a:ext cx="6" cy="2"/>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29" name="Freeform 341"/>
              <p:cNvSpPr>
                <a:spLocks/>
              </p:cNvSpPr>
              <p:nvPr/>
            </p:nvSpPr>
            <p:spPr bwMode="auto">
              <a:xfrm>
                <a:off x="2490"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0" name="Freeform 342"/>
              <p:cNvSpPr>
                <a:spLocks/>
              </p:cNvSpPr>
              <p:nvPr/>
            </p:nvSpPr>
            <p:spPr bwMode="auto">
              <a:xfrm>
                <a:off x="301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1" name="Freeform 343"/>
              <p:cNvSpPr>
                <a:spLocks/>
              </p:cNvSpPr>
              <p:nvPr/>
            </p:nvSpPr>
            <p:spPr bwMode="auto">
              <a:xfrm>
                <a:off x="3250"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2" name="Freeform 344"/>
              <p:cNvSpPr>
                <a:spLocks/>
              </p:cNvSpPr>
              <p:nvPr/>
            </p:nvSpPr>
            <p:spPr bwMode="auto">
              <a:xfrm>
                <a:off x="334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3" name="Freeform 345"/>
              <p:cNvSpPr>
                <a:spLocks/>
              </p:cNvSpPr>
              <p:nvPr/>
            </p:nvSpPr>
            <p:spPr bwMode="auto">
              <a:xfrm>
                <a:off x="3434"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4" name="Freeform 346"/>
              <p:cNvSpPr>
                <a:spLocks/>
              </p:cNvSpPr>
              <p:nvPr/>
            </p:nvSpPr>
            <p:spPr bwMode="auto">
              <a:xfrm>
                <a:off x="3104" y="1578"/>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5" name="Freeform 347"/>
              <p:cNvSpPr>
                <a:spLocks/>
              </p:cNvSpPr>
              <p:nvPr/>
            </p:nvSpPr>
            <p:spPr bwMode="auto">
              <a:xfrm>
                <a:off x="3104" y="1578"/>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6" name="Freeform 348"/>
              <p:cNvSpPr>
                <a:spLocks/>
              </p:cNvSpPr>
              <p:nvPr/>
            </p:nvSpPr>
            <p:spPr bwMode="auto">
              <a:xfrm>
                <a:off x="316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7" name="Freeform 349"/>
              <p:cNvSpPr>
                <a:spLocks/>
              </p:cNvSpPr>
              <p:nvPr/>
            </p:nvSpPr>
            <p:spPr bwMode="auto">
              <a:xfrm>
                <a:off x="316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8" name="Freeform 350"/>
              <p:cNvSpPr>
                <a:spLocks noEditPoints="1"/>
              </p:cNvSpPr>
              <p:nvPr/>
            </p:nvSpPr>
            <p:spPr bwMode="auto">
              <a:xfrm>
                <a:off x="3524" y="157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39" name="Freeform 351"/>
              <p:cNvSpPr>
                <a:spLocks noEditPoints="1"/>
              </p:cNvSpPr>
              <p:nvPr/>
            </p:nvSpPr>
            <p:spPr bwMode="auto">
              <a:xfrm>
                <a:off x="3660"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0" name="Freeform 352"/>
              <p:cNvSpPr>
                <a:spLocks/>
              </p:cNvSpPr>
              <p:nvPr/>
            </p:nvSpPr>
            <p:spPr bwMode="auto">
              <a:xfrm>
                <a:off x="2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1" name="Freeform 353"/>
              <p:cNvSpPr>
                <a:spLocks/>
              </p:cNvSpPr>
              <p:nvPr/>
            </p:nvSpPr>
            <p:spPr bwMode="auto">
              <a:xfrm>
                <a:off x="11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2" name="Freeform 354"/>
              <p:cNvSpPr>
                <a:spLocks/>
              </p:cNvSpPr>
              <p:nvPr/>
            </p:nvSpPr>
            <p:spPr bwMode="auto">
              <a:xfrm>
                <a:off x="20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3" name="Freeform 355"/>
              <p:cNvSpPr>
                <a:spLocks noEditPoints="1"/>
              </p:cNvSpPr>
              <p:nvPr/>
            </p:nvSpPr>
            <p:spPr bwMode="auto">
              <a:xfrm>
                <a:off x="298" y="17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4" name="Freeform 356"/>
              <p:cNvSpPr>
                <a:spLocks noEditPoints="1"/>
              </p:cNvSpPr>
              <p:nvPr/>
            </p:nvSpPr>
            <p:spPr bwMode="auto">
              <a:xfrm>
                <a:off x="438" y="17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5" name="Freeform 357"/>
              <p:cNvSpPr>
                <a:spLocks noEditPoints="1"/>
              </p:cNvSpPr>
              <p:nvPr/>
            </p:nvSpPr>
            <p:spPr bwMode="auto">
              <a:xfrm>
                <a:off x="854" y="17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6" name="Freeform 358"/>
              <p:cNvSpPr>
                <a:spLocks noEditPoints="1"/>
              </p:cNvSpPr>
              <p:nvPr/>
            </p:nvSpPr>
            <p:spPr bwMode="auto">
              <a:xfrm>
                <a:off x="1086" y="17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7" name="Freeform 359"/>
              <p:cNvSpPr>
                <a:spLocks/>
              </p:cNvSpPr>
              <p:nvPr/>
            </p:nvSpPr>
            <p:spPr bwMode="auto">
              <a:xfrm>
                <a:off x="99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8" name="Freeform 360"/>
              <p:cNvSpPr>
                <a:spLocks noEditPoints="1"/>
              </p:cNvSpPr>
              <p:nvPr/>
            </p:nvSpPr>
            <p:spPr bwMode="auto">
              <a:xfrm>
                <a:off x="1226" y="17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49" name="Freeform 361"/>
              <p:cNvSpPr>
                <a:spLocks/>
              </p:cNvSpPr>
              <p:nvPr/>
            </p:nvSpPr>
            <p:spPr bwMode="auto">
              <a:xfrm>
                <a:off x="1364"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0" name="Freeform 362"/>
              <p:cNvSpPr>
                <a:spLocks/>
              </p:cNvSpPr>
              <p:nvPr/>
            </p:nvSpPr>
            <p:spPr bwMode="auto">
              <a:xfrm>
                <a:off x="1364"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1" name="Freeform 363"/>
              <p:cNvSpPr>
                <a:spLocks/>
              </p:cNvSpPr>
              <p:nvPr/>
            </p:nvSpPr>
            <p:spPr bwMode="auto">
              <a:xfrm>
                <a:off x="1426"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2" name="Freeform 364"/>
              <p:cNvSpPr>
                <a:spLocks/>
              </p:cNvSpPr>
              <p:nvPr/>
            </p:nvSpPr>
            <p:spPr bwMode="auto">
              <a:xfrm>
                <a:off x="1426"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3" name="Freeform 365"/>
              <p:cNvSpPr>
                <a:spLocks noEditPoints="1"/>
              </p:cNvSpPr>
              <p:nvPr/>
            </p:nvSpPr>
            <p:spPr bwMode="auto">
              <a:xfrm>
                <a:off x="1660" y="1762"/>
                <a:ext cx="100" cy="150"/>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4" name="Freeform 366"/>
              <p:cNvSpPr>
                <a:spLocks/>
              </p:cNvSpPr>
              <p:nvPr/>
            </p:nvSpPr>
            <p:spPr bwMode="auto">
              <a:xfrm>
                <a:off x="180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5" name="Freeform 367"/>
              <p:cNvSpPr>
                <a:spLocks noEditPoints="1"/>
              </p:cNvSpPr>
              <p:nvPr/>
            </p:nvSpPr>
            <p:spPr bwMode="auto">
              <a:xfrm>
                <a:off x="1512" y="1770"/>
                <a:ext cx="108" cy="142"/>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6" name="Freeform 368"/>
              <p:cNvSpPr>
                <a:spLocks/>
              </p:cNvSpPr>
              <p:nvPr/>
            </p:nvSpPr>
            <p:spPr bwMode="auto">
              <a:xfrm>
                <a:off x="1556" y="1830"/>
                <a:ext cx="22" cy="2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7" name="Freeform 369"/>
              <p:cNvSpPr>
                <a:spLocks/>
              </p:cNvSpPr>
              <p:nvPr/>
            </p:nvSpPr>
            <p:spPr bwMode="auto">
              <a:xfrm>
                <a:off x="1512" y="1770"/>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8" name="Freeform 370"/>
              <p:cNvSpPr>
                <a:spLocks/>
              </p:cNvSpPr>
              <p:nvPr/>
            </p:nvSpPr>
            <p:spPr bwMode="auto">
              <a:xfrm>
                <a:off x="576"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59" name="Freeform 371"/>
              <p:cNvSpPr>
                <a:spLocks/>
              </p:cNvSpPr>
              <p:nvPr/>
            </p:nvSpPr>
            <p:spPr bwMode="auto">
              <a:xfrm>
                <a:off x="67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0" name="Freeform 372"/>
              <p:cNvSpPr>
                <a:spLocks/>
              </p:cNvSpPr>
              <p:nvPr/>
            </p:nvSpPr>
            <p:spPr bwMode="auto">
              <a:xfrm>
                <a:off x="76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1" name="Freeform 373"/>
              <p:cNvSpPr>
                <a:spLocks/>
              </p:cNvSpPr>
              <p:nvPr/>
            </p:nvSpPr>
            <p:spPr bwMode="auto">
              <a:xfrm>
                <a:off x="1166" y="1580"/>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2" name="Freeform 374"/>
              <p:cNvSpPr>
                <a:spLocks/>
              </p:cNvSpPr>
              <p:nvPr/>
            </p:nvSpPr>
            <p:spPr bwMode="auto">
              <a:xfrm>
                <a:off x="125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3" name="Freeform 375"/>
              <p:cNvSpPr>
                <a:spLocks/>
              </p:cNvSpPr>
              <p:nvPr/>
            </p:nvSpPr>
            <p:spPr bwMode="auto">
              <a:xfrm>
                <a:off x="135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4" name="Freeform 376"/>
              <p:cNvSpPr>
                <a:spLocks/>
              </p:cNvSpPr>
              <p:nvPr/>
            </p:nvSpPr>
            <p:spPr bwMode="auto">
              <a:xfrm>
                <a:off x="144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5" name="Freeform 377"/>
              <p:cNvSpPr>
                <a:spLocks/>
              </p:cNvSpPr>
              <p:nvPr/>
            </p:nvSpPr>
            <p:spPr bwMode="auto">
              <a:xfrm>
                <a:off x="167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6" name="Freeform 378"/>
              <p:cNvSpPr>
                <a:spLocks/>
              </p:cNvSpPr>
              <p:nvPr/>
            </p:nvSpPr>
            <p:spPr bwMode="auto">
              <a:xfrm>
                <a:off x="177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7" name="Freeform 379"/>
              <p:cNvSpPr>
                <a:spLocks/>
              </p:cNvSpPr>
              <p:nvPr/>
            </p:nvSpPr>
            <p:spPr bwMode="auto">
              <a:xfrm>
                <a:off x="1532"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8" name="Freeform 380"/>
              <p:cNvSpPr>
                <a:spLocks/>
              </p:cNvSpPr>
              <p:nvPr/>
            </p:nvSpPr>
            <p:spPr bwMode="auto">
              <a:xfrm>
                <a:off x="1532"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69" name="Freeform 381"/>
              <p:cNvSpPr>
                <a:spLocks/>
              </p:cNvSpPr>
              <p:nvPr/>
            </p:nvSpPr>
            <p:spPr bwMode="auto">
              <a:xfrm>
                <a:off x="159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0" name="Freeform 382"/>
              <p:cNvSpPr>
                <a:spLocks/>
              </p:cNvSpPr>
              <p:nvPr/>
            </p:nvSpPr>
            <p:spPr bwMode="auto">
              <a:xfrm>
                <a:off x="1594" y="1578"/>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1" name="Freeform 383"/>
              <p:cNvSpPr>
                <a:spLocks noEditPoints="1"/>
              </p:cNvSpPr>
              <p:nvPr/>
            </p:nvSpPr>
            <p:spPr bwMode="auto">
              <a:xfrm>
                <a:off x="390" y="157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2" name="Freeform 384"/>
              <p:cNvSpPr>
                <a:spLocks noEditPoints="1"/>
              </p:cNvSpPr>
              <p:nvPr/>
            </p:nvSpPr>
            <p:spPr bwMode="auto">
              <a:xfrm>
                <a:off x="526"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3" name="Freeform 385"/>
              <p:cNvSpPr>
                <a:spLocks noEditPoints="1"/>
              </p:cNvSpPr>
              <p:nvPr/>
            </p:nvSpPr>
            <p:spPr bwMode="auto">
              <a:xfrm>
                <a:off x="938"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4" name="Freeform 386"/>
              <p:cNvSpPr>
                <a:spLocks/>
              </p:cNvSpPr>
              <p:nvPr/>
            </p:nvSpPr>
            <p:spPr bwMode="auto">
              <a:xfrm>
                <a:off x="107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5" name="Freeform 387"/>
              <p:cNvSpPr>
                <a:spLocks/>
              </p:cNvSpPr>
              <p:nvPr/>
            </p:nvSpPr>
            <p:spPr bwMode="auto">
              <a:xfrm>
                <a:off x="66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6" name="Freeform 388"/>
              <p:cNvSpPr>
                <a:spLocks/>
              </p:cNvSpPr>
              <p:nvPr/>
            </p:nvSpPr>
            <p:spPr bwMode="auto">
              <a:xfrm>
                <a:off x="75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7" name="Freeform 389"/>
              <p:cNvSpPr>
                <a:spLocks/>
              </p:cNvSpPr>
              <p:nvPr/>
            </p:nvSpPr>
            <p:spPr bwMode="auto">
              <a:xfrm>
                <a:off x="848"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8" name="Freeform 390"/>
              <p:cNvSpPr>
                <a:spLocks noEditPoints="1"/>
              </p:cNvSpPr>
              <p:nvPr/>
            </p:nvSpPr>
            <p:spPr bwMode="auto">
              <a:xfrm>
                <a:off x="0"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79" name="Freeform 391"/>
              <p:cNvSpPr>
                <a:spLocks/>
              </p:cNvSpPr>
              <p:nvPr/>
            </p:nvSpPr>
            <p:spPr bwMode="auto">
              <a:xfrm>
                <a:off x="114" y="1580"/>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0" name="Freeform 392"/>
              <p:cNvSpPr>
                <a:spLocks/>
              </p:cNvSpPr>
              <p:nvPr/>
            </p:nvSpPr>
            <p:spPr bwMode="auto">
              <a:xfrm>
                <a:off x="20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1" name="Freeform 393"/>
              <p:cNvSpPr>
                <a:spLocks/>
              </p:cNvSpPr>
              <p:nvPr/>
            </p:nvSpPr>
            <p:spPr bwMode="auto">
              <a:xfrm>
                <a:off x="29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2" name="Freeform 394"/>
              <p:cNvSpPr>
                <a:spLocks noEditPoints="1"/>
              </p:cNvSpPr>
              <p:nvPr/>
            </p:nvSpPr>
            <p:spPr bwMode="auto">
              <a:xfrm>
                <a:off x="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3" name="Freeform 395"/>
              <p:cNvSpPr>
                <a:spLocks noEditPoints="1"/>
              </p:cNvSpPr>
              <p:nvPr/>
            </p:nvSpPr>
            <p:spPr bwMode="auto">
              <a:xfrm>
                <a:off x="4"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4" name="Freeform 396"/>
              <p:cNvSpPr>
                <a:spLocks noEditPoints="1"/>
              </p:cNvSpPr>
              <p:nvPr/>
            </p:nvSpPr>
            <p:spPr bwMode="auto">
              <a:xfrm>
                <a:off x="136" y="1364"/>
                <a:ext cx="98" cy="148"/>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5" name="Freeform 397"/>
              <p:cNvSpPr>
                <a:spLocks/>
              </p:cNvSpPr>
              <p:nvPr/>
            </p:nvSpPr>
            <p:spPr bwMode="auto">
              <a:xfrm>
                <a:off x="27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6" name="Freeform 398"/>
              <p:cNvSpPr>
                <a:spLocks/>
              </p:cNvSpPr>
              <p:nvPr/>
            </p:nvSpPr>
            <p:spPr bwMode="auto">
              <a:xfrm>
                <a:off x="36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7" name="Freeform 399"/>
              <p:cNvSpPr>
                <a:spLocks/>
              </p:cNvSpPr>
              <p:nvPr/>
            </p:nvSpPr>
            <p:spPr bwMode="auto">
              <a:xfrm>
                <a:off x="460"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8" name="Freeform 400"/>
              <p:cNvSpPr>
                <a:spLocks/>
              </p:cNvSpPr>
              <p:nvPr/>
            </p:nvSpPr>
            <p:spPr bwMode="auto">
              <a:xfrm>
                <a:off x="552"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89" name="Freeform 401"/>
              <p:cNvSpPr>
                <a:spLocks/>
              </p:cNvSpPr>
              <p:nvPr/>
            </p:nvSpPr>
            <p:spPr bwMode="auto">
              <a:xfrm>
                <a:off x="79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0" name="Freeform 402"/>
              <p:cNvSpPr>
                <a:spLocks/>
              </p:cNvSpPr>
              <p:nvPr/>
            </p:nvSpPr>
            <p:spPr bwMode="auto">
              <a:xfrm>
                <a:off x="886"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1" name="Freeform 403"/>
              <p:cNvSpPr>
                <a:spLocks/>
              </p:cNvSpPr>
              <p:nvPr/>
            </p:nvSpPr>
            <p:spPr bwMode="auto">
              <a:xfrm>
                <a:off x="97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2" name="Freeform 404"/>
              <p:cNvSpPr>
                <a:spLocks/>
              </p:cNvSpPr>
              <p:nvPr/>
            </p:nvSpPr>
            <p:spPr bwMode="auto">
              <a:xfrm>
                <a:off x="1072"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793" name="Freeform 405"/>
              <p:cNvSpPr>
                <a:spLocks/>
              </p:cNvSpPr>
              <p:nvPr/>
            </p:nvSpPr>
            <p:spPr bwMode="auto">
              <a:xfrm>
                <a:off x="64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5" name="Group 607"/>
            <p:cNvGrpSpPr>
              <a:grpSpLocks/>
            </p:cNvGrpSpPr>
            <p:nvPr/>
          </p:nvGrpSpPr>
          <p:grpSpPr bwMode="auto">
            <a:xfrm>
              <a:off x="215900" y="1212850"/>
              <a:ext cx="5797529" cy="869950"/>
              <a:chOff x="136" y="964"/>
              <a:chExt cx="3652" cy="548"/>
            </a:xfrm>
          </p:grpSpPr>
          <p:sp>
            <p:nvSpPr>
              <p:cNvPr id="2394" name="Freeform 407"/>
              <p:cNvSpPr>
                <a:spLocks/>
              </p:cNvSpPr>
              <p:nvPr/>
            </p:nvSpPr>
            <p:spPr bwMode="auto">
              <a:xfrm>
                <a:off x="64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5" name="Freeform 408"/>
              <p:cNvSpPr>
                <a:spLocks/>
              </p:cNvSpPr>
              <p:nvPr/>
            </p:nvSpPr>
            <p:spPr bwMode="auto">
              <a:xfrm>
                <a:off x="706" y="1366"/>
                <a:ext cx="46" cy="146"/>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6" name="Freeform 409"/>
              <p:cNvSpPr>
                <a:spLocks/>
              </p:cNvSpPr>
              <p:nvPr/>
            </p:nvSpPr>
            <p:spPr bwMode="auto">
              <a:xfrm>
                <a:off x="706" y="1366"/>
                <a:ext cx="46" cy="146"/>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7" name="Freeform 410"/>
              <p:cNvSpPr>
                <a:spLocks/>
              </p:cNvSpPr>
              <p:nvPr/>
            </p:nvSpPr>
            <p:spPr bwMode="auto">
              <a:xfrm>
                <a:off x="1392" y="13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8" name="Freeform 411"/>
              <p:cNvSpPr>
                <a:spLocks/>
              </p:cNvSpPr>
              <p:nvPr/>
            </p:nvSpPr>
            <p:spPr bwMode="auto">
              <a:xfrm>
                <a:off x="1392" y="13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9" name="Freeform 412"/>
              <p:cNvSpPr>
                <a:spLocks/>
              </p:cNvSpPr>
              <p:nvPr/>
            </p:nvSpPr>
            <p:spPr bwMode="auto">
              <a:xfrm>
                <a:off x="1452"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0" name="Freeform 413"/>
              <p:cNvSpPr>
                <a:spLocks/>
              </p:cNvSpPr>
              <p:nvPr/>
            </p:nvSpPr>
            <p:spPr bwMode="auto">
              <a:xfrm>
                <a:off x="1452"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1" name="Freeform 414"/>
              <p:cNvSpPr>
                <a:spLocks/>
              </p:cNvSpPr>
              <p:nvPr/>
            </p:nvSpPr>
            <p:spPr bwMode="auto">
              <a:xfrm>
                <a:off x="154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2" name="Freeform 415"/>
              <p:cNvSpPr>
                <a:spLocks/>
              </p:cNvSpPr>
              <p:nvPr/>
            </p:nvSpPr>
            <p:spPr bwMode="auto">
              <a:xfrm>
                <a:off x="163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3" name="Freeform 416"/>
              <p:cNvSpPr>
                <a:spLocks/>
              </p:cNvSpPr>
              <p:nvPr/>
            </p:nvSpPr>
            <p:spPr bwMode="auto">
              <a:xfrm>
                <a:off x="1726"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4" name="Freeform 417"/>
              <p:cNvSpPr>
                <a:spLocks/>
              </p:cNvSpPr>
              <p:nvPr/>
            </p:nvSpPr>
            <p:spPr bwMode="auto">
              <a:xfrm>
                <a:off x="1964" y="13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5" name="Freeform 418"/>
              <p:cNvSpPr>
                <a:spLocks/>
              </p:cNvSpPr>
              <p:nvPr/>
            </p:nvSpPr>
            <p:spPr bwMode="auto">
              <a:xfrm>
                <a:off x="205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6" name="Freeform 419"/>
              <p:cNvSpPr>
                <a:spLocks/>
              </p:cNvSpPr>
              <p:nvPr/>
            </p:nvSpPr>
            <p:spPr bwMode="auto">
              <a:xfrm>
                <a:off x="2150"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7" name="Freeform 420"/>
              <p:cNvSpPr>
                <a:spLocks noEditPoints="1"/>
              </p:cNvSpPr>
              <p:nvPr/>
            </p:nvSpPr>
            <p:spPr bwMode="auto">
              <a:xfrm>
                <a:off x="2242" y="1364"/>
                <a:ext cx="98" cy="148"/>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8" name="Freeform 421"/>
              <p:cNvSpPr>
                <a:spLocks noEditPoints="1"/>
              </p:cNvSpPr>
              <p:nvPr/>
            </p:nvSpPr>
            <p:spPr bwMode="auto">
              <a:xfrm>
                <a:off x="2382" y="1364"/>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09" name="Freeform 422"/>
              <p:cNvSpPr>
                <a:spLocks/>
              </p:cNvSpPr>
              <p:nvPr/>
            </p:nvSpPr>
            <p:spPr bwMode="auto">
              <a:xfrm>
                <a:off x="1816" y="13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0" name="Freeform 423"/>
              <p:cNvSpPr>
                <a:spLocks/>
              </p:cNvSpPr>
              <p:nvPr/>
            </p:nvSpPr>
            <p:spPr bwMode="auto">
              <a:xfrm>
                <a:off x="1816" y="13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1" name="Freeform 424"/>
              <p:cNvSpPr>
                <a:spLocks/>
              </p:cNvSpPr>
              <p:nvPr/>
            </p:nvSpPr>
            <p:spPr bwMode="auto">
              <a:xfrm>
                <a:off x="1878" y="1366"/>
                <a:ext cx="48" cy="146"/>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2" name="Freeform 425"/>
              <p:cNvSpPr>
                <a:spLocks/>
              </p:cNvSpPr>
              <p:nvPr/>
            </p:nvSpPr>
            <p:spPr bwMode="auto">
              <a:xfrm>
                <a:off x="1878" y="1366"/>
                <a:ext cx="48" cy="146"/>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3" name="Freeform 426"/>
              <p:cNvSpPr>
                <a:spLocks noEditPoints="1"/>
              </p:cNvSpPr>
              <p:nvPr/>
            </p:nvSpPr>
            <p:spPr bwMode="auto">
              <a:xfrm>
                <a:off x="2798" y="1364"/>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4" name="Freeform 427"/>
              <p:cNvSpPr>
                <a:spLocks noEditPoints="1"/>
              </p:cNvSpPr>
              <p:nvPr/>
            </p:nvSpPr>
            <p:spPr bwMode="auto">
              <a:xfrm>
                <a:off x="3030" y="1364"/>
                <a:ext cx="98" cy="148"/>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5" name="Freeform 428"/>
              <p:cNvSpPr>
                <a:spLocks/>
              </p:cNvSpPr>
              <p:nvPr/>
            </p:nvSpPr>
            <p:spPr bwMode="auto">
              <a:xfrm>
                <a:off x="2938"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6" name="Freeform 429"/>
              <p:cNvSpPr>
                <a:spLocks noEditPoints="1"/>
              </p:cNvSpPr>
              <p:nvPr/>
            </p:nvSpPr>
            <p:spPr bwMode="auto">
              <a:xfrm>
                <a:off x="3168" y="1364"/>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7" name="Freeform 430"/>
              <p:cNvSpPr>
                <a:spLocks/>
              </p:cNvSpPr>
              <p:nvPr/>
            </p:nvSpPr>
            <p:spPr bwMode="auto">
              <a:xfrm>
                <a:off x="3308" y="1366"/>
                <a:ext cx="46" cy="146"/>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8" name="Freeform 431"/>
              <p:cNvSpPr>
                <a:spLocks/>
              </p:cNvSpPr>
              <p:nvPr/>
            </p:nvSpPr>
            <p:spPr bwMode="auto">
              <a:xfrm>
                <a:off x="3308" y="1366"/>
                <a:ext cx="46" cy="146"/>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19" name="Freeform 432"/>
              <p:cNvSpPr>
                <a:spLocks/>
              </p:cNvSpPr>
              <p:nvPr/>
            </p:nvSpPr>
            <p:spPr bwMode="auto">
              <a:xfrm>
                <a:off x="3368"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0" name="Freeform 433"/>
              <p:cNvSpPr>
                <a:spLocks/>
              </p:cNvSpPr>
              <p:nvPr/>
            </p:nvSpPr>
            <p:spPr bwMode="auto">
              <a:xfrm>
                <a:off x="3368"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1" name="Freeform 434"/>
              <p:cNvSpPr>
                <a:spLocks noEditPoints="1"/>
              </p:cNvSpPr>
              <p:nvPr/>
            </p:nvSpPr>
            <p:spPr bwMode="auto">
              <a:xfrm>
                <a:off x="3604" y="1364"/>
                <a:ext cx="98" cy="148"/>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2" name="Freeform 435"/>
              <p:cNvSpPr>
                <a:spLocks/>
              </p:cNvSpPr>
              <p:nvPr/>
            </p:nvSpPr>
            <p:spPr bwMode="auto">
              <a:xfrm>
                <a:off x="373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3" name="Freeform 436"/>
              <p:cNvSpPr>
                <a:spLocks noEditPoints="1"/>
              </p:cNvSpPr>
              <p:nvPr/>
            </p:nvSpPr>
            <p:spPr bwMode="auto">
              <a:xfrm>
                <a:off x="136" y="1160"/>
                <a:ext cx="186" cy="144"/>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4" name="Freeform 437"/>
              <p:cNvSpPr>
                <a:spLocks/>
              </p:cNvSpPr>
              <p:nvPr/>
            </p:nvSpPr>
            <p:spPr bwMode="auto">
              <a:xfrm>
                <a:off x="238" y="1264"/>
                <a:ext cx="18" cy="26"/>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5" name="Freeform 438"/>
              <p:cNvSpPr>
                <a:spLocks/>
              </p:cNvSpPr>
              <p:nvPr/>
            </p:nvSpPr>
            <p:spPr bwMode="auto">
              <a:xfrm>
                <a:off x="140" y="1260"/>
                <a:ext cx="18" cy="22"/>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6" name="Freeform 439"/>
              <p:cNvSpPr>
                <a:spLocks/>
              </p:cNvSpPr>
              <p:nvPr/>
            </p:nvSpPr>
            <p:spPr bwMode="auto">
              <a:xfrm>
                <a:off x="136" y="1208"/>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7" name="Freeform 440"/>
              <p:cNvSpPr>
                <a:spLocks/>
              </p:cNvSpPr>
              <p:nvPr/>
            </p:nvSpPr>
            <p:spPr bwMode="auto">
              <a:xfrm>
                <a:off x="150" y="1164"/>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8" name="Freeform 441"/>
              <p:cNvSpPr>
                <a:spLocks/>
              </p:cNvSpPr>
              <p:nvPr/>
            </p:nvSpPr>
            <p:spPr bwMode="auto">
              <a:xfrm>
                <a:off x="136" y="1160"/>
                <a:ext cx="186" cy="144"/>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29" name="Freeform 442"/>
              <p:cNvSpPr>
                <a:spLocks/>
              </p:cNvSpPr>
              <p:nvPr/>
            </p:nvSpPr>
            <p:spPr bwMode="auto">
              <a:xfrm>
                <a:off x="140" y="1260"/>
                <a:ext cx="18" cy="22"/>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0" name="Freeform 443"/>
              <p:cNvSpPr>
                <a:spLocks/>
              </p:cNvSpPr>
              <p:nvPr/>
            </p:nvSpPr>
            <p:spPr bwMode="auto">
              <a:xfrm>
                <a:off x="140" y="1260"/>
                <a:ext cx="18" cy="22"/>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1" name="Freeform 444"/>
              <p:cNvSpPr>
                <a:spLocks/>
              </p:cNvSpPr>
              <p:nvPr/>
            </p:nvSpPr>
            <p:spPr bwMode="auto">
              <a:xfrm>
                <a:off x="140" y="1260"/>
                <a:ext cx="14" cy="22"/>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2" name="Freeform 445"/>
              <p:cNvSpPr>
                <a:spLocks/>
              </p:cNvSpPr>
              <p:nvPr/>
            </p:nvSpPr>
            <p:spPr bwMode="auto">
              <a:xfrm>
                <a:off x="140" y="1260"/>
                <a:ext cx="14" cy="22"/>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3" name="Freeform 446"/>
              <p:cNvSpPr>
                <a:spLocks/>
              </p:cNvSpPr>
              <p:nvPr/>
            </p:nvSpPr>
            <p:spPr bwMode="auto">
              <a:xfrm>
                <a:off x="238" y="1264"/>
                <a:ext cx="18" cy="26"/>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4" name="Freeform 447"/>
              <p:cNvSpPr>
                <a:spLocks/>
              </p:cNvSpPr>
              <p:nvPr/>
            </p:nvSpPr>
            <p:spPr bwMode="auto">
              <a:xfrm>
                <a:off x="238" y="1264"/>
                <a:ext cx="18" cy="26"/>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5" name="Freeform 448"/>
              <p:cNvSpPr>
                <a:spLocks noEditPoints="1"/>
              </p:cNvSpPr>
              <p:nvPr/>
            </p:nvSpPr>
            <p:spPr bwMode="auto">
              <a:xfrm>
                <a:off x="238" y="1264"/>
                <a:ext cx="18" cy="26"/>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6" name="Freeform 449"/>
              <p:cNvSpPr>
                <a:spLocks/>
              </p:cNvSpPr>
              <p:nvPr/>
            </p:nvSpPr>
            <p:spPr bwMode="auto">
              <a:xfrm>
                <a:off x="238"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7" name="Freeform 450"/>
              <p:cNvSpPr>
                <a:spLocks/>
              </p:cNvSpPr>
              <p:nvPr/>
            </p:nvSpPr>
            <p:spPr bwMode="auto">
              <a:xfrm>
                <a:off x="252" y="1264"/>
                <a:ext cx="4" cy="26"/>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8" name="Freeform 451"/>
              <p:cNvSpPr>
                <a:spLocks/>
              </p:cNvSpPr>
              <p:nvPr/>
            </p:nvSpPr>
            <p:spPr bwMode="auto">
              <a:xfrm>
                <a:off x="138"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39" name="Freeform 452"/>
              <p:cNvSpPr>
                <a:spLocks/>
              </p:cNvSpPr>
              <p:nvPr/>
            </p:nvSpPr>
            <p:spPr bwMode="auto">
              <a:xfrm>
                <a:off x="138"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0" name="Freeform 453"/>
              <p:cNvSpPr>
                <a:spLocks noEditPoints="1"/>
              </p:cNvSpPr>
              <p:nvPr/>
            </p:nvSpPr>
            <p:spPr bwMode="auto">
              <a:xfrm>
                <a:off x="136" y="1208"/>
                <a:ext cx="14" cy="2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1" name="Freeform 454"/>
              <p:cNvSpPr>
                <a:spLocks/>
              </p:cNvSpPr>
              <p:nvPr/>
            </p:nvSpPr>
            <p:spPr bwMode="auto">
              <a:xfrm>
                <a:off x="142" y="1224"/>
                <a:ext cx="8" cy="2"/>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2" name="Freeform 455"/>
              <p:cNvSpPr>
                <a:spLocks/>
              </p:cNvSpPr>
              <p:nvPr/>
            </p:nvSpPr>
            <p:spPr bwMode="auto">
              <a:xfrm>
                <a:off x="136" y="1208"/>
                <a:ext cx="8" cy="2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3" name="Freeform 456"/>
              <p:cNvSpPr>
                <a:spLocks noEditPoints="1"/>
              </p:cNvSpPr>
              <p:nvPr/>
            </p:nvSpPr>
            <p:spPr bwMode="auto">
              <a:xfrm>
                <a:off x="252" y="1198"/>
                <a:ext cx="20" cy="14"/>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4" name="Freeform 457"/>
              <p:cNvSpPr>
                <a:spLocks/>
              </p:cNvSpPr>
              <p:nvPr/>
            </p:nvSpPr>
            <p:spPr bwMode="auto">
              <a:xfrm>
                <a:off x="256" y="1204"/>
                <a:ext cx="8" cy="6"/>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5" name="Freeform 458"/>
              <p:cNvSpPr>
                <a:spLocks/>
              </p:cNvSpPr>
              <p:nvPr/>
            </p:nvSpPr>
            <p:spPr bwMode="auto">
              <a:xfrm>
                <a:off x="252" y="1198"/>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6" name="Freeform 459"/>
              <p:cNvSpPr>
                <a:spLocks/>
              </p:cNvSpPr>
              <p:nvPr/>
            </p:nvSpPr>
            <p:spPr bwMode="auto">
              <a:xfrm>
                <a:off x="204" y="1188"/>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7" name="Freeform 460"/>
              <p:cNvSpPr>
                <a:spLocks/>
              </p:cNvSpPr>
              <p:nvPr/>
            </p:nvSpPr>
            <p:spPr bwMode="auto">
              <a:xfrm>
                <a:off x="204" y="1188"/>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8" name="Freeform 461"/>
              <p:cNvSpPr>
                <a:spLocks/>
              </p:cNvSpPr>
              <p:nvPr/>
            </p:nvSpPr>
            <p:spPr bwMode="auto">
              <a:xfrm>
                <a:off x="300" y="1192"/>
                <a:ext cx="12" cy="8"/>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49" name="Freeform 462"/>
              <p:cNvSpPr>
                <a:spLocks/>
              </p:cNvSpPr>
              <p:nvPr/>
            </p:nvSpPr>
            <p:spPr bwMode="auto">
              <a:xfrm>
                <a:off x="300" y="1192"/>
                <a:ext cx="12" cy="8"/>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0" name="Freeform 463"/>
              <p:cNvSpPr>
                <a:spLocks/>
              </p:cNvSpPr>
              <p:nvPr/>
            </p:nvSpPr>
            <p:spPr bwMode="auto">
              <a:xfrm>
                <a:off x="246"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1" name="Freeform 464"/>
              <p:cNvSpPr>
                <a:spLocks/>
              </p:cNvSpPr>
              <p:nvPr/>
            </p:nvSpPr>
            <p:spPr bwMode="auto">
              <a:xfrm>
                <a:off x="246"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2" name="Freeform 465"/>
              <p:cNvSpPr>
                <a:spLocks/>
              </p:cNvSpPr>
              <p:nvPr/>
            </p:nvSpPr>
            <p:spPr bwMode="auto">
              <a:xfrm>
                <a:off x="260" y="1238"/>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3" name="Freeform 466"/>
              <p:cNvSpPr>
                <a:spLocks/>
              </p:cNvSpPr>
              <p:nvPr/>
            </p:nvSpPr>
            <p:spPr bwMode="auto">
              <a:xfrm>
                <a:off x="260" y="1238"/>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4" name="Freeform 467"/>
              <p:cNvSpPr>
                <a:spLocks/>
              </p:cNvSpPr>
              <p:nvPr/>
            </p:nvSpPr>
            <p:spPr bwMode="auto">
              <a:xfrm>
                <a:off x="258" y="1204"/>
                <a:ext cx="6" cy="6"/>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5" name="Freeform 468"/>
              <p:cNvSpPr>
                <a:spLocks/>
              </p:cNvSpPr>
              <p:nvPr/>
            </p:nvSpPr>
            <p:spPr bwMode="auto">
              <a:xfrm>
                <a:off x="258" y="1204"/>
                <a:ext cx="6" cy="6"/>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6" name="Freeform 469"/>
              <p:cNvSpPr>
                <a:spLocks/>
              </p:cNvSpPr>
              <p:nvPr/>
            </p:nvSpPr>
            <p:spPr bwMode="auto">
              <a:xfrm>
                <a:off x="256" y="1204"/>
                <a:ext cx="8" cy="6"/>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7" name="Freeform 470"/>
              <p:cNvSpPr>
                <a:spLocks/>
              </p:cNvSpPr>
              <p:nvPr/>
            </p:nvSpPr>
            <p:spPr bwMode="auto">
              <a:xfrm>
                <a:off x="256" y="1204"/>
                <a:ext cx="8" cy="6"/>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8" name="Freeform 471"/>
              <p:cNvSpPr>
                <a:spLocks noEditPoints="1"/>
              </p:cNvSpPr>
              <p:nvPr/>
            </p:nvSpPr>
            <p:spPr bwMode="auto">
              <a:xfrm>
                <a:off x="3456" y="1370"/>
                <a:ext cx="106" cy="142"/>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59" name="Freeform 472"/>
              <p:cNvSpPr>
                <a:spLocks/>
              </p:cNvSpPr>
              <p:nvPr/>
            </p:nvSpPr>
            <p:spPr bwMode="auto">
              <a:xfrm>
                <a:off x="3498" y="1430"/>
                <a:ext cx="22" cy="22"/>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0" name="Freeform 473"/>
              <p:cNvSpPr>
                <a:spLocks/>
              </p:cNvSpPr>
              <p:nvPr/>
            </p:nvSpPr>
            <p:spPr bwMode="auto">
              <a:xfrm>
                <a:off x="3456" y="1370"/>
                <a:ext cx="106" cy="142"/>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1" name="Freeform 474"/>
              <p:cNvSpPr>
                <a:spLocks noEditPoints="1"/>
              </p:cNvSpPr>
              <p:nvPr/>
            </p:nvSpPr>
            <p:spPr bwMode="auto">
              <a:xfrm>
                <a:off x="1164" y="1366"/>
                <a:ext cx="188" cy="146"/>
              </a:xfrm>
              <a:custGeom>
                <a:avLst/>
                <a:gdLst>
                  <a:gd name="T0" fmla="*/ 116 w 188"/>
                  <a:gd name="T1" fmla="*/ 104 h 146"/>
                  <a:gd name="T2" fmla="*/ 114 w 188"/>
                  <a:gd name="T3" fmla="*/ 130 h 146"/>
                  <a:gd name="T4" fmla="*/ 102 w 188"/>
                  <a:gd name="T5" fmla="*/ 130 h 146"/>
                  <a:gd name="T6" fmla="*/ 6 w 188"/>
                  <a:gd name="T7" fmla="*/ 104 h 146"/>
                  <a:gd name="T8" fmla="*/ 20 w 188"/>
                  <a:gd name="T9" fmla="*/ 122 h 146"/>
                  <a:gd name="T10" fmla="*/ 8 w 188"/>
                  <a:gd name="T11" fmla="*/ 48 h 146"/>
                  <a:gd name="T12" fmla="*/ 8 w 188"/>
                  <a:gd name="T13" fmla="*/ 50 h 146"/>
                  <a:gd name="T14" fmla="*/ 10 w 188"/>
                  <a:gd name="T15" fmla="*/ 66 h 146"/>
                  <a:gd name="T16" fmla="*/ 14 w 188"/>
                  <a:gd name="T17" fmla="*/ 64 h 146"/>
                  <a:gd name="T18" fmla="*/ 6 w 188"/>
                  <a:gd name="T19" fmla="*/ 68 h 146"/>
                  <a:gd name="T20" fmla="*/ 8 w 188"/>
                  <a:gd name="T21" fmla="*/ 48 h 146"/>
                  <a:gd name="T22" fmla="*/ 96 w 188"/>
                  <a:gd name="T23" fmla="*/ 8 h 146"/>
                  <a:gd name="T24" fmla="*/ 144 w 188"/>
                  <a:gd name="T25" fmla="*/ 20 h 146"/>
                  <a:gd name="T26" fmla="*/ 148 w 188"/>
                  <a:gd name="T27" fmla="*/ 34 h 146"/>
                  <a:gd name="T28" fmla="*/ 148 w 188"/>
                  <a:gd name="T29" fmla="*/ 46 h 146"/>
                  <a:gd name="T30" fmla="*/ 150 w 188"/>
                  <a:gd name="T31" fmla="*/ 54 h 146"/>
                  <a:gd name="T32" fmla="*/ 158 w 188"/>
                  <a:gd name="T33" fmla="*/ 48 h 146"/>
                  <a:gd name="T34" fmla="*/ 162 w 188"/>
                  <a:gd name="T35" fmla="*/ 36 h 146"/>
                  <a:gd name="T36" fmla="*/ 178 w 188"/>
                  <a:gd name="T37" fmla="*/ 30 h 146"/>
                  <a:gd name="T38" fmla="*/ 172 w 188"/>
                  <a:gd name="T39" fmla="*/ 84 h 146"/>
                  <a:gd name="T40" fmla="*/ 130 w 188"/>
                  <a:gd name="T41" fmla="*/ 82 h 146"/>
                  <a:gd name="T42" fmla="*/ 138 w 188"/>
                  <a:gd name="T43" fmla="*/ 98 h 146"/>
                  <a:gd name="T44" fmla="*/ 142 w 188"/>
                  <a:gd name="T45" fmla="*/ 96 h 146"/>
                  <a:gd name="T46" fmla="*/ 126 w 188"/>
                  <a:gd name="T47" fmla="*/ 98 h 146"/>
                  <a:gd name="T48" fmla="*/ 108 w 188"/>
                  <a:gd name="T49" fmla="*/ 112 h 146"/>
                  <a:gd name="T50" fmla="*/ 82 w 188"/>
                  <a:gd name="T51" fmla="*/ 142 h 146"/>
                  <a:gd name="T52" fmla="*/ 70 w 188"/>
                  <a:gd name="T53" fmla="*/ 122 h 146"/>
                  <a:gd name="T54" fmla="*/ 70 w 188"/>
                  <a:gd name="T55" fmla="*/ 116 h 146"/>
                  <a:gd name="T56" fmla="*/ 52 w 188"/>
                  <a:gd name="T57" fmla="*/ 110 h 146"/>
                  <a:gd name="T58" fmla="*/ 48 w 188"/>
                  <a:gd name="T59" fmla="*/ 130 h 146"/>
                  <a:gd name="T60" fmla="*/ 26 w 188"/>
                  <a:gd name="T61" fmla="*/ 136 h 146"/>
                  <a:gd name="T62" fmla="*/ 26 w 188"/>
                  <a:gd name="T63" fmla="*/ 114 h 146"/>
                  <a:gd name="T64" fmla="*/ 18 w 188"/>
                  <a:gd name="T65" fmla="*/ 60 h 146"/>
                  <a:gd name="T66" fmla="*/ 58 w 188"/>
                  <a:gd name="T67" fmla="*/ 34 h 146"/>
                  <a:gd name="T68" fmla="*/ 46 w 188"/>
                  <a:gd name="T69" fmla="*/ 74 h 146"/>
                  <a:gd name="T70" fmla="*/ 56 w 188"/>
                  <a:gd name="T71" fmla="*/ 96 h 146"/>
                  <a:gd name="T72" fmla="*/ 92 w 188"/>
                  <a:gd name="T73" fmla="*/ 88 h 146"/>
                  <a:gd name="T74" fmla="*/ 92 w 188"/>
                  <a:gd name="T75" fmla="*/ 42 h 146"/>
                  <a:gd name="T76" fmla="*/ 86 w 188"/>
                  <a:gd name="T77" fmla="*/ 86 h 146"/>
                  <a:gd name="T78" fmla="*/ 52 w 188"/>
                  <a:gd name="T79" fmla="*/ 90 h 146"/>
                  <a:gd name="T80" fmla="*/ 52 w 188"/>
                  <a:gd name="T81" fmla="*/ 76 h 146"/>
                  <a:gd name="T82" fmla="*/ 50 w 188"/>
                  <a:gd name="T83" fmla="*/ 48 h 146"/>
                  <a:gd name="T84" fmla="*/ 90 w 188"/>
                  <a:gd name="T85" fmla="*/ 20 h 146"/>
                  <a:gd name="T86" fmla="*/ 84 w 188"/>
                  <a:gd name="T87" fmla="*/ 12 h 146"/>
                  <a:gd name="T88" fmla="*/ 52 w 188"/>
                  <a:gd name="T89" fmla="*/ 30 h 146"/>
                  <a:gd name="T90" fmla="*/ 12 w 188"/>
                  <a:gd name="T91" fmla="*/ 62 h 146"/>
                  <a:gd name="T92" fmla="*/ 12 w 188"/>
                  <a:gd name="T93" fmla="*/ 48 h 146"/>
                  <a:gd name="T94" fmla="*/ 4 w 188"/>
                  <a:gd name="T95" fmla="*/ 68 h 146"/>
                  <a:gd name="T96" fmla="*/ 12 w 188"/>
                  <a:gd name="T97" fmla="*/ 94 h 146"/>
                  <a:gd name="T98" fmla="*/ 8 w 188"/>
                  <a:gd name="T99" fmla="*/ 120 h 146"/>
                  <a:gd name="T100" fmla="*/ 22 w 188"/>
                  <a:gd name="T101" fmla="*/ 138 h 146"/>
                  <a:gd name="T102" fmla="*/ 48 w 188"/>
                  <a:gd name="T103" fmla="*/ 142 h 146"/>
                  <a:gd name="T104" fmla="*/ 68 w 188"/>
                  <a:gd name="T105" fmla="*/ 118 h 146"/>
                  <a:gd name="T106" fmla="*/ 80 w 188"/>
                  <a:gd name="T107" fmla="*/ 146 h 146"/>
                  <a:gd name="T108" fmla="*/ 100 w 188"/>
                  <a:gd name="T109" fmla="*/ 132 h 146"/>
                  <a:gd name="T110" fmla="*/ 122 w 188"/>
                  <a:gd name="T111" fmla="*/ 114 h 146"/>
                  <a:gd name="T112" fmla="*/ 124 w 188"/>
                  <a:gd name="T113" fmla="*/ 100 h 146"/>
                  <a:gd name="T114" fmla="*/ 146 w 188"/>
                  <a:gd name="T115" fmla="*/ 96 h 146"/>
                  <a:gd name="T116" fmla="*/ 166 w 188"/>
                  <a:gd name="T117" fmla="*/ 90 h 146"/>
                  <a:gd name="T118" fmla="*/ 184 w 188"/>
                  <a:gd name="T119" fmla="*/ 36 h 146"/>
                  <a:gd name="T120" fmla="*/ 170 w 188"/>
                  <a:gd name="T121" fmla="*/ 28 h 146"/>
                  <a:gd name="T122" fmla="*/ 152 w 188"/>
                  <a:gd name="T12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6" y="124"/>
                    </a:moveTo>
                    <a:lnTo>
                      <a:pt x="106" y="124"/>
                    </a:lnTo>
                    <a:lnTo>
                      <a:pt x="116" y="104"/>
                    </a:lnTo>
                    <a:lnTo>
                      <a:pt x="116" y="104"/>
                    </a:lnTo>
                    <a:lnTo>
                      <a:pt x="116" y="104"/>
                    </a:ln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14" y="130"/>
                    </a:lnTo>
                    <a:lnTo>
                      <a:pt x="114" y="130"/>
                    </a:lnTo>
                    <a:lnTo>
                      <a:pt x="112" y="130"/>
                    </a:lnTo>
                    <a:lnTo>
                      <a:pt x="112" y="130"/>
                    </a:lnTo>
                    <a:lnTo>
                      <a:pt x="110" y="130"/>
                    </a:lnTo>
                    <a:lnTo>
                      <a:pt x="110" y="130"/>
                    </a:lnTo>
                    <a:lnTo>
                      <a:pt x="102" y="130"/>
                    </a:lnTo>
                    <a:lnTo>
                      <a:pt x="102" y="130"/>
                    </a:lnTo>
                    <a:lnTo>
                      <a:pt x="106" y="124"/>
                    </a:lnTo>
                    <a:close/>
                    <a:moveTo>
                      <a:pt x="12" y="120"/>
                    </a:moveTo>
                    <a:lnTo>
                      <a:pt x="12" y="120"/>
                    </a:lnTo>
                    <a:lnTo>
                      <a:pt x="8" y="114"/>
                    </a:lnTo>
                    <a:lnTo>
                      <a:pt x="6" y="108"/>
                    </a:lnTo>
                    <a:lnTo>
                      <a:pt x="6" y="108"/>
                    </a:lnTo>
                    <a:lnTo>
                      <a:pt x="6" y="104"/>
                    </a:lnTo>
                    <a:lnTo>
                      <a:pt x="6" y="104"/>
                    </a:lnTo>
                    <a:lnTo>
                      <a:pt x="14" y="100"/>
                    </a:lnTo>
                    <a:lnTo>
                      <a:pt x="14" y="100"/>
                    </a:lnTo>
                    <a:lnTo>
                      <a:pt x="22" y="116"/>
                    </a:lnTo>
                    <a:lnTo>
                      <a:pt x="22" y="116"/>
                    </a:lnTo>
                    <a:lnTo>
                      <a:pt x="24" y="120"/>
                    </a:lnTo>
                    <a:lnTo>
                      <a:pt x="22" y="122"/>
                    </a:lnTo>
                    <a:lnTo>
                      <a:pt x="22" y="122"/>
                    </a:lnTo>
                    <a:lnTo>
                      <a:pt x="20" y="122"/>
                    </a:lnTo>
                    <a:lnTo>
                      <a:pt x="20" y="122"/>
                    </a:lnTo>
                    <a:lnTo>
                      <a:pt x="18" y="122"/>
                    </a:lnTo>
                    <a:lnTo>
                      <a:pt x="18" y="122"/>
                    </a:lnTo>
                    <a:lnTo>
                      <a:pt x="12" y="120"/>
                    </a:lnTo>
                    <a:close/>
                    <a:moveTo>
                      <a:pt x="8" y="48"/>
                    </a:moveTo>
                    <a:lnTo>
                      <a:pt x="8" y="48"/>
                    </a:lnTo>
                    <a:lnTo>
                      <a:pt x="8" y="48"/>
                    </a:lnTo>
                    <a:lnTo>
                      <a:pt x="8" y="48"/>
                    </a:lnTo>
                    <a:lnTo>
                      <a:pt x="8" y="48"/>
                    </a:lnTo>
                    <a:lnTo>
                      <a:pt x="8" y="48"/>
                    </a:lnTo>
                    <a:lnTo>
                      <a:pt x="8" y="48"/>
                    </a:lnTo>
                    <a:lnTo>
                      <a:pt x="8" y="48"/>
                    </a:lnTo>
                    <a:lnTo>
                      <a:pt x="8" y="48"/>
                    </a:lnTo>
                    <a:lnTo>
                      <a:pt x="8" y="48"/>
                    </a:lnTo>
                    <a:lnTo>
                      <a:pt x="8" y="50"/>
                    </a:lnTo>
                    <a:lnTo>
                      <a:pt x="8" y="50"/>
                    </a:lnTo>
                    <a:lnTo>
                      <a:pt x="6" y="60"/>
                    </a:lnTo>
                    <a:lnTo>
                      <a:pt x="6" y="60"/>
                    </a:lnTo>
                    <a:lnTo>
                      <a:pt x="6" y="64"/>
                    </a:lnTo>
                    <a:lnTo>
                      <a:pt x="6" y="64"/>
                    </a:lnTo>
                    <a:lnTo>
                      <a:pt x="6" y="64"/>
                    </a:lnTo>
                    <a:lnTo>
                      <a:pt x="6" y="64"/>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8" y="68"/>
                    </a:lnTo>
                    <a:lnTo>
                      <a:pt x="8" y="68"/>
                    </a:lnTo>
                    <a:lnTo>
                      <a:pt x="6" y="68"/>
                    </a:lnTo>
                    <a:lnTo>
                      <a:pt x="6" y="68"/>
                    </a:lnTo>
                    <a:lnTo>
                      <a:pt x="6" y="68"/>
                    </a:lnTo>
                    <a:lnTo>
                      <a:pt x="6" y="68"/>
                    </a:lnTo>
                    <a:lnTo>
                      <a:pt x="2" y="62"/>
                    </a:lnTo>
                    <a:lnTo>
                      <a:pt x="2" y="56"/>
                    </a:lnTo>
                    <a:lnTo>
                      <a:pt x="2" y="54"/>
                    </a:lnTo>
                    <a:lnTo>
                      <a:pt x="2" y="54"/>
                    </a:lnTo>
                    <a:lnTo>
                      <a:pt x="8" y="48"/>
                    </a:lnTo>
                    <a:lnTo>
                      <a:pt x="8" y="48"/>
                    </a:lnTo>
                    <a:lnTo>
                      <a:pt x="8" y="48"/>
                    </a:lnTo>
                    <a:lnTo>
                      <a:pt x="8" y="48"/>
                    </a:lnTo>
                    <a:lnTo>
                      <a:pt x="8" y="48"/>
                    </a:lnTo>
                    <a:lnTo>
                      <a:pt x="8" y="48"/>
                    </a:lnTo>
                    <a:lnTo>
                      <a:pt x="8" y="48"/>
                    </a:lnTo>
                    <a:close/>
                    <a:moveTo>
                      <a:pt x="82" y="20"/>
                    </a:moveTo>
                    <a:lnTo>
                      <a:pt x="82" y="20"/>
                    </a:lnTo>
                    <a:lnTo>
                      <a:pt x="84" y="16"/>
                    </a:lnTo>
                    <a:lnTo>
                      <a:pt x="88" y="12"/>
                    </a:lnTo>
                    <a:lnTo>
                      <a:pt x="96" y="8"/>
                    </a:lnTo>
                    <a:lnTo>
                      <a:pt x="96" y="8"/>
                    </a:lnTo>
                    <a:lnTo>
                      <a:pt x="114" y="2"/>
                    </a:lnTo>
                    <a:lnTo>
                      <a:pt x="114" y="2"/>
                    </a:lnTo>
                    <a:lnTo>
                      <a:pt x="122" y="4"/>
                    </a:lnTo>
                    <a:lnTo>
                      <a:pt x="128" y="6"/>
                    </a:lnTo>
                    <a:lnTo>
                      <a:pt x="128" y="6"/>
                    </a:lnTo>
                    <a:lnTo>
                      <a:pt x="144" y="20"/>
                    </a:lnTo>
                    <a:lnTo>
                      <a:pt x="144" y="20"/>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4" y="48"/>
                    </a:lnTo>
                    <a:lnTo>
                      <a:pt x="154" y="48"/>
                    </a:lnTo>
                    <a:lnTo>
                      <a:pt x="158" y="46"/>
                    </a:lnTo>
                    <a:lnTo>
                      <a:pt x="158" y="46"/>
                    </a:lnTo>
                    <a:lnTo>
                      <a:pt x="158" y="48"/>
                    </a:lnTo>
                    <a:lnTo>
                      <a:pt x="158" y="48"/>
                    </a:lnTo>
                    <a:lnTo>
                      <a:pt x="158" y="60"/>
                    </a:lnTo>
                    <a:lnTo>
                      <a:pt x="158" y="60"/>
                    </a:lnTo>
                    <a:lnTo>
                      <a:pt x="160" y="50"/>
                    </a:lnTo>
                    <a:lnTo>
                      <a:pt x="160" y="40"/>
                    </a:lnTo>
                    <a:lnTo>
                      <a:pt x="160" y="40"/>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4"/>
                    </a:lnTo>
                    <a:lnTo>
                      <a:pt x="184" y="62"/>
                    </a:lnTo>
                    <a:lnTo>
                      <a:pt x="182" y="68"/>
                    </a:lnTo>
                    <a:lnTo>
                      <a:pt x="182" y="68"/>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6" y="98"/>
                    </a:lnTo>
                    <a:lnTo>
                      <a:pt x="126" y="98"/>
                    </a:lnTo>
                    <a:lnTo>
                      <a:pt x="116" y="92"/>
                    </a:lnTo>
                    <a:lnTo>
                      <a:pt x="106" y="86"/>
                    </a:lnTo>
                    <a:lnTo>
                      <a:pt x="106" y="86"/>
                    </a:lnTo>
                    <a:lnTo>
                      <a:pt x="112" y="92"/>
                    </a:lnTo>
                    <a:lnTo>
                      <a:pt x="112" y="92"/>
                    </a:lnTo>
                    <a:lnTo>
                      <a:pt x="114" y="96"/>
                    </a:lnTo>
                    <a:lnTo>
                      <a:pt x="114" y="96"/>
                    </a:lnTo>
                    <a:lnTo>
                      <a:pt x="108" y="112"/>
                    </a:lnTo>
                    <a:lnTo>
                      <a:pt x="104" y="120"/>
                    </a:lnTo>
                    <a:lnTo>
                      <a:pt x="98" y="128"/>
                    </a:lnTo>
                    <a:lnTo>
                      <a:pt x="98" y="128"/>
                    </a:lnTo>
                    <a:lnTo>
                      <a:pt x="90" y="136"/>
                    </a:lnTo>
                    <a:lnTo>
                      <a:pt x="90" y="136"/>
                    </a:lnTo>
                    <a:lnTo>
                      <a:pt x="86" y="138"/>
                    </a:lnTo>
                    <a:lnTo>
                      <a:pt x="86" y="138"/>
                    </a:lnTo>
                    <a:lnTo>
                      <a:pt x="82" y="142"/>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2"/>
                    </a:lnTo>
                    <a:lnTo>
                      <a:pt x="48" y="86"/>
                    </a:lnTo>
                    <a:lnTo>
                      <a:pt x="48" y="86"/>
                    </a:lnTo>
                    <a:lnTo>
                      <a:pt x="48" y="90"/>
                    </a:lnTo>
                    <a:lnTo>
                      <a:pt x="48" y="90"/>
                    </a:lnTo>
                    <a:lnTo>
                      <a:pt x="56" y="96"/>
                    </a:lnTo>
                    <a:lnTo>
                      <a:pt x="58" y="98"/>
                    </a:lnTo>
                    <a:lnTo>
                      <a:pt x="62" y="98"/>
                    </a:lnTo>
                    <a:lnTo>
                      <a:pt x="62" y="98"/>
                    </a:lnTo>
                    <a:lnTo>
                      <a:pt x="68" y="98"/>
                    </a:lnTo>
                    <a:lnTo>
                      <a:pt x="72" y="96"/>
                    </a:lnTo>
                    <a:lnTo>
                      <a:pt x="72" y="96"/>
                    </a:lnTo>
                    <a:lnTo>
                      <a:pt x="82" y="90"/>
                    </a:lnTo>
                    <a:lnTo>
                      <a:pt x="92" y="88"/>
                    </a:lnTo>
                    <a:lnTo>
                      <a:pt x="92" y="88"/>
                    </a:lnTo>
                    <a:lnTo>
                      <a:pt x="94" y="84"/>
                    </a:lnTo>
                    <a:lnTo>
                      <a:pt x="94" y="84"/>
                    </a:lnTo>
                    <a:lnTo>
                      <a:pt x="96" y="78"/>
                    </a:lnTo>
                    <a:lnTo>
                      <a:pt x="96" y="72"/>
                    </a:lnTo>
                    <a:lnTo>
                      <a:pt x="96" y="58"/>
                    </a:lnTo>
                    <a:lnTo>
                      <a:pt x="96"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8"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6" y="22"/>
                    </a:lnTo>
                    <a:lnTo>
                      <a:pt x="78" y="22"/>
                    </a:lnTo>
                    <a:lnTo>
                      <a:pt x="86" y="20"/>
                    </a:lnTo>
                    <a:lnTo>
                      <a:pt x="86" y="20"/>
                    </a:lnTo>
                    <a:lnTo>
                      <a:pt x="90" y="20"/>
                    </a:lnTo>
                    <a:lnTo>
                      <a:pt x="90" y="20"/>
                    </a:lnTo>
                    <a:lnTo>
                      <a:pt x="82" y="20"/>
                    </a:lnTo>
                    <a:close/>
                    <a:moveTo>
                      <a:pt x="112" y="0"/>
                    </a:moveTo>
                    <a:lnTo>
                      <a:pt x="112" y="0"/>
                    </a:lnTo>
                    <a:lnTo>
                      <a:pt x="104" y="0"/>
                    </a:lnTo>
                    <a:lnTo>
                      <a:pt x="98" y="2"/>
                    </a:lnTo>
                    <a:lnTo>
                      <a:pt x="90" y="6"/>
                    </a:lnTo>
                    <a:lnTo>
                      <a:pt x="84" y="12"/>
                    </a:lnTo>
                    <a:lnTo>
                      <a:pt x="84" y="12"/>
                    </a:lnTo>
                    <a:lnTo>
                      <a:pt x="78" y="18"/>
                    </a:lnTo>
                    <a:lnTo>
                      <a:pt x="76" y="20"/>
                    </a:lnTo>
                    <a:lnTo>
                      <a:pt x="72" y="20"/>
                    </a:lnTo>
                    <a:lnTo>
                      <a:pt x="72" y="20"/>
                    </a:lnTo>
                    <a:lnTo>
                      <a:pt x="70" y="22"/>
                    </a:lnTo>
                    <a:lnTo>
                      <a:pt x="70" y="22"/>
                    </a:lnTo>
                    <a:lnTo>
                      <a:pt x="62" y="28"/>
                    </a:lnTo>
                    <a:lnTo>
                      <a:pt x="52" y="30"/>
                    </a:lnTo>
                    <a:lnTo>
                      <a:pt x="52" y="30"/>
                    </a:lnTo>
                    <a:lnTo>
                      <a:pt x="42" y="34"/>
                    </a:lnTo>
                    <a:lnTo>
                      <a:pt x="32" y="40"/>
                    </a:lnTo>
                    <a:lnTo>
                      <a:pt x="24" y="46"/>
                    </a:lnTo>
                    <a:lnTo>
                      <a:pt x="18" y="54"/>
                    </a:lnTo>
                    <a:lnTo>
                      <a:pt x="18" y="54"/>
                    </a:lnTo>
                    <a:lnTo>
                      <a:pt x="12" y="62"/>
                    </a:lnTo>
                    <a:lnTo>
                      <a:pt x="12" y="62"/>
                    </a:lnTo>
                    <a:lnTo>
                      <a:pt x="8" y="62"/>
                    </a:lnTo>
                    <a:lnTo>
                      <a:pt x="8" y="62"/>
                    </a:lnTo>
                    <a:lnTo>
                      <a:pt x="10" y="54"/>
                    </a:lnTo>
                    <a:lnTo>
                      <a:pt x="10" y="54"/>
                    </a:lnTo>
                    <a:lnTo>
                      <a:pt x="14" y="54"/>
                    </a:lnTo>
                    <a:lnTo>
                      <a:pt x="14" y="54"/>
                    </a:lnTo>
                    <a:lnTo>
                      <a:pt x="12" y="48"/>
                    </a:lnTo>
                    <a:lnTo>
                      <a:pt x="12" y="48"/>
                    </a:lnTo>
                    <a:lnTo>
                      <a:pt x="12" y="44"/>
                    </a:lnTo>
                    <a:lnTo>
                      <a:pt x="12" y="44"/>
                    </a:lnTo>
                    <a:lnTo>
                      <a:pt x="4" y="48"/>
                    </a:lnTo>
                    <a:lnTo>
                      <a:pt x="0" y="52"/>
                    </a:lnTo>
                    <a:lnTo>
                      <a:pt x="0" y="56"/>
                    </a:lnTo>
                    <a:lnTo>
                      <a:pt x="0" y="56"/>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6"/>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2"/>
                    </a:lnTo>
                    <a:lnTo>
                      <a:pt x="42" y="142"/>
                    </a:lnTo>
                    <a:lnTo>
                      <a:pt x="44" y="142"/>
                    </a:lnTo>
                    <a:lnTo>
                      <a:pt x="44" y="142"/>
                    </a:lnTo>
                    <a:lnTo>
                      <a:pt x="48" y="142"/>
                    </a:lnTo>
                    <a:lnTo>
                      <a:pt x="48" y="142"/>
                    </a:lnTo>
                    <a:lnTo>
                      <a:pt x="50" y="136"/>
                    </a:lnTo>
                    <a:lnTo>
                      <a:pt x="50" y="136"/>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6"/>
                    </a:lnTo>
                    <a:lnTo>
                      <a:pt x="80" y="146"/>
                    </a:lnTo>
                    <a:lnTo>
                      <a:pt x="84" y="144"/>
                    </a:lnTo>
                    <a:lnTo>
                      <a:pt x="88" y="142"/>
                    </a:lnTo>
                    <a:lnTo>
                      <a:pt x="88" y="142"/>
                    </a:lnTo>
                    <a:lnTo>
                      <a:pt x="96" y="132"/>
                    </a:lnTo>
                    <a:lnTo>
                      <a:pt x="96" y="132"/>
                    </a:lnTo>
                    <a:lnTo>
                      <a:pt x="100" y="132"/>
                    </a:lnTo>
                    <a:lnTo>
                      <a:pt x="100" y="132"/>
                    </a:lnTo>
                    <a:lnTo>
                      <a:pt x="116" y="132"/>
                    </a:lnTo>
                    <a:lnTo>
                      <a:pt x="116" y="132"/>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100"/>
                    </a:lnTo>
                    <a:lnTo>
                      <a:pt x="146" y="96"/>
                    </a:lnTo>
                    <a:lnTo>
                      <a:pt x="146"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8" y="58"/>
                    </a:lnTo>
                    <a:lnTo>
                      <a:pt x="186" y="46"/>
                    </a:lnTo>
                    <a:lnTo>
                      <a:pt x="186" y="46"/>
                    </a:lnTo>
                    <a:lnTo>
                      <a:pt x="184" y="36"/>
                    </a:lnTo>
                    <a:lnTo>
                      <a:pt x="182" y="28"/>
                    </a:lnTo>
                    <a:lnTo>
                      <a:pt x="182" y="28"/>
                    </a:lnTo>
                    <a:lnTo>
                      <a:pt x="180" y="24"/>
                    </a:lnTo>
                    <a:lnTo>
                      <a:pt x="176" y="24"/>
                    </a:lnTo>
                    <a:lnTo>
                      <a:pt x="176" y="24"/>
                    </a:lnTo>
                    <a:lnTo>
                      <a:pt x="172" y="24"/>
                    </a:lnTo>
                    <a:lnTo>
                      <a:pt x="170" y="28"/>
                    </a:lnTo>
                    <a:lnTo>
                      <a:pt x="170" y="28"/>
                    </a:lnTo>
                    <a:lnTo>
                      <a:pt x="164" y="30"/>
                    </a:lnTo>
                    <a:lnTo>
                      <a:pt x="164" y="30"/>
                    </a:lnTo>
                    <a:lnTo>
                      <a:pt x="162" y="32"/>
                    </a:lnTo>
                    <a:lnTo>
                      <a:pt x="162" y="32"/>
                    </a:lnTo>
                    <a:lnTo>
                      <a:pt x="160" y="30"/>
                    </a:lnTo>
                    <a:lnTo>
                      <a:pt x="160" y="30"/>
                    </a:lnTo>
                    <a:lnTo>
                      <a:pt x="156" y="24"/>
                    </a:lnTo>
                    <a:lnTo>
                      <a:pt x="152" y="20"/>
                    </a:lnTo>
                    <a:lnTo>
                      <a:pt x="152" y="20"/>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2" name="Freeform 475"/>
              <p:cNvSpPr>
                <a:spLocks/>
              </p:cNvSpPr>
              <p:nvPr/>
            </p:nvSpPr>
            <p:spPr bwMode="auto">
              <a:xfrm>
                <a:off x="1266" y="1470"/>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8 w 18"/>
                  <a:gd name="T17" fmla="*/ 8 h 26"/>
                  <a:gd name="T18" fmla="*/ 18 w 18"/>
                  <a:gd name="T19" fmla="*/ 8 h 26"/>
                  <a:gd name="T20" fmla="*/ 18 w 18"/>
                  <a:gd name="T21" fmla="*/ 22 h 26"/>
                  <a:gd name="T22" fmla="*/ 18 w 18"/>
                  <a:gd name="T23" fmla="*/ 22 h 26"/>
                  <a:gd name="T24" fmla="*/ 16 w 18"/>
                  <a:gd name="T25" fmla="*/ 26 h 26"/>
                  <a:gd name="T26" fmla="*/ 16 w 18"/>
                  <a:gd name="T27" fmla="*/ 26 h 26"/>
                  <a:gd name="T28" fmla="*/ 12 w 18"/>
                  <a:gd name="T29" fmla="*/ 26 h 26"/>
                  <a:gd name="T30" fmla="*/ 12 w 18"/>
                  <a:gd name="T31" fmla="*/ 26 h 26"/>
                  <a:gd name="T32" fmla="*/ 12 w 18"/>
                  <a:gd name="T33" fmla="*/ 26 h 26"/>
                  <a:gd name="T34" fmla="*/ 12 w 18"/>
                  <a:gd name="T35" fmla="*/ 26 h 26"/>
                  <a:gd name="T36" fmla="*/ 10 w 18"/>
                  <a:gd name="T37" fmla="*/ 26 h 26"/>
                  <a:gd name="T38" fmla="*/ 10 w 18"/>
                  <a:gd name="T39" fmla="*/ 26 h 26"/>
                  <a:gd name="T40" fmla="*/ 8 w 18"/>
                  <a:gd name="T41" fmla="*/ 26 h 26"/>
                  <a:gd name="T42" fmla="*/ 8 w 18"/>
                  <a:gd name="T43" fmla="*/ 26 h 26"/>
                  <a:gd name="T44" fmla="*/ 0 w 18"/>
                  <a:gd name="T45" fmla="*/ 26 h 26"/>
                  <a:gd name="T46" fmla="*/ 0 w 18"/>
                  <a:gd name="T47" fmla="*/ 26 h 26"/>
                  <a:gd name="T48" fmla="*/ 4 w 18"/>
                  <a:gd name="T49"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4" y="20"/>
                    </a:moveTo>
                    <a:lnTo>
                      <a:pt x="4" y="20"/>
                    </a:lnTo>
                    <a:lnTo>
                      <a:pt x="14" y="0"/>
                    </a:lnTo>
                    <a:lnTo>
                      <a:pt x="14" y="0"/>
                    </a:lnTo>
                    <a:lnTo>
                      <a:pt x="14" y="0"/>
                    </a:lnTo>
                    <a:lnTo>
                      <a:pt x="14" y="0"/>
                    </a:lnTo>
                    <a:lnTo>
                      <a:pt x="14" y="0"/>
                    </a:lnTo>
                    <a:lnTo>
                      <a:pt x="14" y="0"/>
                    </a:lnTo>
                    <a:lnTo>
                      <a:pt x="18" y="8"/>
                    </a:lnTo>
                    <a:lnTo>
                      <a:pt x="18" y="8"/>
                    </a:lnTo>
                    <a:lnTo>
                      <a:pt x="18" y="22"/>
                    </a:lnTo>
                    <a:lnTo>
                      <a:pt x="18" y="22"/>
                    </a:lnTo>
                    <a:lnTo>
                      <a:pt x="16" y="26"/>
                    </a:lnTo>
                    <a:lnTo>
                      <a:pt x="16" y="26"/>
                    </a:lnTo>
                    <a:lnTo>
                      <a:pt x="12" y="26"/>
                    </a:lnTo>
                    <a:lnTo>
                      <a:pt x="12" y="26"/>
                    </a:lnTo>
                    <a:lnTo>
                      <a:pt x="12" y="26"/>
                    </a:lnTo>
                    <a:lnTo>
                      <a:pt x="12" y="26"/>
                    </a:lnTo>
                    <a:lnTo>
                      <a:pt x="10" y="26"/>
                    </a:lnTo>
                    <a:lnTo>
                      <a:pt x="10"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3" name="Freeform 476"/>
              <p:cNvSpPr>
                <a:spLocks/>
              </p:cNvSpPr>
              <p:nvPr/>
            </p:nvSpPr>
            <p:spPr bwMode="auto">
              <a:xfrm>
                <a:off x="1170" y="1466"/>
                <a:ext cx="18" cy="22"/>
              </a:xfrm>
              <a:custGeom>
                <a:avLst/>
                <a:gdLst>
                  <a:gd name="T0" fmla="*/ 6 w 18"/>
                  <a:gd name="T1" fmla="*/ 20 h 22"/>
                  <a:gd name="T2" fmla="*/ 6 w 18"/>
                  <a:gd name="T3" fmla="*/ 20 h 22"/>
                  <a:gd name="T4" fmla="*/ 2 w 18"/>
                  <a:gd name="T5" fmla="*/ 14 h 22"/>
                  <a:gd name="T6" fmla="*/ 0 w 18"/>
                  <a:gd name="T7" fmla="*/ 8 h 22"/>
                  <a:gd name="T8" fmla="*/ 0 w 18"/>
                  <a:gd name="T9" fmla="*/ 8 h 22"/>
                  <a:gd name="T10" fmla="*/ 0 w 18"/>
                  <a:gd name="T11" fmla="*/ 4 h 22"/>
                  <a:gd name="T12" fmla="*/ 0 w 18"/>
                  <a:gd name="T13" fmla="*/ 4 h 22"/>
                  <a:gd name="T14" fmla="*/ 8 w 18"/>
                  <a:gd name="T15" fmla="*/ 0 h 22"/>
                  <a:gd name="T16" fmla="*/ 8 w 18"/>
                  <a:gd name="T17" fmla="*/ 0 h 22"/>
                  <a:gd name="T18" fmla="*/ 16 w 18"/>
                  <a:gd name="T19" fmla="*/ 16 h 22"/>
                  <a:gd name="T20" fmla="*/ 16 w 18"/>
                  <a:gd name="T21" fmla="*/ 16 h 22"/>
                  <a:gd name="T22" fmla="*/ 18 w 18"/>
                  <a:gd name="T23" fmla="*/ 20 h 22"/>
                  <a:gd name="T24" fmla="*/ 16 w 18"/>
                  <a:gd name="T25" fmla="*/ 22 h 22"/>
                  <a:gd name="T26" fmla="*/ 16 w 18"/>
                  <a:gd name="T27" fmla="*/ 22 h 22"/>
                  <a:gd name="T28" fmla="*/ 14 w 18"/>
                  <a:gd name="T29" fmla="*/ 22 h 22"/>
                  <a:gd name="T30" fmla="*/ 14 w 18"/>
                  <a:gd name="T31" fmla="*/ 22 h 22"/>
                  <a:gd name="T32" fmla="*/ 12 w 18"/>
                  <a:gd name="T33" fmla="*/ 22 h 22"/>
                  <a:gd name="T34" fmla="*/ 12 w 18"/>
                  <a:gd name="T35" fmla="*/ 22 h 22"/>
                  <a:gd name="T36" fmla="*/ 6 w 18"/>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6" y="20"/>
                    </a:moveTo>
                    <a:lnTo>
                      <a:pt x="6" y="20"/>
                    </a:lnTo>
                    <a:lnTo>
                      <a:pt x="2" y="14"/>
                    </a:lnTo>
                    <a:lnTo>
                      <a:pt x="0" y="8"/>
                    </a:lnTo>
                    <a:lnTo>
                      <a:pt x="0" y="8"/>
                    </a:lnTo>
                    <a:lnTo>
                      <a:pt x="0" y="4"/>
                    </a:lnTo>
                    <a:lnTo>
                      <a:pt x="0" y="4"/>
                    </a:lnTo>
                    <a:lnTo>
                      <a:pt x="8" y="0"/>
                    </a:lnTo>
                    <a:lnTo>
                      <a:pt x="8" y="0"/>
                    </a:lnTo>
                    <a:lnTo>
                      <a:pt x="16" y="16"/>
                    </a:lnTo>
                    <a:lnTo>
                      <a:pt x="16" y="16"/>
                    </a:lnTo>
                    <a:lnTo>
                      <a:pt x="18" y="20"/>
                    </a:lnTo>
                    <a:lnTo>
                      <a:pt x="16" y="22"/>
                    </a:lnTo>
                    <a:lnTo>
                      <a:pt x="16" y="22"/>
                    </a:lnTo>
                    <a:lnTo>
                      <a:pt x="14" y="22"/>
                    </a:lnTo>
                    <a:lnTo>
                      <a:pt x="14" y="22"/>
                    </a:lnTo>
                    <a:lnTo>
                      <a:pt x="12" y="22"/>
                    </a:lnTo>
                    <a:lnTo>
                      <a:pt x="12" y="22"/>
                    </a:lnTo>
                    <a:lnTo>
                      <a:pt x="6"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4" name="Freeform 477"/>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2 h 20"/>
                  <a:gd name="T22" fmla="*/ 6 w 12"/>
                  <a:gd name="T23" fmla="*/ 2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8 h 20"/>
                  <a:gd name="T38" fmla="*/ 8 w 12"/>
                  <a:gd name="T39" fmla="*/ 18 h 20"/>
                  <a:gd name="T40" fmla="*/ 10 w 12"/>
                  <a:gd name="T41" fmla="*/ 16 h 20"/>
                  <a:gd name="T42" fmla="*/ 10 w 12"/>
                  <a:gd name="T43" fmla="*/ 16 h 20"/>
                  <a:gd name="T44" fmla="*/ 12 w 12"/>
                  <a:gd name="T45" fmla="*/ 16 h 20"/>
                  <a:gd name="T46" fmla="*/ 12 w 12"/>
                  <a:gd name="T47" fmla="*/ 16 h 20"/>
                  <a:gd name="T48" fmla="*/ 12 w 12"/>
                  <a:gd name="T49" fmla="*/ 16 h 20"/>
                  <a:gd name="T50" fmla="*/ 12 w 12"/>
                  <a:gd name="T51" fmla="*/ 16 h 20"/>
                  <a:gd name="T52" fmla="*/ 12 w 12"/>
                  <a:gd name="T53" fmla="*/ 16 h 20"/>
                  <a:gd name="T54" fmla="*/ 12 w 12"/>
                  <a:gd name="T55" fmla="*/ 16 h 20"/>
                  <a:gd name="T56" fmla="*/ 10 w 12"/>
                  <a:gd name="T57" fmla="*/ 20 h 20"/>
                  <a:gd name="T58" fmla="*/ 10 w 12"/>
                  <a:gd name="T59" fmla="*/ 20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4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4" y="12"/>
                    </a:lnTo>
                    <a:lnTo>
                      <a:pt x="4" y="12"/>
                    </a:lnTo>
                    <a:lnTo>
                      <a:pt x="4" y="16"/>
                    </a:lnTo>
                    <a:lnTo>
                      <a:pt x="4" y="16"/>
                    </a:lnTo>
                    <a:lnTo>
                      <a:pt x="4" y="16"/>
                    </a:lnTo>
                    <a:lnTo>
                      <a:pt x="4" y="16"/>
                    </a:lnTo>
                    <a:lnTo>
                      <a:pt x="8" y="18"/>
                    </a:lnTo>
                    <a:lnTo>
                      <a:pt x="8" y="18"/>
                    </a:lnTo>
                    <a:lnTo>
                      <a:pt x="10" y="16"/>
                    </a:lnTo>
                    <a:lnTo>
                      <a:pt x="10" y="16"/>
                    </a:lnTo>
                    <a:lnTo>
                      <a:pt x="12" y="16"/>
                    </a:lnTo>
                    <a:lnTo>
                      <a:pt x="12" y="16"/>
                    </a:lnTo>
                    <a:lnTo>
                      <a:pt x="12" y="16"/>
                    </a:lnTo>
                    <a:lnTo>
                      <a:pt x="12" y="16"/>
                    </a:lnTo>
                    <a:lnTo>
                      <a:pt x="12" y="16"/>
                    </a:lnTo>
                    <a:lnTo>
                      <a:pt x="12" y="16"/>
                    </a:lnTo>
                    <a:lnTo>
                      <a:pt x="10" y="20"/>
                    </a:lnTo>
                    <a:lnTo>
                      <a:pt x="10" y="20"/>
                    </a:lnTo>
                    <a:lnTo>
                      <a:pt x="6" y="20"/>
                    </a:lnTo>
                    <a:lnTo>
                      <a:pt x="6" y="20"/>
                    </a:lnTo>
                    <a:lnTo>
                      <a:pt x="4" y="20"/>
                    </a:lnTo>
                    <a:lnTo>
                      <a:pt x="4" y="20"/>
                    </a:lnTo>
                    <a:lnTo>
                      <a:pt x="4" y="20"/>
                    </a:lnTo>
                    <a:lnTo>
                      <a:pt x="4" y="20"/>
                    </a:lnTo>
                    <a:lnTo>
                      <a:pt x="0" y="14"/>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5" name="Freeform 478"/>
              <p:cNvSpPr>
                <a:spLocks/>
              </p:cNvSpPr>
              <p:nvPr/>
            </p:nvSpPr>
            <p:spPr bwMode="auto">
              <a:xfrm>
                <a:off x="1178" y="1368"/>
                <a:ext cx="170" cy="140"/>
              </a:xfrm>
              <a:custGeom>
                <a:avLst/>
                <a:gdLst>
                  <a:gd name="T0" fmla="*/ 74 w 170"/>
                  <a:gd name="T1" fmla="*/ 10 h 140"/>
                  <a:gd name="T2" fmla="*/ 100 w 170"/>
                  <a:gd name="T3" fmla="*/ 0 h 140"/>
                  <a:gd name="T4" fmla="*/ 130 w 170"/>
                  <a:gd name="T5" fmla="*/ 18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6 w 170"/>
                  <a:gd name="T25" fmla="*/ 36 h 140"/>
                  <a:gd name="T26" fmla="*/ 158 w 170"/>
                  <a:gd name="T27" fmla="*/ 26 h 140"/>
                  <a:gd name="T28" fmla="*/ 164 w 170"/>
                  <a:gd name="T29" fmla="*/ 28 h 140"/>
                  <a:gd name="T30" fmla="*/ 170 w 170"/>
                  <a:gd name="T31" fmla="*/ 52 h 140"/>
                  <a:gd name="T32" fmla="*/ 164 w 170"/>
                  <a:gd name="T33" fmla="*/ 76 h 140"/>
                  <a:gd name="T34" fmla="*/ 144 w 170"/>
                  <a:gd name="T35" fmla="*/ 86 h 140"/>
                  <a:gd name="T36" fmla="*/ 116 w 170"/>
                  <a:gd name="T37" fmla="*/ 80 h 140"/>
                  <a:gd name="T38" fmla="*/ 116 w 170"/>
                  <a:gd name="T39" fmla="*/ 96 h 140"/>
                  <a:gd name="T40" fmla="*/ 120 w 170"/>
                  <a:gd name="T41" fmla="*/ 98 h 140"/>
                  <a:gd name="T42" fmla="*/ 128 w 170"/>
                  <a:gd name="T43" fmla="*/ 88 h 140"/>
                  <a:gd name="T44" fmla="*/ 130 w 170"/>
                  <a:gd name="T45" fmla="*/ 92 h 140"/>
                  <a:gd name="T46" fmla="*/ 122 w 170"/>
                  <a:gd name="T47" fmla="*/ 98 h 140"/>
                  <a:gd name="T48" fmla="*/ 112 w 170"/>
                  <a:gd name="T49" fmla="*/ 96 h 140"/>
                  <a:gd name="T50" fmla="*/ 92 w 170"/>
                  <a:gd name="T51" fmla="*/ 84 h 140"/>
                  <a:gd name="T52" fmla="*/ 100 w 170"/>
                  <a:gd name="T53" fmla="*/ 94 h 140"/>
                  <a:gd name="T54" fmla="*/ 84 w 170"/>
                  <a:gd name="T55" fmla="*/ 126 h 140"/>
                  <a:gd name="T56" fmla="*/ 72 w 170"/>
                  <a:gd name="T57" fmla="*/ 136 h 140"/>
                  <a:gd name="T58" fmla="*/ 62 w 170"/>
                  <a:gd name="T59" fmla="*/ 138 h 140"/>
                  <a:gd name="T60" fmla="*/ 54 w 170"/>
                  <a:gd name="T61" fmla="*/ 122 h 140"/>
                  <a:gd name="T62" fmla="*/ 64 w 170"/>
                  <a:gd name="T63" fmla="*/ 116 h 140"/>
                  <a:gd name="T64" fmla="*/ 60 w 170"/>
                  <a:gd name="T65" fmla="*/ 112 h 140"/>
                  <a:gd name="T66" fmla="*/ 52 w 170"/>
                  <a:gd name="T67" fmla="*/ 114 h 140"/>
                  <a:gd name="T68" fmla="*/ 40 w 170"/>
                  <a:gd name="T69" fmla="*/ 112 h 140"/>
                  <a:gd name="T70" fmla="*/ 38 w 170"/>
                  <a:gd name="T71" fmla="*/ 110 h 140"/>
                  <a:gd name="T72" fmla="*/ 34 w 170"/>
                  <a:gd name="T73" fmla="*/ 128 h 140"/>
                  <a:gd name="T74" fmla="*/ 32 w 170"/>
                  <a:gd name="T75" fmla="*/ 134 h 140"/>
                  <a:gd name="T76" fmla="*/ 12 w 170"/>
                  <a:gd name="T77" fmla="*/ 134 h 140"/>
                  <a:gd name="T78" fmla="*/ 10 w 170"/>
                  <a:gd name="T79" fmla="*/ 128 h 140"/>
                  <a:gd name="T80" fmla="*/ 12 w 170"/>
                  <a:gd name="T81" fmla="*/ 116 h 140"/>
                  <a:gd name="T82" fmla="*/ 2 w 170"/>
                  <a:gd name="T83" fmla="*/ 94 h 140"/>
                  <a:gd name="T84" fmla="*/ 2 w 170"/>
                  <a:gd name="T85" fmla="*/ 66 h 140"/>
                  <a:gd name="T86" fmla="*/ 16 w 170"/>
                  <a:gd name="T87" fmla="*/ 44 h 140"/>
                  <a:gd name="T88" fmla="*/ 44 w 170"/>
                  <a:gd name="T89" fmla="*/ 32 h 140"/>
                  <a:gd name="T90" fmla="*/ 30 w 170"/>
                  <a:gd name="T91" fmla="*/ 52 h 140"/>
                  <a:gd name="T92" fmla="*/ 28 w 170"/>
                  <a:gd name="T93" fmla="*/ 66 h 140"/>
                  <a:gd name="T94" fmla="*/ 36 w 170"/>
                  <a:gd name="T95" fmla="*/ 80 h 140"/>
                  <a:gd name="T96" fmla="*/ 34 w 170"/>
                  <a:gd name="T97" fmla="*/ 88 h 140"/>
                  <a:gd name="T98" fmla="*/ 48 w 170"/>
                  <a:gd name="T99" fmla="*/ 96 h 140"/>
                  <a:gd name="T100" fmla="*/ 68 w 170"/>
                  <a:gd name="T101" fmla="*/ 88 h 140"/>
                  <a:gd name="T102" fmla="*/ 80 w 170"/>
                  <a:gd name="T103" fmla="*/ 82 h 140"/>
                  <a:gd name="T104" fmla="*/ 82 w 170"/>
                  <a:gd name="T105" fmla="*/ 56 h 140"/>
                  <a:gd name="T106" fmla="*/ 78 w 170"/>
                  <a:gd name="T107" fmla="*/ 58 h 140"/>
                  <a:gd name="T108" fmla="*/ 72 w 170"/>
                  <a:gd name="T109" fmla="*/ 84 h 140"/>
                  <a:gd name="T110" fmla="*/ 58 w 170"/>
                  <a:gd name="T111" fmla="*/ 90 h 140"/>
                  <a:gd name="T112" fmla="*/ 38 w 170"/>
                  <a:gd name="T113" fmla="*/ 88 h 140"/>
                  <a:gd name="T114" fmla="*/ 38 w 170"/>
                  <a:gd name="T115" fmla="*/ 82 h 140"/>
                  <a:gd name="T116" fmla="*/ 44 w 170"/>
                  <a:gd name="T117" fmla="*/ 66 h 140"/>
                  <a:gd name="T118" fmla="*/ 30 w 170"/>
                  <a:gd name="T119" fmla="*/ 64 h 140"/>
                  <a:gd name="T120" fmla="*/ 36 w 170"/>
                  <a:gd name="T121" fmla="*/ 46 h 140"/>
                  <a:gd name="T122" fmla="*/ 62 w 170"/>
                  <a:gd name="T123" fmla="*/ 20 h 140"/>
                  <a:gd name="T124" fmla="*/ 76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8"/>
                    </a:moveTo>
                    <a:lnTo>
                      <a:pt x="68" y="18"/>
                    </a:lnTo>
                    <a:lnTo>
                      <a:pt x="70" y="14"/>
                    </a:lnTo>
                    <a:lnTo>
                      <a:pt x="74" y="10"/>
                    </a:lnTo>
                    <a:lnTo>
                      <a:pt x="82" y="6"/>
                    </a:lnTo>
                    <a:lnTo>
                      <a:pt x="82" y="6"/>
                    </a:lnTo>
                    <a:lnTo>
                      <a:pt x="100" y="0"/>
                    </a:lnTo>
                    <a:lnTo>
                      <a:pt x="100" y="0"/>
                    </a:lnTo>
                    <a:lnTo>
                      <a:pt x="108" y="2"/>
                    </a:lnTo>
                    <a:lnTo>
                      <a:pt x="114" y="4"/>
                    </a:lnTo>
                    <a:lnTo>
                      <a:pt x="114" y="4"/>
                    </a:lnTo>
                    <a:lnTo>
                      <a:pt x="130" y="18"/>
                    </a:lnTo>
                    <a:lnTo>
                      <a:pt x="130" y="18"/>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4"/>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0" y="46"/>
                    </a:lnTo>
                    <a:lnTo>
                      <a:pt x="140" y="46"/>
                    </a:lnTo>
                    <a:lnTo>
                      <a:pt x="144" y="44"/>
                    </a:lnTo>
                    <a:lnTo>
                      <a:pt x="144" y="44"/>
                    </a:lnTo>
                    <a:lnTo>
                      <a:pt x="144" y="46"/>
                    </a:lnTo>
                    <a:lnTo>
                      <a:pt x="144" y="46"/>
                    </a:lnTo>
                    <a:lnTo>
                      <a:pt x="144" y="58"/>
                    </a:lnTo>
                    <a:lnTo>
                      <a:pt x="144" y="58"/>
                    </a:lnTo>
                    <a:lnTo>
                      <a:pt x="146" y="48"/>
                    </a:lnTo>
                    <a:lnTo>
                      <a:pt x="146" y="38"/>
                    </a:lnTo>
                    <a:lnTo>
                      <a:pt x="146" y="38"/>
                    </a:lnTo>
                    <a:lnTo>
                      <a:pt x="146" y="36"/>
                    </a:lnTo>
                    <a:lnTo>
                      <a:pt x="148" y="34"/>
                    </a:lnTo>
                    <a:lnTo>
                      <a:pt x="148" y="34"/>
                    </a:lnTo>
                    <a:lnTo>
                      <a:pt x="154" y="32"/>
                    </a:lnTo>
                    <a:lnTo>
                      <a:pt x="158" y="26"/>
                    </a:lnTo>
                    <a:lnTo>
                      <a:pt x="158" y="26"/>
                    </a:lnTo>
                    <a:lnTo>
                      <a:pt x="162" y="24"/>
                    </a:lnTo>
                    <a:lnTo>
                      <a:pt x="162" y="24"/>
                    </a:lnTo>
                    <a:lnTo>
                      <a:pt x="164" y="28"/>
                    </a:lnTo>
                    <a:lnTo>
                      <a:pt x="164" y="28"/>
                    </a:lnTo>
                    <a:lnTo>
                      <a:pt x="168" y="38"/>
                    </a:lnTo>
                    <a:lnTo>
                      <a:pt x="168" y="38"/>
                    </a:lnTo>
                    <a:lnTo>
                      <a:pt x="170" y="52"/>
                    </a:lnTo>
                    <a:lnTo>
                      <a:pt x="170" y="60"/>
                    </a:lnTo>
                    <a:lnTo>
                      <a:pt x="168" y="66"/>
                    </a:lnTo>
                    <a:lnTo>
                      <a:pt x="168" y="66"/>
                    </a:lnTo>
                    <a:lnTo>
                      <a:pt x="164" y="76"/>
                    </a:lnTo>
                    <a:lnTo>
                      <a:pt x="158" y="82"/>
                    </a:lnTo>
                    <a:lnTo>
                      <a:pt x="152" y="84"/>
                    </a:lnTo>
                    <a:lnTo>
                      <a:pt x="144" y="86"/>
                    </a:lnTo>
                    <a:lnTo>
                      <a:pt x="144" y="86"/>
                    </a:lnTo>
                    <a:lnTo>
                      <a:pt x="136" y="84"/>
                    </a:lnTo>
                    <a:lnTo>
                      <a:pt x="136" y="84"/>
                    </a:lnTo>
                    <a:lnTo>
                      <a:pt x="126" y="82"/>
                    </a:lnTo>
                    <a:lnTo>
                      <a:pt x="116" y="80"/>
                    </a:lnTo>
                    <a:lnTo>
                      <a:pt x="116" y="80"/>
                    </a:lnTo>
                    <a:lnTo>
                      <a:pt x="114" y="92"/>
                    </a:lnTo>
                    <a:lnTo>
                      <a:pt x="114" y="92"/>
                    </a:lnTo>
                    <a:lnTo>
                      <a:pt x="116" y="96"/>
                    </a:lnTo>
                    <a:lnTo>
                      <a:pt x="118" y="96"/>
                    </a:lnTo>
                    <a:lnTo>
                      <a:pt x="118" y="96"/>
                    </a:lnTo>
                    <a:lnTo>
                      <a:pt x="120" y="98"/>
                    </a:lnTo>
                    <a:lnTo>
                      <a:pt x="120" y="98"/>
                    </a:lnTo>
                    <a:lnTo>
                      <a:pt x="124" y="96"/>
                    </a:lnTo>
                    <a:lnTo>
                      <a:pt x="124" y="96"/>
                    </a:lnTo>
                    <a:lnTo>
                      <a:pt x="126" y="92"/>
                    </a:lnTo>
                    <a:lnTo>
                      <a:pt x="128" y="88"/>
                    </a:lnTo>
                    <a:lnTo>
                      <a:pt x="128" y="88"/>
                    </a:lnTo>
                    <a:lnTo>
                      <a:pt x="130" y="88"/>
                    </a:lnTo>
                    <a:lnTo>
                      <a:pt x="130" y="88"/>
                    </a:lnTo>
                    <a:lnTo>
                      <a:pt x="130" y="92"/>
                    </a:lnTo>
                    <a:lnTo>
                      <a:pt x="128" y="94"/>
                    </a:lnTo>
                    <a:lnTo>
                      <a:pt x="126" y="98"/>
                    </a:lnTo>
                    <a:lnTo>
                      <a:pt x="122" y="98"/>
                    </a:lnTo>
                    <a:lnTo>
                      <a:pt x="122" y="98"/>
                    </a:lnTo>
                    <a:lnTo>
                      <a:pt x="118" y="100"/>
                    </a:lnTo>
                    <a:lnTo>
                      <a:pt x="118" y="100"/>
                    </a:lnTo>
                    <a:lnTo>
                      <a:pt x="114" y="98"/>
                    </a:lnTo>
                    <a:lnTo>
                      <a:pt x="112" y="96"/>
                    </a:lnTo>
                    <a:lnTo>
                      <a:pt x="112" y="96"/>
                    </a:lnTo>
                    <a:lnTo>
                      <a:pt x="102" y="90"/>
                    </a:lnTo>
                    <a:lnTo>
                      <a:pt x="92" y="84"/>
                    </a:lnTo>
                    <a:lnTo>
                      <a:pt x="92" y="84"/>
                    </a:lnTo>
                    <a:lnTo>
                      <a:pt x="98" y="90"/>
                    </a:lnTo>
                    <a:lnTo>
                      <a:pt x="98" y="90"/>
                    </a:lnTo>
                    <a:lnTo>
                      <a:pt x="100" y="94"/>
                    </a:lnTo>
                    <a:lnTo>
                      <a:pt x="100" y="94"/>
                    </a:lnTo>
                    <a:lnTo>
                      <a:pt x="94" y="110"/>
                    </a:lnTo>
                    <a:lnTo>
                      <a:pt x="90" y="118"/>
                    </a:lnTo>
                    <a:lnTo>
                      <a:pt x="84" y="126"/>
                    </a:lnTo>
                    <a:lnTo>
                      <a:pt x="84" y="126"/>
                    </a:lnTo>
                    <a:lnTo>
                      <a:pt x="76" y="134"/>
                    </a:lnTo>
                    <a:lnTo>
                      <a:pt x="76" y="134"/>
                    </a:lnTo>
                    <a:lnTo>
                      <a:pt x="72" y="136"/>
                    </a:lnTo>
                    <a:lnTo>
                      <a:pt x="72" y="136"/>
                    </a:lnTo>
                    <a:lnTo>
                      <a:pt x="68" y="140"/>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2" y="110"/>
                    </a:lnTo>
                    <a:lnTo>
                      <a:pt x="60" y="112"/>
                    </a:lnTo>
                    <a:lnTo>
                      <a:pt x="56" y="114"/>
                    </a:lnTo>
                    <a:lnTo>
                      <a:pt x="56" y="114"/>
                    </a:lnTo>
                    <a:lnTo>
                      <a:pt x="52" y="114"/>
                    </a:lnTo>
                    <a:lnTo>
                      <a:pt x="52" y="114"/>
                    </a:lnTo>
                    <a:lnTo>
                      <a:pt x="46" y="114"/>
                    </a:lnTo>
                    <a:lnTo>
                      <a:pt x="46" y="114"/>
                    </a:lnTo>
                    <a:lnTo>
                      <a:pt x="42" y="112"/>
                    </a:lnTo>
                    <a:lnTo>
                      <a:pt x="40" y="112"/>
                    </a:lnTo>
                    <a:lnTo>
                      <a:pt x="38" y="108"/>
                    </a:lnTo>
                    <a:lnTo>
                      <a:pt x="38" y="108"/>
                    </a:lnTo>
                    <a:lnTo>
                      <a:pt x="38" y="110"/>
                    </a:lnTo>
                    <a:lnTo>
                      <a:pt x="38" y="110"/>
                    </a:lnTo>
                    <a:lnTo>
                      <a:pt x="38" y="112"/>
                    </a:lnTo>
                    <a:lnTo>
                      <a:pt x="38" y="112"/>
                    </a:lnTo>
                    <a:lnTo>
                      <a:pt x="38" y="120"/>
                    </a:lnTo>
                    <a:lnTo>
                      <a:pt x="34" y="128"/>
                    </a:lnTo>
                    <a:lnTo>
                      <a:pt x="34" y="128"/>
                    </a:lnTo>
                    <a:lnTo>
                      <a:pt x="34" y="130"/>
                    </a:lnTo>
                    <a:lnTo>
                      <a:pt x="32" y="134"/>
                    </a:lnTo>
                    <a:lnTo>
                      <a:pt x="32" y="134"/>
                    </a:lnTo>
                    <a:lnTo>
                      <a:pt x="32" y="136"/>
                    </a:lnTo>
                    <a:lnTo>
                      <a:pt x="30" y="136"/>
                    </a:lnTo>
                    <a:lnTo>
                      <a:pt x="30" y="136"/>
                    </a:lnTo>
                    <a:lnTo>
                      <a:pt x="12" y="134"/>
                    </a:lnTo>
                    <a:lnTo>
                      <a:pt x="12" y="134"/>
                    </a:lnTo>
                    <a:lnTo>
                      <a:pt x="10" y="132"/>
                    </a:lnTo>
                    <a:lnTo>
                      <a:pt x="10" y="128"/>
                    </a:lnTo>
                    <a:lnTo>
                      <a:pt x="10" y="128"/>
                    </a:lnTo>
                    <a:lnTo>
                      <a:pt x="12" y="124"/>
                    </a:lnTo>
                    <a:lnTo>
                      <a:pt x="12" y="120"/>
                    </a:lnTo>
                    <a:lnTo>
                      <a:pt x="12" y="120"/>
                    </a:lnTo>
                    <a:lnTo>
                      <a:pt x="12" y="116"/>
                    </a:lnTo>
                    <a:lnTo>
                      <a:pt x="12" y="112"/>
                    </a:lnTo>
                    <a:lnTo>
                      <a:pt x="12" y="112"/>
                    </a:lnTo>
                    <a:lnTo>
                      <a:pt x="6" y="104"/>
                    </a:lnTo>
                    <a:lnTo>
                      <a:pt x="2" y="94"/>
                    </a:lnTo>
                    <a:lnTo>
                      <a:pt x="0" y="86"/>
                    </a:lnTo>
                    <a:lnTo>
                      <a:pt x="0" y="76"/>
                    </a:lnTo>
                    <a:lnTo>
                      <a:pt x="0" y="76"/>
                    </a:lnTo>
                    <a:lnTo>
                      <a:pt x="2" y="66"/>
                    </a:lnTo>
                    <a:lnTo>
                      <a:pt x="4" y="58"/>
                    </a:lnTo>
                    <a:lnTo>
                      <a:pt x="10" y="50"/>
                    </a:lnTo>
                    <a:lnTo>
                      <a:pt x="16" y="44"/>
                    </a:lnTo>
                    <a:lnTo>
                      <a:pt x="16" y="44"/>
                    </a:lnTo>
                    <a:lnTo>
                      <a:pt x="28" y="36"/>
                    </a:lnTo>
                    <a:lnTo>
                      <a:pt x="42" y="32"/>
                    </a:lnTo>
                    <a:lnTo>
                      <a:pt x="42" y="32"/>
                    </a:lnTo>
                    <a:lnTo>
                      <a:pt x="44" y="32"/>
                    </a:lnTo>
                    <a:lnTo>
                      <a:pt x="44" y="32"/>
                    </a:lnTo>
                    <a:lnTo>
                      <a:pt x="32" y="48"/>
                    </a:lnTo>
                    <a:lnTo>
                      <a:pt x="32" y="48"/>
                    </a:lnTo>
                    <a:lnTo>
                      <a:pt x="30" y="52"/>
                    </a:lnTo>
                    <a:lnTo>
                      <a:pt x="28" y="58"/>
                    </a:lnTo>
                    <a:lnTo>
                      <a:pt x="28" y="58"/>
                    </a:lnTo>
                    <a:lnTo>
                      <a:pt x="26" y="62"/>
                    </a:lnTo>
                    <a:lnTo>
                      <a:pt x="28" y="66"/>
                    </a:lnTo>
                    <a:lnTo>
                      <a:pt x="32" y="72"/>
                    </a:lnTo>
                    <a:lnTo>
                      <a:pt x="32" y="72"/>
                    </a:lnTo>
                    <a:lnTo>
                      <a:pt x="34" y="78"/>
                    </a:lnTo>
                    <a:lnTo>
                      <a:pt x="36" y="80"/>
                    </a:lnTo>
                    <a:lnTo>
                      <a:pt x="34" y="84"/>
                    </a:lnTo>
                    <a:lnTo>
                      <a:pt x="34" y="84"/>
                    </a:lnTo>
                    <a:lnTo>
                      <a:pt x="34" y="88"/>
                    </a:lnTo>
                    <a:lnTo>
                      <a:pt x="34" y="88"/>
                    </a:lnTo>
                    <a:lnTo>
                      <a:pt x="42" y="94"/>
                    </a:lnTo>
                    <a:lnTo>
                      <a:pt x="44" y="96"/>
                    </a:lnTo>
                    <a:lnTo>
                      <a:pt x="48" y="96"/>
                    </a:lnTo>
                    <a:lnTo>
                      <a:pt x="48" y="96"/>
                    </a:lnTo>
                    <a:lnTo>
                      <a:pt x="54" y="96"/>
                    </a:lnTo>
                    <a:lnTo>
                      <a:pt x="58" y="94"/>
                    </a:lnTo>
                    <a:lnTo>
                      <a:pt x="58" y="94"/>
                    </a:lnTo>
                    <a:lnTo>
                      <a:pt x="68" y="88"/>
                    </a:lnTo>
                    <a:lnTo>
                      <a:pt x="78" y="86"/>
                    </a:lnTo>
                    <a:lnTo>
                      <a:pt x="78" y="86"/>
                    </a:lnTo>
                    <a:lnTo>
                      <a:pt x="80" y="82"/>
                    </a:lnTo>
                    <a:lnTo>
                      <a:pt x="80" y="82"/>
                    </a:lnTo>
                    <a:lnTo>
                      <a:pt x="82" y="76"/>
                    </a:lnTo>
                    <a:lnTo>
                      <a:pt x="82" y="70"/>
                    </a:lnTo>
                    <a:lnTo>
                      <a:pt x="82" y="56"/>
                    </a:lnTo>
                    <a:lnTo>
                      <a:pt x="82" y="56"/>
                    </a:lnTo>
                    <a:lnTo>
                      <a:pt x="78" y="40"/>
                    </a:lnTo>
                    <a:lnTo>
                      <a:pt x="78" y="40"/>
                    </a:lnTo>
                    <a:lnTo>
                      <a:pt x="78" y="58"/>
                    </a:lnTo>
                    <a:lnTo>
                      <a:pt x="78" y="58"/>
                    </a:lnTo>
                    <a:lnTo>
                      <a:pt x="78" y="78"/>
                    </a:lnTo>
                    <a:lnTo>
                      <a:pt x="78" y="78"/>
                    </a:lnTo>
                    <a:lnTo>
                      <a:pt x="76" y="82"/>
                    </a:lnTo>
                    <a:lnTo>
                      <a:pt x="72" y="84"/>
                    </a:lnTo>
                    <a:lnTo>
                      <a:pt x="72" y="84"/>
                    </a:lnTo>
                    <a:lnTo>
                      <a:pt x="64" y="86"/>
                    </a:lnTo>
                    <a:lnTo>
                      <a:pt x="58" y="90"/>
                    </a:lnTo>
                    <a:lnTo>
                      <a:pt x="58" y="90"/>
                    </a:lnTo>
                    <a:lnTo>
                      <a:pt x="48" y="92"/>
                    </a:lnTo>
                    <a:lnTo>
                      <a:pt x="48" y="92"/>
                    </a:lnTo>
                    <a:lnTo>
                      <a:pt x="44" y="92"/>
                    </a:lnTo>
                    <a:lnTo>
                      <a:pt x="38" y="88"/>
                    </a:lnTo>
                    <a:lnTo>
                      <a:pt x="38" y="88"/>
                    </a:lnTo>
                    <a:lnTo>
                      <a:pt x="38" y="84"/>
                    </a:lnTo>
                    <a:lnTo>
                      <a:pt x="38" y="82"/>
                    </a:lnTo>
                    <a:lnTo>
                      <a:pt x="38" y="82"/>
                    </a:lnTo>
                    <a:lnTo>
                      <a:pt x="42" y="74"/>
                    </a:lnTo>
                    <a:lnTo>
                      <a:pt x="42" y="74"/>
                    </a:lnTo>
                    <a:lnTo>
                      <a:pt x="44" y="66"/>
                    </a:lnTo>
                    <a:lnTo>
                      <a:pt x="44" y="66"/>
                    </a:lnTo>
                    <a:lnTo>
                      <a:pt x="38" y="74"/>
                    </a:lnTo>
                    <a:lnTo>
                      <a:pt x="38" y="74"/>
                    </a:lnTo>
                    <a:lnTo>
                      <a:pt x="30" y="64"/>
                    </a:lnTo>
                    <a:lnTo>
                      <a:pt x="30" y="64"/>
                    </a:lnTo>
                    <a:lnTo>
                      <a:pt x="30" y="60"/>
                    </a:lnTo>
                    <a:lnTo>
                      <a:pt x="30" y="60"/>
                    </a:lnTo>
                    <a:lnTo>
                      <a:pt x="32" y="54"/>
                    </a:lnTo>
                    <a:lnTo>
                      <a:pt x="36" y="46"/>
                    </a:lnTo>
                    <a:lnTo>
                      <a:pt x="36" y="46"/>
                    </a:lnTo>
                    <a:lnTo>
                      <a:pt x="58" y="24"/>
                    </a:lnTo>
                    <a:lnTo>
                      <a:pt x="58" y="24"/>
                    </a:lnTo>
                    <a:lnTo>
                      <a:pt x="62" y="20"/>
                    </a:lnTo>
                    <a:lnTo>
                      <a:pt x="64" y="20"/>
                    </a:lnTo>
                    <a:lnTo>
                      <a:pt x="72" y="18"/>
                    </a:lnTo>
                    <a:lnTo>
                      <a:pt x="72" y="18"/>
                    </a:lnTo>
                    <a:lnTo>
                      <a:pt x="76" y="18"/>
                    </a:lnTo>
                    <a:lnTo>
                      <a:pt x="76" y="18"/>
                    </a:lnTo>
                    <a:lnTo>
                      <a:pt x="68"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6" name="Freeform 479"/>
              <p:cNvSpPr>
                <a:spLocks/>
              </p:cNvSpPr>
              <p:nvPr/>
            </p:nvSpPr>
            <p:spPr bwMode="auto">
              <a:xfrm>
                <a:off x="1164" y="1366"/>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0 h 146"/>
                  <a:gd name="T10" fmla="*/ 32 w 188"/>
                  <a:gd name="T11" fmla="*/ 40 h 146"/>
                  <a:gd name="T12" fmla="*/ 18 w 188"/>
                  <a:gd name="T13" fmla="*/ 54 h 146"/>
                  <a:gd name="T14" fmla="*/ 8 w 188"/>
                  <a:gd name="T15" fmla="*/ 62 h 146"/>
                  <a:gd name="T16" fmla="*/ 10 w 188"/>
                  <a:gd name="T17" fmla="*/ 54 h 146"/>
                  <a:gd name="T18" fmla="*/ 12 w 188"/>
                  <a:gd name="T19" fmla="*/ 48 h 146"/>
                  <a:gd name="T20" fmla="*/ 12 w 188"/>
                  <a:gd name="T21" fmla="*/ 44 h 146"/>
                  <a:gd name="T22" fmla="*/ 0 w 188"/>
                  <a:gd name="T23" fmla="*/ 56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6 h 146"/>
                  <a:gd name="T36" fmla="*/ 16 w 188"/>
                  <a:gd name="T37" fmla="*/ 124 h 146"/>
                  <a:gd name="T38" fmla="*/ 20 w 188"/>
                  <a:gd name="T39" fmla="*/ 130 h 146"/>
                  <a:gd name="T40" fmla="*/ 22 w 188"/>
                  <a:gd name="T41" fmla="*/ 138 h 146"/>
                  <a:gd name="T42" fmla="*/ 34 w 188"/>
                  <a:gd name="T43" fmla="*/ 142 h 146"/>
                  <a:gd name="T44" fmla="*/ 44 w 188"/>
                  <a:gd name="T45" fmla="*/ 142 h 146"/>
                  <a:gd name="T46" fmla="*/ 48 w 188"/>
                  <a:gd name="T47" fmla="*/ 142 h 146"/>
                  <a:gd name="T48" fmla="*/ 52 w 188"/>
                  <a:gd name="T49" fmla="*/ 130 h 146"/>
                  <a:gd name="T50" fmla="*/ 56 w 188"/>
                  <a:gd name="T51" fmla="*/ 118 h 146"/>
                  <a:gd name="T52" fmla="*/ 64 w 188"/>
                  <a:gd name="T53" fmla="*/ 124 h 146"/>
                  <a:gd name="T54" fmla="*/ 74 w 188"/>
                  <a:gd name="T55" fmla="*/ 142 h 146"/>
                  <a:gd name="T56" fmla="*/ 80 w 188"/>
                  <a:gd name="T57" fmla="*/ 146 h 146"/>
                  <a:gd name="T58" fmla="*/ 88 w 188"/>
                  <a:gd name="T59" fmla="*/ 142 h 146"/>
                  <a:gd name="T60" fmla="*/ 96 w 188"/>
                  <a:gd name="T61" fmla="*/ 132 h 146"/>
                  <a:gd name="T62" fmla="*/ 116 w 188"/>
                  <a:gd name="T63" fmla="*/ 132 h 146"/>
                  <a:gd name="T64" fmla="*/ 122 w 188"/>
                  <a:gd name="T65" fmla="*/ 130 h 146"/>
                  <a:gd name="T66" fmla="*/ 122 w 188"/>
                  <a:gd name="T67" fmla="*/ 124 h 146"/>
                  <a:gd name="T68" fmla="*/ 120 w 188"/>
                  <a:gd name="T69" fmla="*/ 104 h 146"/>
                  <a:gd name="T70" fmla="*/ 116 w 188"/>
                  <a:gd name="T71" fmla="*/ 96 h 146"/>
                  <a:gd name="T72" fmla="*/ 124 w 188"/>
                  <a:gd name="T73" fmla="*/ 100 h 146"/>
                  <a:gd name="T74" fmla="*/ 132 w 188"/>
                  <a:gd name="T75" fmla="*/ 104 h 146"/>
                  <a:gd name="T76" fmla="*/ 142 w 188"/>
                  <a:gd name="T77" fmla="*/ 100 h 146"/>
                  <a:gd name="T78" fmla="*/ 148 w 188"/>
                  <a:gd name="T79" fmla="*/ 92 h 146"/>
                  <a:gd name="T80" fmla="*/ 154 w 188"/>
                  <a:gd name="T81" fmla="*/ 90 h 146"/>
                  <a:gd name="T82" fmla="*/ 158 w 188"/>
                  <a:gd name="T83" fmla="*/ 90 h 146"/>
                  <a:gd name="T84" fmla="*/ 180 w 188"/>
                  <a:gd name="T85" fmla="*/ 80 h 146"/>
                  <a:gd name="T86" fmla="*/ 188 w 188"/>
                  <a:gd name="T87" fmla="*/ 58 h 146"/>
                  <a:gd name="T88" fmla="*/ 184 w 188"/>
                  <a:gd name="T89" fmla="*/ 36 h 146"/>
                  <a:gd name="T90" fmla="*/ 180 w 188"/>
                  <a:gd name="T91" fmla="*/ 24 h 146"/>
                  <a:gd name="T92" fmla="*/ 172 w 188"/>
                  <a:gd name="T93" fmla="*/ 24 h 146"/>
                  <a:gd name="T94" fmla="*/ 164 w 188"/>
                  <a:gd name="T95" fmla="*/ 30 h 146"/>
                  <a:gd name="T96" fmla="*/ 162 w 188"/>
                  <a:gd name="T97" fmla="*/ 32 h 146"/>
                  <a:gd name="T98" fmla="*/ 156 w 188"/>
                  <a:gd name="T99" fmla="*/ 24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2"/>
                    </a:lnTo>
                    <a:lnTo>
                      <a:pt x="90" y="6"/>
                    </a:lnTo>
                    <a:lnTo>
                      <a:pt x="84" y="12"/>
                    </a:lnTo>
                    <a:lnTo>
                      <a:pt x="84" y="12"/>
                    </a:lnTo>
                    <a:lnTo>
                      <a:pt x="78" y="18"/>
                    </a:lnTo>
                    <a:lnTo>
                      <a:pt x="76" y="20"/>
                    </a:lnTo>
                    <a:lnTo>
                      <a:pt x="72" y="20"/>
                    </a:lnTo>
                    <a:lnTo>
                      <a:pt x="72" y="20"/>
                    </a:lnTo>
                    <a:lnTo>
                      <a:pt x="70" y="22"/>
                    </a:lnTo>
                    <a:lnTo>
                      <a:pt x="70" y="22"/>
                    </a:lnTo>
                    <a:lnTo>
                      <a:pt x="62" y="28"/>
                    </a:lnTo>
                    <a:lnTo>
                      <a:pt x="52" y="30"/>
                    </a:lnTo>
                    <a:lnTo>
                      <a:pt x="52" y="30"/>
                    </a:lnTo>
                    <a:lnTo>
                      <a:pt x="42" y="34"/>
                    </a:lnTo>
                    <a:lnTo>
                      <a:pt x="32" y="40"/>
                    </a:lnTo>
                    <a:lnTo>
                      <a:pt x="24" y="46"/>
                    </a:lnTo>
                    <a:lnTo>
                      <a:pt x="18" y="54"/>
                    </a:lnTo>
                    <a:lnTo>
                      <a:pt x="18" y="54"/>
                    </a:lnTo>
                    <a:lnTo>
                      <a:pt x="12" y="62"/>
                    </a:lnTo>
                    <a:lnTo>
                      <a:pt x="12" y="62"/>
                    </a:lnTo>
                    <a:lnTo>
                      <a:pt x="8" y="62"/>
                    </a:lnTo>
                    <a:lnTo>
                      <a:pt x="8" y="62"/>
                    </a:lnTo>
                    <a:lnTo>
                      <a:pt x="10" y="54"/>
                    </a:lnTo>
                    <a:lnTo>
                      <a:pt x="10" y="54"/>
                    </a:lnTo>
                    <a:lnTo>
                      <a:pt x="14" y="54"/>
                    </a:lnTo>
                    <a:lnTo>
                      <a:pt x="14" y="54"/>
                    </a:lnTo>
                    <a:lnTo>
                      <a:pt x="12" y="48"/>
                    </a:lnTo>
                    <a:lnTo>
                      <a:pt x="12" y="48"/>
                    </a:lnTo>
                    <a:lnTo>
                      <a:pt x="12" y="44"/>
                    </a:lnTo>
                    <a:lnTo>
                      <a:pt x="12" y="44"/>
                    </a:lnTo>
                    <a:lnTo>
                      <a:pt x="4" y="48"/>
                    </a:lnTo>
                    <a:lnTo>
                      <a:pt x="0" y="52"/>
                    </a:lnTo>
                    <a:lnTo>
                      <a:pt x="0" y="56"/>
                    </a:lnTo>
                    <a:lnTo>
                      <a:pt x="0" y="56"/>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6"/>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2"/>
                    </a:lnTo>
                    <a:lnTo>
                      <a:pt x="42" y="142"/>
                    </a:lnTo>
                    <a:lnTo>
                      <a:pt x="44" y="142"/>
                    </a:lnTo>
                    <a:lnTo>
                      <a:pt x="44" y="142"/>
                    </a:lnTo>
                    <a:lnTo>
                      <a:pt x="48" y="142"/>
                    </a:lnTo>
                    <a:lnTo>
                      <a:pt x="48" y="142"/>
                    </a:lnTo>
                    <a:lnTo>
                      <a:pt x="50" y="136"/>
                    </a:lnTo>
                    <a:lnTo>
                      <a:pt x="50" y="136"/>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6"/>
                    </a:lnTo>
                    <a:lnTo>
                      <a:pt x="80" y="146"/>
                    </a:lnTo>
                    <a:lnTo>
                      <a:pt x="84" y="144"/>
                    </a:lnTo>
                    <a:lnTo>
                      <a:pt x="88" y="142"/>
                    </a:lnTo>
                    <a:lnTo>
                      <a:pt x="88" y="142"/>
                    </a:lnTo>
                    <a:lnTo>
                      <a:pt x="96" y="132"/>
                    </a:lnTo>
                    <a:lnTo>
                      <a:pt x="96" y="132"/>
                    </a:lnTo>
                    <a:lnTo>
                      <a:pt x="100" y="132"/>
                    </a:lnTo>
                    <a:lnTo>
                      <a:pt x="100" y="132"/>
                    </a:lnTo>
                    <a:lnTo>
                      <a:pt x="116" y="132"/>
                    </a:lnTo>
                    <a:lnTo>
                      <a:pt x="116" y="132"/>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100"/>
                    </a:lnTo>
                    <a:lnTo>
                      <a:pt x="146" y="96"/>
                    </a:lnTo>
                    <a:lnTo>
                      <a:pt x="146"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8" y="58"/>
                    </a:lnTo>
                    <a:lnTo>
                      <a:pt x="186" y="46"/>
                    </a:lnTo>
                    <a:lnTo>
                      <a:pt x="186" y="46"/>
                    </a:lnTo>
                    <a:lnTo>
                      <a:pt x="184" y="36"/>
                    </a:lnTo>
                    <a:lnTo>
                      <a:pt x="182" y="28"/>
                    </a:lnTo>
                    <a:lnTo>
                      <a:pt x="182" y="28"/>
                    </a:lnTo>
                    <a:lnTo>
                      <a:pt x="180" y="24"/>
                    </a:lnTo>
                    <a:lnTo>
                      <a:pt x="176" y="24"/>
                    </a:lnTo>
                    <a:lnTo>
                      <a:pt x="176" y="24"/>
                    </a:lnTo>
                    <a:lnTo>
                      <a:pt x="172" y="24"/>
                    </a:lnTo>
                    <a:lnTo>
                      <a:pt x="170" y="28"/>
                    </a:lnTo>
                    <a:lnTo>
                      <a:pt x="170" y="28"/>
                    </a:lnTo>
                    <a:lnTo>
                      <a:pt x="164" y="30"/>
                    </a:lnTo>
                    <a:lnTo>
                      <a:pt x="164" y="30"/>
                    </a:lnTo>
                    <a:lnTo>
                      <a:pt x="162" y="32"/>
                    </a:lnTo>
                    <a:lnTo>
                      <a:pt x="162" y="32"/>
                    </a:lnTo>
                    <a:lnTo>
                      <a:pt x="160" y="30"/>
                    </a:lnTo>
                    <a:lnTo>
                      <a:pt x="160" y="30"/>
                    </a:lnTo>
                    <a:lnTo>
                      <a:pt x="156" y="24"/>
                    </a:lnTo>
                    <a:lnTo>
                      <a:pt x="152" y="20"/>
                    </a:lnTo>
                    <a:lnTo>
                      <a:pt x="152" y="20"/>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7" name="Freeform 480"/>
              <p:cNvSpPr>
                <a:spLocks/>
              </p:cNvSpPr>
              <p:nvPr/>
            </p:nvSpPr>
            <p:spPr bwMode="auto">
              <a:xfrm>
                <a:off x="1170" y="1466"/>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20 h 22"/>
                  <a:gd name="T16" fmla="*/ 6 w 16"/>
                  <a:gd name="T17" fmla="*/ 20 h 22"/>
                  <a:gd name="T18" fmla="*/ 12 w 16"/>
                  <a:gd name="T19" fmla="*/ 22 h 22"/>
                  <a:gd name="T20" fmla="*/ 12 w 16"/>
                  <a:gd name="T21" fmla="*/ 22 h 22"/>
                  <a:gd name="T22" fmla="*/ 14 w 16"/>
                  <a:gd name="T23" fmla="*/ 22 h 22"/>
                  <a:gd name="T24" fmla="*/ 14 w 16"/>
                  <a:gd name="T25" fmla="*/ 22 h 22"/>
                  <a:gd name="T26" fmla="*/ 16 w 16"/>
                  <a:gd name="T27" fmla="*/ 22 h 22"/>
                  <a:gd name="T28" fmla="*/ 16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2" y="4"/>
                    </a:lnTo>
                    <a:lnTo>
                      <a:pt x="2" y="4"/>
                    </a:lnTo>
                    <a:lnTo>
                      <a:pt x="0" y="8"/>
                    </a:lnTo>
                    <a:lnTo>
                      <a:pt x="0" y="8"/>
                    </a:lnTo>
                    <a:lnTo>
                      <a:pt x="2" y="14"/>
                    </a:lnTo>
                    <a:lnTo>
                      <a:pt x="6" y="20"/>
                    </a:lnTo>
                    <a:lnTo>
                      <a:pt x="6" y="20"/>
                    </a:lnTo>
                    <a:lnTo>
                      <a:pt x="12" y="22"/>
                    </a:lnTo>
                    <a:lnTo>
                      <a:pt x="12" y="22"/>
                    </a:lnTo>
                    <a:lnTo>
                      <a:pt x="14" y="22"/>
                    </a:lnTo>
                    <a:lnTo>
                      <a:pt x="14" y="22"/>
                    </a:lnTo>
                    <a:lnTo>
                      <a:pt x="16" y="22"/>
                    </a:lnTo>
                    <a:lnTo>
                      <a:pt x="16"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8" name="Freeform 481"/>
              <p:cNvSpPr>
                <a:spLocks/>
              </p:cNvSpPr>
              <p:nvPr/>
            </p:nvSpPr>
            <p:spPr bwMode="auto">
              <a:xfrm>
                <a:off x="1170" y="1466"/>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20 h 22"/>
                  <a:gd name="T16" fmla="*/ 6 w 16"/>
                  <a:gd name="T17" fmla="*/ 20 h 22"/>
                  <a:gd name="T18" fmla="*/ 12 w 16"/>
                  <a:gd name="T19" fmla="*/ 22 h 22"/>
                  <a:gd name="T20" fmla="*/ 12 w 16"/>
                  <a:gd name="T21" fmla="*/ 22 h 22"/>
                  <a:gd name="T22" fmla="*/ 14 w 16"/>
                  <a:gd name="T23" fmla="*/ 22 h 22"/>
                  <a:gd name="T24" fmla="*/ 14 w 16"/>
                  <a:gd name="T25" fmla="*/ 22 h 22"/>
                  <a:gd name="T26" fmla="*/ 16 w 16"/>
                  <a:gd name="T27" fmla="*/ 22 h 22"/>
                  <a:gd name="T28" fmla="*/ 16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2" y="4"/>
                    </a:lnTo>
                    <a:lnTo>
                      <a:pt x="2" y="4"/>
                    </a:lnTo>
                    <a:lnTo>
                      <a:pt x="0" y="8"/>
                    </a:lnTo>
                    <a:lnTo>
                      <a:pt x="0" y="8"/>
                    </a:lnTo>
                    <a:lnTo>
                      <a:pt x="2" y="14"/>
                    </a:lnTo>
                    <a:lnTo>
                      <a:pt x="6" y="20"/>
                    </a:lnTo>
                    <a:lnTo>
                      <a:pt x="6" y="20"/>
                    </a:lnTo>
                    <a:lnTo>
                      <a:pt x="12" y="22"/>
                    </a:lnTo>
                    <a:lnTo>
                      <a:pt x="12" y="22"/>
                    </a:lnTo>
                    <a:lnTo>
                      <a:pt x="14" y="22"/>
                    </a:lnTo>
                    <a:lnTo>
                      <a:pt x="14" y="22"/>
                    </a:lnTo>
                    <a:lnTo>
                      <a:pt x="16" y="22"/>
                    </a:lnTo>
                    <a:lnTo>
                      <a:pt x="16"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69" name="Freeform 482"/>
              <p:cNvSpPr>
                <a:spLocks/>
              </p:cNvSpPr>
              <p:nvPr/>
            </p:nvSpPr>
            <p:spPr bwMode="auto">
              <a:xfrm>
                <a:off x="1176" y="1486"/>
                <a:ext cx="10" cy="2"/>
              </a:xfrm>
              <a:custGeom>
                <a:avLst/>
                <a:gdLst>
                  <a:gd name="T0" fmla="*/ 0 w 10"/>
                  <a:gd name="T1" fmla="*/ 0 h 2"/>
                  <a:gd name="T2" fmla="*/ 0 w 10"/>
                  <a:gd name="T3" fmla="*/ 0 h 2"/>
                  <a:gd name="T4" fmla="*/ 6 w 10"/>
                  <a:gd name="T5" fmla="*/ 2 h 2"/>
                  <a:gd name="T6" fmla="*/ 6 w 10"/>
                  <a:gd name="T7" fmla="*/ 2 h 2"/>
                  <a:gd name="T8" fmla="*/ 8 w 10"/>
                  <a:gd name="T9" fmla="*/ 2 h 2"/>
                  <a:gd name="T10" fmla="*/ 8 w 10"/>
                  <a:gd name="T11" fmla="*/ 2 h 2"/>
                  <a:gd name="T12" fmla="*/ 10 w 10"/>
                  <a:gd name="T13" fmla="*/ 2 h 2"/>
                  <a:gd name="T14" fmla="*/ 10 w 10"/>
                  <a:gd name="T15" fmla="*/ 2 h 2"/>
                  <a:gd name="T16" fmla="*/ 8 w 10"/>
                  <a:gd name="T17" fmla="*/ 2 h 2"/>
                  <a:gd name="T18" fmla="*/ 8 w 10"/>
                  <a:gd name="T19" fmla="*/ 2 h 2"/>
                  <a:gd name="T20" fmla="*/ 6 w 10"/>
                  <a:gd name="T21" fmla="*/ 2 h 2"/>
                  <a:gd name="T22" fmla="*/ 6 w 10"/>
                  <a:gd name="T23" fmla="*/ 2 h 2"/>
                  <a:gd name="T24" fmla="*/ 0 w 10"/>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
                    <a:moveTo>
                      <a:pt x="0" y="0"/>
                    </a:moveTo>
                    <a:lnTo>
                      <a:pt x="0" y="0"/>
                    </a:lnTo>
                    <a:lnTo>
                      <a:pt x="6" y="2"/>
                    </a:lnTo>
                    <a:lnTo>
                      <a:pt x="6" y="2"/>
                    </a:lnTo>
                    <a:lnTo>
                      <a:pt x="8" y="2"/>
                    </a:lnTo>
                    <a:lnTo>
                      <a:pt x="8" y="2"/>
                    </a:lnTo>
                    <a:lnTo>
                      <a:pt x="10" y="2"/>
                    </a:lnTo>
                    <a:lnTo>
                      <a:pt x="10" y="2"/>
                    </a:lnTo>
                    <a:lnTo>
                      <a:pt x="8" y="2"/>
                    </a:lnTo>
                    <a:lnTo>
                      <a:pt x="8" y="2"/>
                    </a:lnTo>
                    <a:lnTo>
                      <a:pt x="6" y="2"/>
                    </a:lnTo>
                    <a:lnTo>
                      <a:pt x="6" y="2"/>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0" name="Freeform 483"/>
              <p:cNvSpPr>
                <a:spLocks/>
              </p:cNvSpPr>
              <p:nvPr/>
            </p:nvSpPr>
            <p:spPr bwMode="auto">
              <a:xfrm>
                <a:off x="1176" y="1486"/>
                <a:ext cx="10" cy="2"/>
              </a:xfrm>
              <a:custGeom>
                <a:avLst/>
                <a:gdLst>
                  <a:gd name="T0" fmla="*/ 0 w 10"/>
                  <a:gd name="T1" fmla="*/ 0 h 2"/>
                  <a:gd name="T2" fmla="*/ 0 w 10"/>
                  <a:gd name="T3" fmla="*/ 0 h 2"/>
                  <a:gd name="T4" fmla="*/ 6 w 10"/>
                  <a:gd name="T5" fmla="*/ 2 h 2"/>
                  <a:gd name="T6" fmla="*/ 6 w 10"/>
                  <a:gd name="T7" fmla="*/ 2 h 2"/>
                  <a:gd name="T8" fmla="*/ 8 w 10"/>
                  <a:gd name="T9" fmla="*/ 2 h 2"/>
                  <a:gd name="T10" fmla="*/ 8 w 10"/>
                  <a:gd name="T11" fmla="*/ 2 h 2"/>
                  <a:gd name="T12" fmla="*/ 10 w 10"/>
                  <a:gd name="T13" fmla="*/ 2 h 2"/>
                  <a:gd name="T14" fmla="*/ 10 w 10"/>
                  <a:gd name="T15" fmla="*/ 2 h 2"/>
                  <a:gd name="T16" fmla="*/ 8 w 10"/>
                  <a:gd name="T17" fmla="*/ 2 h 2"/>
                  <a:gd name="T18" fmla="*/ 8 w 10"/>
                  <a:gd name="T19" fmla="*/ 2 h 2"/>
                  <a:gd name="T20" fmla="*/ 6 w 10"/>
                  <a:gd name="T21" fmla="*/ 2 h 2"/>
                  <a:gd name="T22" fmla="*/ 6 w 10"/>
                  <a:gd name="T23" fmla="*/ 2 h 2"/>
                  <a:gd name="T24" fmla="*/ 0 w 10"/>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
                    <a:moveTo>
                      <a:pt x="0" y="0"/>
                    </a:moveTo>
                    <a:lnTo>
                      <a:pt x="0" y="0"/>
                    </a:lnTo>
                    <a:lnTo>
                      <a:pt x="6" y="2"/>
                    </a:lnTo>
                    <a:lnTo>
                      <a:pt x="6" y="2"/>
                    </a:lnTo>
                    <a:lnTo>
                      <a:pt x="8" y="2"/>
                    </a:lnTo>
                    <a:lnTo>
                      <a:pt x="8" y="2"/>
                    </a:lnTo>
                    <a:lnTo>
                      <a:pt x="10" y="2"/>
                    </a:lnTo>
                    <a:lnTo>
                      <a:pt x="10" y="2"/>
                    </a:lnTo>
                    <a:lnTo>
                      <a:pt x="8" y="2"/>
                    </a:lnTo>
                    <a:lnTo>
                      <a:pt x="8" y="2"/>
                    </a:lnTo>
                    <a:lnTo>
                      <a:pt x="6" y="2"/>
                    </a:lnTo>
                    <a:lnTo>
                      <a:pt x="6"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1" name="Freeform 484"/>
              <p:cNvSpPr>
                <a:spLocks/>
              </p:cNvSpPr>
              <p:nvPr/>
            </p:nvSpPr>
            <p:spPr bwMode="auto">
              <a:xfrm>
                <a:off x="1266" y="1470"/>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2 w 18"/>
                  <a:gd name="T17" fmla="*/ 26 h 26"/>
                  <a:gd name="T18" fmla="*/ 12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4" y="20"/>
                    </a:lnTo>
                    <a:lnTo>
                      <a:pt x="4" y="20"/>
                    </a:lnTo>
                    <a:lnTo>
                      <a:pt x="0" y="26"/>
                    </a:lnTo>
                    <a:lnTo>
                      <a:pt x="0" y="26"/>
                    </a:lnTo>
                    <a:lnTo>
                      <a:pt x="8" y="26"/>
                    </a:lnTo>
                    <a:lnTo>
                      <a:pt x="8" y="26"/>
                    </a:lnTo>
                    <a:lnTo>
                      <a:pt x="12" y="26"/>
                    </a:lnTo>
                    <a:lnTo>
                      <a:pt x="12" y="26"/>
                    </a:lnTo>
                    <a:lnTo>
                      <a:pt x="16" y="26"/>
                    </a:lnTo>
                    <a:lnTo>
                      <a:pt x="16" y="26"/>
                    </a:lnTo>
                    <a:lnTo>
                      <a:pt x="18" y="22"/>
                    </a:lnTo>
                    <a:lnTo>
                      <a:pt x="18"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2" name="Freeform 485"/>
              <p:cNvSpPr>
                <a:spLocks/>
              </p:cNvSpPr>
              <p:nvPr/>
            </p:nvSpPr>
            <p:spPr bwMode="auto">
              <a:xfrm>
                <a:off x="1266" y="1470"/>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2 w 18"/>
                  <a:gd name="T17" fmla="*/ 26 h 26"/>
                  <a:gd name="T18" fmla="*/ 12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4" y="20"/>
                    </a:lnTo>
                    <a:lnTo>
                      <a:pt x="4" y="20"/>
                    </a:lnTo>
                    <a:lnTo>
                      <a:pt x="0" y="26"/>
                    </a:lnTo>
                    <a:lnTo>
                      <a:pt x="0" y="26"/>
                    </a:lnTo>
                    <a:lnTo>
                      <a:pt x="8" y="26"/>
                    </a:lnTo>
                    <a:lnTo>
                      <a:pt x="8" y="26"/>
                    </a:lnTo>
                    <a:lnTo>
                      <a:pt x="12" y="26"/>
                    </a:lnTo>
                    <a:lnTo>
                      <a:pt x="12"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3" name="Freeform 486"/>
              <p:cNvSpPr>
                <a:spLocks noEditPoints="1"/>
              </p:cNvSpPr>
              <p:nvPr/>
            </p:nvSpPr>
            <p:spPr bwMode="auto">
              <a:xfrm>
                <a:off x="1266" y="1470"/>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2 w 18"/>
                  <a:gd name="T39" fmla="*/ 26 h 26"/>
                  <a:gd name="T40" fmla="*/ 12 w 18"/>
                  <a:gd name="T41" fmla="*/ 26 h 26"/>
                  <a:gd name="T42" fmla="*/ 12 w 18"/>
                  <a:gd name="T43" fmla="*/ 26 h 26"/>
                  <a:gd name="T44" fmla="*/ 12 w 18"/>
                  <a:gd name="T45" fmla="*/ 26 h 26"/>
                  <a:gd name="T46" fmla="*/ 16 w 18"/>
                  <a:gd name="T47" fmla="*/ 26 h 26"/>
                  <a:gd name="T48" fmla="*/ 16 w 18"/>
                  <a:gd name="T49" fmla="*/ 26 h 26"/>
                  <a:gd name="T50" fmla="*/ 18 w 18"/>
                  <a:gd name="T51" fmla="*/ 22 h 26"/>
                  <a:gd name="T52" fmla="*/ 18 w 18"/>
                  <a:gd name="T53" fmla="*/ 22 h 26"/>
                  <a:gd name="T54" fmla="*/ 18 w 18"/>
                  <a:gd name="T55" fmla="*/ 8 h 26"/>
                  <a:gd name="T56" fmla="*/ 18 w 18"/>
                  <a:gd name="T57" fmla="*/ 8 h 26"/>
                  <a:gd name="T58" fmla="*/ 14 w 18"/>
                  <a:gd name="T5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26">
                    <a:moveTo>
                      <a:pt x="4" y="20"/>
                    </a:moveTo>
                    <a:lnTo>
                      <a:pt x="4" y="20"/>
                    </a:lnTo>
                    <a:lnTo>
                      <a:pt x="0" y="26"/>
                    </a:lnTo>
                    <a:lnTo>
                      <a:pt x="0" y="26"/>
                    </a:lnTo>
                    <a:lnTo>
                      <a:pt x="8" y="26"/>
                    </a:lnTo>
                    <a:lnTo>
                      <a:pt x="8"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2" y="26"/>
                    </a:lnTo>
                    <a:lnTo>
                      <a:pt x="12" y="26"/>
                    </a:lnTo>
                    <a:lnTo>
                      <a:pt x="12" y="26"/>
                    </a:lnTo>
                    <a:lnTo>
                      <a:pt x="12" y="26"/>
                    </a:lnTo>
                    <a:lnTo>
                      <a:pt x="16" y="26"/>
                    </a:lnTo>
                    <a:lnTo>
                      <a:pt x="16" y="26"/>
                    </a:lnTo>
                    <a:lnTo>
                      <a:pt x="18" y="22"/>
                    </a:lnTo>
                    <a:lnTo>
                      <a:pt x="18" y="22"/>
                    </a:lnTo>
                    <a:lnTo>
                      <a:pt x="18" y="8"/>
                    </a:lnTo>
                    <a:lnTo>
                      <a:pt x="18"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4" name="Freeform 487"/>
              <p:cNvSpPr>
                <a:spLocks/>
              </p:cNvSpPr>
              <p:nvPr/>
            </p:nvSpPr>
            <p:spPr bwMode="auto">
              <a:xfrm>
                <a:off x="1266" y="1490"/>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0 w 8"/>
                  <a:gd name="T13" fmla="*/ 6 h 6"/>
                  <a:gd name="T14" fmla="*/ 0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5" name="Freeform 488"/>
              <p:cNvSpPr>
                <a:spLocks/>
              </p:cNvSpPr>
              <p:nvPr/>
            </p:nvSpPr>
            <p:spPr bwMode="auto">
              <a:xfrm>
                <a:off x="1278" y="1470"/>
                <a:ext cx="6" cy="26"/>
              </a:xfrm>
              <a:custGeom>
                <a:avLst/>
                <a:gdLst>
                  <a:gd name="T0" fmla="*/ 2 w 6"/>
                  <a:gd name="T1" fmla="*/ 0 h 26"/>
                  <a:gd name="T2" fmla="*/ 2 w 6"/>
                  <a:gd name="T3" fmla="*/ 0 h 26"/>
                  <a:gd name="T4" fmla="*/ 2 w 6"/>
                  <a:gd name="T5" fmla="*/ 0 h 26"/>
                  <a:gd name="T6" fmla="*/ 2 w 6"/>
                  <a:gd name="T7" fmla="*/ 0 h 26"/>
                  <a:gd name="T8" fmla="*/ 4 w 6"/>
                  <a:gd name="T9" fmla="*/ 8 h 26"/>
                  <a:gd name="T10" fmla="*/ 4 w 6"/>
                  <a:gd name="T11" fmla="*/ 8 h 26"/>
                  <a:gd name="T12" fmla="*/ 6 w 6"/>
                  <a:gd name="T13" fmla="*/ 22 h 26"/>
                  <a:gd name="T14" fmla="*/ 6 w 6"/>
                  <a:gd name="T15" fmla="*/ 22 h 26"/>
                  <a:gd name="T16" fmla="*/ 4 w 6"/>
                  <a:gd name="T17" fmla="*/ 26 h 26"/>
                  <a:gd name="T18" fmla="*/ 4 w 6"/>
                  <a:gd name="T19" fmla="*/ 26 h 26"/>
                  <a:gd name="T20" fmla="*/ 0 w 6"/>
                  <a:gd name="T21" fmla="*/ 26 h 26"/>
                  <a:gd name="T22" fmla="*/ 0 w 6"/>
                  <a:gd name="T23" fmla="*/ 26 h 26"/>
                  <a:gd name="T24" fmla="*/ 0 w 6"/>
                  <a:gd name="T25" fmla="*/ 26 h 26"/>
                  <a:gd name="T26" fmla="*/ 0 w 6"/>
                  <a:gd name="T27" fmla="*/ 26 h 26"/>
                  <a:gd name="T28" fmla="*/ 4 w 6"/>
                  <a:gd name="T29" fmla="*/ 26 h 26"/>
                  <a:gd name="T30" fmla="*/ 4 w 6"/>
                  <a:gd name="T31" fmla="*/ 26 h 26"/>
                  <a:gd name="T32" fmla="*/ 6 w 6"/>
                  <a:gd name="T33" fmla="*/ 22 h 26"/>
                  <a:gd name="T34" fmla="*/ 6 w 6"/>
                  <a:gd name="T35" fmla="*/ 22 h 26"/>
                  <a:gd name="T36" fmla="*/ 6 w 6"/>
                  <a:gd name="T37" fmla="*/ 8 h 26"/>
                  <a:gd name="T38" fmla="*/ 6 w 6"/>
                  <a:gd name="T39" fmla="*/ 8 h 26"/>
                  <a:gd name="T40" fmla="*/ 2 w 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26">
                    <a:moveTo>
                      <a:pt x="2" y="0"/>
                    </a:moveTo>
                    <a:lnTo>
                      <a:pt x="2" y="0"/>
                    </a:lnTo>
                    <a:lnTo>
                      <a:pt x="2" y="0"/>
                    </a:lnTo>
                    <a:lnTo>
                      <a:pt x="2" y="0"/>
                    </a:lnTo>
                    <a:lnTo>
                      <a:pt x="4" y="8"/>
                    </a:lnTo>
                    <a:lnTo>
                      <a:pt x="4" y="8"/>
                    </a:lnTo>
                    <a:lnTo>
                      <a:pt x="6" y="22"/>
                    </a:lnTo>
                    <a:lnTo>
                      <a:pt x="6" y="22"/>
                    </a:lnTo>
                    <a:lnTo>
                      <a:pt x="4" y="26"/>
                    </a:lnTo>
                    <a:lnTo>
                      <a:pt x="4" y="26"/>
                    </a:lnTo>
                    <a:lnTo>
                      <a:pt x="0" y="26"/>
                    </a:lnTo>
                    <a:lnTo>
                      <a:pt x="0" y="26"/>
                    </a:lnTo>
                    <a:lnTo>
                      <a:pt x="0" y="26"/>
                    </a:lnTo>
                    <a:lnTo>
                      <a:pt x="0" y="26"/>
                    </a:lnTo>
                    <a:lnTo>
                      <a:pt x="4" y="26"/>
                    </a:lnTo>
                    <a:lnTo>
                      <a:pt x="4" y="26"/>
                    </a:lnTo>
                    <a:lnTo>
                      <a:pt x="6" y="22"/>
                    </a:lnTo>
                    <a:lnTo>
                      <a:pt x="6" y="22"/>
                    </a:lnTo>
                    <a:lnTo>
                      <a:pt x="6" y="8"/>
                    </a:lnTo>
                    <a:lnTo>
                      <a:pt x="6" y="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6" name="Freeform 489"/>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4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0 w 12"/>
                  <a:gd name="T29" fmla="*/ 20 h 20"/>
                  <a:gd name="T30" fmla="*/ 12 w 12"/>
                  <a:gd name="T31" fmla="*/ 16 h 20"/>
                  <a:gd name="T32" fmla="*/ 12 w 12"/>
                  <a:gd name="T33" fmla="*/ 16 h 20"/>
                  <a:gd name="T34" fmla="*/ 10 w 12"/>
                  <a:gd name="T35" fmla="*/ 16 h 20"/>
                  <a:gd name="T36" fmla="*/ 10 w 12"/>
                  <a:gd name="T37" fmla="*/ 16 h 20"/>
                  <a:gd name="T38" fmla="*/ 8 w 12"/>
                  <a:gd name="T39" fmla="*/ 18 h 20"/>
                  <a:gd name="T40" fmla="*/ 8 w 12"/>
                  <a:gd name="T41" fmla="*/ 18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2 h 20"/>
                  <a:gd name="T56" fmla="*/ 6 w 12"/>
                  <a:gd name="T57" fmla="*/ 2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4"/>
                    </a:lnTo>
                    <a:lnTo>
                      <a:pt x="4" y="20"/>
                    </a:lnTo>
                    <a:lnTo>
                      <a:pt x="4" y="20"/>
                    </a:lnTo>
                    <a:lnTo>
                      <a:pt x="4" y="20"/>
                    </a:lnTo>
                    <a:lnTo>
                      <a:pt x="4" y="20"/>
                    </a:lnTo>
                    <a:lnTo>
                      <a:pt x="6" y="20"/>
                    </a:lnTo>
                    <a:lnTo>
                      <a:pt x="6" y="20"/>
                    </a:lnTo>
                    <a:lnTo>
                      <a:pt x="10" y="20"/>
                    </a:lnTo>
                    <a:lnTo>
                      <a:pt x="10" y="20"/>
                    </a:lnTo>
                    <a:lnTo>
                      <a:pt x="12" y="16"/>
                    </a:lnTo>
                    <a:lnTo>
                      <a:pt x="12" y="16"/>
                    </a:lnTo>
                    <a:lnTo>
                      <a:pt x="10" y="16"/>
                    </a:lnTo>
                    <a:lnTo>
                      <a:pt x="10" y="16"/>
                    </a:lnTo>
                    <a:lnTo>
                      <a:pt x="8" y="18"/>
                    </a:lnTo>
                    <a:lnTo>
                      <a:pt x="8" y="18"/>
                    </a:lnTo>
                    <a:lnTo>
                      <a:pt x="4" y="16"/>
                    </a:lnTo>
                    <a:lnTo>
                      <a:pt x="4" y="16"/>
                    </a:lnTo>
                    <a:lnTo>
                      <a:pt x="4" y="16"/>
                    </a:lnTo>
                    <a:lnTo>
                      <a:pt x="4" y="16"/>
                    </a:lnTo>
                    <a:lnTo>
                      <a:pt x="4" y="12"/>
                    </a:lnTo>
                    <a:lnTo>
                      <a:pt x="4"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7" name="Freeform 490"/>
              <p:cNvSpPr>
                <a:spLocks/>
              </p:cNvSpPr>
              <p:nvPr/>
            </p:nvSpPr>
            <p:spPr bwMode="auto">
              <a:xfrm>
                <a:off x="1166" y="1414"/>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4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0 w 12"/>
                  <a:gd name="T29" fmla="*/ 20 h 20"/>
                  <a:gd name="T30" fmla="*/ 12 w 12"/>
                  <a:gd name="T31" fmla="*/ 16 h 20"/>
                  <a:gd name="T32" fmla="*/ 12 w 12"/>
                  <a:gd name="T33" fmla="*/ 16 h 20"/>
                  <a:gd name="T34" fmla="*/ 10 w 12"/>
                  <a:gd name="T35" fmla="*/ 16 h 20"/>
                  <a:gd name="T36" fmla="*/ 10 w 12"/>
                  <a:gd name="T37" fmla="*/ 16 h 20"/>
                  <a:gd name="T38" fmla="*/ 8 w 12"/>
                  <a:gd name="T39" fmla="*/ 18 h 20"/>
                  <a:gd name="T40" fmla="*/ 8 w 12"/>
                  <a:gd name="T41" fmla="*/ 18 h 20"/>
                  <a:gd name="T42" fmla="*/ 4 w 12"/>
                  <a:gd name="T43" fmla="*/ 16 h 20"/>
                  <a:gd name="T44" fmla="*/ 4 w 12"/>
                  <a:gd name="T45" fmla="*/ 16 h 20"/>
                  <a:gd name="T46" fmla="*/ 4 w 12"/>
                  <a:gd name="T47" fmla="*/ 16 h 20"/>
                  <a:gd name="T48" fmla="*/ 4 w 12"/>
                  <a:gd name="T49" fmla="*/ 16 h 20"/>
                  <a:gd name="T50" fmla="*/ 4 w 12"/>
                  <a:gd name="T51" fmla="*/ 12 h 20"/>
                  <a:gd name="T52" fmla="*/ 4 w 12"/>
                  <a:gd name="T53" fmla="*/ 12 h 20"/>
                  <a:gd name="T54" fmla="*/ 6 w 12"/>
                  <a:gd name="T55" fmla="*/ 2 h 20"/>
                  <a:gd name="T56" fmla="*/ 6 w 12"/>
                  <a:gd name="T57" fmla="*/ 2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4"/>
                    </a:lnTo>
                    <a:lnTo>
                      <a:pt x="4" y="20"/>
                    </a:lnTo>
                    <a:lnTo>
                      <a:pt x="4" y="20"/>
                    </a:lnTo>
                    <a:lnTo>
                      <a:pt x="4" y="20"/>
                    </a:lnTo>
                    <a:lnTo>
                      <a:pt x="4" y="20"/>
                    </a:lnTo>
                    <a:lnTo>
                      <a:pt x="6" y="20"/>
                    </a:lnTo>
                    <a:lnTo>
                      <a:pt x="6" y="20"/>
                    </a:lnTo>
                    <a:lnTo>
                      <a:pt x="10" y="20"/>
                    </a:lnTo>
                    <a:lnTo>
                      <a:pt x="10" y="20"/>
                    </a:lnTo>
                    <a:lnTo>
                      <a:pt x="12" y="16"/>
                    </a:lnTo>
                    <a:lnTo>
                      <a:pt x="12" y="16"/>
                    </a:lnTo>
                    <a:lnTo>
                      <a:pt x="10" y="16"/>
                    </a:lnTo>
                    <a:lnTo>
                      <a:pt x="10" y="16"/>
                    </a:lnTo>
                    <a:lnTo>
                      <a:pt x="8" y="18"/>
                    </a:lnTo>
                    <a:lnTo>
                      <a:pt x="8" y="18"/>
                    </a:lnTo>
                    <a:lnTo>
                      <a:pt x="4" y="16"/>
                    </a:lnTo>
                    <a:lnTo>
                      <a:pt x="4" y="16"/>
                    </a:lnTo>
                    <a:lnTo>
                      <a:pt x="4" y="16"/>
                    </a:lnTo>
                    <a:lnTo>
                      <a:pt x="4" y="16"/>
                    </a:lnTo>
                    <a:lnTo>
                      <a:pt x="4" y="12"/>
                    </a:lnTo>
                    <a:lnTo>
                      <a:pt x="4"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8" name="Freeform 491"/>
              <p:cNvSpPr>
                <a:spLocks noEditPoints="1"/>
              </p:cNvSpPr>
              <p:nvPr/>
            </p:nvSpPr>
            <p:spPr bwMode="auto">
              <a:xfrm>
                <a:off x="1170" y="1414"/>
                <a:ext cx="8" cy="20"/>
              </a:xfrm>
              <a:custGeom>
                <a:avLst/>
                <a:gdLst>
                  <a:gd name="T0" fmla="*/ 6 w 8"/>
                  <a:gd name="T1" fmla="*/ 20 h 20"/>
                  <a:gd name="T2" fmla="*/ 6 w 8"/>
                  <a:gd name="T3" fmla="*/ 20 h 20"/>
                  <a:gd name="T4" fmla="*/ 2 w 8"/>
                  <a:gd name="T5" fmla="*/ 20 h 20"/>
                  <a:gd name="T6" fmla="*/ 2 w 8"/>
                  <a:gd name="T7" fmla="*/ 20 h 20"/>
                  <a:gd name="T8" fmla="*/ 0 w 8"/>
                  <a:gd name="T9" fmla="*/ 20 h 20"/>
                  <a:gd name="T10" fmla="*/ 0 w 8"/>
                  <a:gd name="T11" fmla="*/ 20 h 20"/>
                  <a:gd name="T12" fmla="*/ 0 w 8"/>
                  <a:gd name="T13" fmla="*/ 20 h 20"/>
                  <a:gd name="T14" fmla="*/ 0 w 8"/>
                  <a:gd name="T15" fmla="*/ 20 h 20"/>
                  <a:gd name="T16" fmla="*/ 0 w 8"/>
                  <a:gd name="T17" fmla="*/ 20 h 20"/>
                  <a:gd name="T18" fmla="*/ 0 w 8"/>
                  <a:gd name="T19" fmla="*/ 20 h 20"/>
                  <a:gd name="T20" fmla="*/ 2 w 8"/>
                  <a:gd name="T21" fmla="*/ 20 h 20"/>
                  <a:gd name="T22" fmla="*/ 2 w 8"/>
                  <a:gd name="T23" fmla="*/ 20 h 20"/>
                  <a:gd name="T24" fmla="*/ 6 w 8"/>
                  <a:gd name="T25" fmla="*/ 20 h 20"/>
                  <a:gd name="T26" fmla="*/ 8 w 8"/>
                  <a:gd name="T27" fmla="*/ 16 h 20"/>
                  <a:gd name="T28" fmla="*/ 8 w 8"/>
                  <a:gd name="T29" fmla="*/ 16 h 20"/>
                  <a:gd name="T30" fmla="*/ 6 w 8"/>
                  <a:gd name="T31" fmla="*/ 16 h 20"/>
                  <a:gd name="T32" fmla="*/ 6 w 8"/>
                  <a:gd name="T33" fmla="*/ 16 h 20"/>
                  <a:gd name="T34" fmla="*/ 8 w 8"/>
                  <a:gd name="T35" fmla="*/ 16 h 20"/>
                  <a:gd name="T36" fmla="*/ 8 w 8"/>
                  <a:gd name="T37" fmla="*/ 16 h 20"/>
                  <a:gd name="T38" fmla="*/ 8 w 8"/>
                  <a:gd name="T39" fmla="*/ 16 h 20"/>
                  <a:gd name="T40" fmla="*/ 2 w 8"/>
                  <a:gd name="T41" fmla="*/ 2 h 20"/>
                  <a:gd name="T42" fmla="*/ 2 w 8"/>
                  <a:gd name="T43" fmla="*/ 2 h 20"/>
                  <a:gd name="T44" fmla="*/ 0 w 8"/>
                  <a:gd name="T45" fmla="*/ 12 h 20"/>
                  <a:gd name="T46" fmla="*/ 0 w 8"/>
                  <a:gd name="T47" fmla="*/ 12 h 20"/>
                  <a:gd name="T48" fmla="*/ 0 w 8"/>
                  <a:gd name="T49" fmla="*/ 16 h 20"/>
                  <a:gd name="T50" fmla="*/ 0 w 8"/>
                  <a:gd name="T51" fmla="*/ 16 h 20"/>
                  <a:gd name="T52" fmla="*/ 0 w 8"/>
                  <a:gd name="T53" fmla="*/ 16 h 20"/>
                  <a:gd name="T54" fmla="*/ 0 w 8"/>
                  <a:gd name="T55" fmla="*/ 16 h 20"/>
                  <a:gd name="T56" fmla="*/ 0 w 8"/>
                  <a:gd name="T57" fmla="*/ 16 h 20"/>
                  <a:gd name="T58" fmla="*/ 0 w 8"/>
                  <a:gd name="T59" fmla="*/ 16 h 20"/>
                  <a:gd name="T60" fmla="*/ 0 w 8"/>
                  <a:gd name="T61" fmla="*/ 12 h 20"/>
                  <a:gd name="T62" fmla="*/ 0 w 8"/>
                  <a:gd name="T63" fmla="*/ 12 h 20"/>
                  <a:gd name="T64" fmla="*/ 2 w 8"/>
                  <a:gd name="T65" fmla="*/ 2 h 20"/>
                  <a:gd name="T66" fmla="*/ 2 w 8"/>
                  <a:gd name="T67" fmla="*/ 0 h 20"/>
                  <a:gd name="T68" fmla="*/ 2 w 8"/>
                  <a:gd name="T69" fmla="*/ 0 h 20"/>
                  <a:gd name="T70" fmla="*/ 2 w 8"/>
                  <a:gd name="T71" fmla="*/ 0 h 20"/>
                  <a:gd name="T72" fmla="*/ 2 w 8"/>
                  <a:gd name="T73" fmla="*/ 0 h 20"/>
                  <a:gd name="T74" fmla="*/ 2 w 8"/>
                  <a:gd name="T75" fmla="*/ 0 h 20"/>
                  <a:gd name="T76" fmla="*/ 2 w 8"/>
                  <a:gd name="T77" fmla="*/ 0 h 20"/>
                  <a:gd name="T78" fmla="*/ 2 w 8"/>
                  <a:gd name="T79" fmla="*/ 0 h 20"/>
                  <a:gd name="T80" fmla="*/ 2 w 8"/>
                  <a:gd name="T81" fmla="*/ 0 h 20"/>
                  <a:gd name="T82" fmla="*/ 2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20"/>
                    </a:moveTo>
                    <a:lnTo>
                      <a:pt x="6" y="20"/>
                    </a:lnTo>
                    <a:lnTo>
                      <a:pt x="2" y="20"/>
                    </a:lnTo>
                    <a:lnTo>
                      <a:pt x="2" y="20"/>
                    </a:lnTo>
                    <a:lnTo>
                      <a:pt x="0" y="20"/>
                    </a:lnTo>
                    <a:lnTo>
                      <a:pt x="0" y="20"/>
                    </a:lnTo>
                    <a:lnTo>
                      <a:pt x="0" y="20"/>
                    </a:lnTo>
                    <a:lnTo>
                      <a:pt x="0" y="20"/>
                    </a:lnTo>
                    <a:lnTo>
                      <a:pt x="0" y="20"/>
                    </a:lnTo>
                    <a:lnTo>
                      <a:pt x="0" y="20"/>
                    </a:lnTo>
                    <a:lnTo>
                      <a:pt x="2" y="20"/>
                    </a:lnTo>
                    <a:lnTo>
                      <a:pt x="2" y="20"/>
                    </a:lnTo>
                    <a:lnTo>
                      <a:pt x="6" y="20"/>
                    </a:lnTo>
                    <a:close/>
                    <a:moveTo>
                      <a:pt x="8" y="16"/>
                    </a:moveTo>
                    <a:lnTo>
                      <a:pt x="8" y="16"/>
                    </a:lnTo>
                    <a:lnTo>
                      <a:pt x="6" y="16"/>
                    </a:lnTo>
                    <a:lnTo>
                      <a:pt x="6" y="16"/>
                    </a:lnTo>
                    <a:lnTo>
                      <a:pt x="8" y="16"/>
                    </a:lnTo>
                    <a:lnTo>
                      <a:pt x="8" y="16"/>
                    </a:lnTo>
                    <a:lnTo>
                      <a:pt x="8" y="16"/>
                    </a:lnTo>
                    <a:close/>
                    <a:moveTo>
                      <a:pt x="2" y="2"/>
                    </a:moveTo>
                    <a:lnTo>
                      <a:pt x="2" y="2"/>
                    </a:lnTo>
                    <a:lnTo>
                      <a:pt x="0" y="12"/>
                    </a:lnTo>
                    <a:lnTo>
                      <a:pt x="0" y="12"/>
                    </a:lnTo>
                    <a:lnTo>
                      <a:pt x="0" y="16"/>
                    </a:lnTo>
                    <a:lnTo>
                      <a:pt x="0" y="16"/>
                    </a:lnTo>
                    <a:lnTo>
                      <a:pt x="0" y="16"/>
                    </a:lnTo>
                    <a:lnTo>
                      <a:pt x="0" y="16"/>
                    </a:lnTo>
                    <a:lnTo>
                      <a:pt x="0" y="16"/>
                    </a:lnTo>
                    <a:lnTo>
                      <a:pt x="0" y="16"/>
                    </a:lnTo>
                    <a:lnTo>
                      <a:pt x="0" y="12"/>
                    </a:lnTo>
                    <a:lnTo>
                      <a:pt x="0" y="12"/>
                    </a:lnTo>
                    <a:lnTo>
                      <a:pt x="2" y="2"/>
                    </a:lnTo>
                    <a:close/>
                    <a:moveTo>
                      <a:pt x="2" y="0"/>
                    </a:moveTo>
                    <a:lnTo>
                      <a:pt x="2" y="0"/>
                    </a:lnTo>
                    <a:lnTo>
                      <a:pt x="2" y="0"/>
                    </a:lnTo>
                    <a:lnTo>
                      <a:pt x="2" y="0"/>
                    </a:lnTo>
                    <a:lnTo>
                      <a:pt x="2" y="0"/>
                    </a:lnTo>
                    <a:lnTo>
                      <a:pt x="2" y="0"/>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79" name="Freeform 492"/>
              <p:cNvSpPr>
                <a:spLocks/>
              </p:cNvSpPr>
              <p:nvPr/>
            </p:nvSpPr>
            <p:spPr bwMode="auto">
              <a:xfrm>
                <a:off x="1170" y="1434"/>
                <a:ext cx="6" cy="0"/>
              </a:xfrm>
              <a:custGeom>
                <a:avLst/>
                <a:gdLst>
                  <a:gd name="T0" fmla="*/ 6 w 6"/>
                  <a:gd name="T1" fmla="*/ 6 w 6"/>
                  <a:gd name="T2" fmla="*/ 2 w 6"/>
                  <a:gd name="T3" fmla="*/ 2 w 6"/>
                  <a:gd name="T4" fmla="*/ 0 w 6"/>
                  <a:gd name="T5" fmla="*/ 0 w 6"/>
                  <a:gd name="T6" fmla="*/ 0 w 6"/>
                  <a:gd name="T7" fmla="*/ 0 w 6"/>
                  <a:gd name="T8" fmla="*/ 0 w 6"/>
                  <a:gd name="T9" fmla="*/ 0 w 6"/>
                  <a:gd name="T10" fmla="*/ 2 w 6"/>
                  <a:gd name="T11" fmla="*/ 2 w 6"/>
                  <a:gd name="T12"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6">
                    <a:moveTo>
                      <a:pt x="6" y="0"/>
                    </a:moveTo>
                    <a:lnTo>
                      <a:pt x="6" y="0"/>
                    </a:lnTo>
                    <a:lnTo>
                      <a:pt x="2" y="0"/>
                    </a:lnTo>
                    <a:lnTo>
                      <a:pt x="2" y="0"/>
                    </a:lnTo>
                    <a:lnTo>
                      <a:pt x="0" y="0"/>
                    </a:lnTo>
                    <a:lnTo>
                      <a:pt x="0" y="0"/>
                    </a:lnTo>
                    <a:lnTo>
                      <a:pt x="0" y="0"/>
                    </a:lnTo>
                    <a:lnTo>
                      <a:pt x="0" y="0"/>
                    </a:lnTo>
                    <a:lnTo>
                      <a:pt x="0" y="0"/>
                    </a:lnTo>
                    <a:lnTo>
                      <a:pt x="0" y="0"/>
                    </a:lnTo>
                    <a:lnTo>
                      <a:pt x="2" y="0"/>
                    </a:lnTo>
                    <a:lnTo>
                      <a:pt x="2"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0" name="Freeform 493"/>
              <p:cNvSpPr>
                <a:spLocks/>
              </p:cNvSpPr>
              <p:nvPr/>
            </p:nvSpPr>
            <p:spPr bwMode="auto">
              <a:xfrm>
                <a:off x="1176" y="1430"/>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1" name="Freeform 494"/>
              <p:cNvSpPr>
                <a:spLocks/>
              </p:cNvSpPr>
              <p:nvPr/>
            </p:nvSpPr>
            <p:spPr bwMode="auto">
              <a:xfrm>
                <a:off x="1170" y="1416"/>
                <a:ext cx="2" cy="14"/>
              </a:xfrm>
              <a:custGeom>
                <a:avLst/>
                <a:gdLst>
                  <a:gd name="T0" fmla="*/ 2 w 2"/>
                  <a:gd name="T1" fmla="*/ 0 h 14"/>
                  <a:gd name="T2" fmla="*/ 2 w 2"/>
                  <a:gd name="T3" fmla="*/ 0 h 14"/>
                  <a:gd name="T4" fmla="*/ 0 w 2"/>
                  <a:gd name="T5" fmla="*/ 10 h 14"/>
                  <a:gd name="T6" fmla="*/ 0 w 2"/>
                  <a:gd name="T7" fmla="*/ 10 h 14"/>
                  <a:gd name="T8" fmla="*/ 0 w 2"/>
                  <a:gd name="T9" fmla="*/ 14 h 14"/>
                  <a:gd name="T10" fmla="*/ 0 w 2"/>
                  <a:gd name="T11" fmla="*/ 14 h 14"/>
                  <a:gd name="T12" fmla="*/ 0 w 2"/>
                  <a:gd name="T13" fmla="*/ 14 h 14"/>
                  <a:gd name="T14" fmla="*/ 0 w 2"/>
                  <a:gd name="T15" fmla="*/ 14 h 14"/>
                  <a:gd name="T16" fmla="*/ 0 w 2"/>
                  <a:gd name="T17" fmla="*/ 14 h 14"/>
                  <a:gd name="T18" fmla="*/ 0 w 2"/>
                  <a:gd name="T19" fmla="*/ 14 h 14"/>
                  <a:gd name="T20" fmla="*/ 0 w 2"/>
                  <a:gd name="T21" fmla="*/ 10 h 14"/>
                  <a:gd name="T22" fmla="*/ 0 w 2"/>
                  <a:gd name="T23" fmla="*/ 10 h 14"/>
                  <a:gd name="T24" fmla="*/ 2 w 2"/>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4">
                    <a:moveTo>
                      <a:pt x="2" y="0"/>
                    </a:moveTo>
                    <a:lnTo>
                      <a:pt x="2" y="0"/>
                    </a:lnTo>
                    <a:lnTo>
                      <a:pt x="0" y="10"/>
                    </a:lnTo>
                    <a:lnTo>
                      <a:pt x="0" y="10"/>
                    </a:lnTo>
                    <a:lnTo>
                      <a:pt x="0" y="14"/>
                    </a:lnTo>
                    <a:lnTo>
                      <a:pt x="0" y="14"/>
                    </a:lnTo>
                    <a:lnTo>
                      <a:pt x="0" y="14"/>
                    </a:lnTo>
                    <a:lnTo>
                      <a:pt x="0" y="14"/>
                    </a:lnTo>
                    <a:lnTo>
                      <a:pt x="0" y="14"/>
                    </a:lnTo>
                    <a:lnTo>
                      <a:pt x="0"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2" name="Freeform 495"/>
              <p:cNvSpPr>
                <a:spLocks/>
              </p:cNvSpPr>
              <p:nvPr/>
            </p:nvSpPr>
            <p:spPr bwMode="auto">
              <a:xfrm>
                <a:off x="1172" y="141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3" name="Freeform 496"/>
              <p:cNvSpPr>
                <a:spLocks noEditPoints="1"/>
              </p:cNvSpPr>
              <p:nvPr/>
            </p:nvSpPr>
            <p:spPr bwMode="auto">
              <a:xfrm>
                <a:off x="1280" y="1404"/>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6 w 20"/>
                  <a:gd name="T35" fmla="*/ 4 h 14"/>
                  <a:gd name="T36" fmla="*/ 0 w 20"/>
                  <a:gd name="T37" fmla="*/ 10 h 14"/>
                  <a:gd name="T38" fmla="*/ 0 w 20"/>
                  <a:gd name="T39" fmla="*/ 10 h 14"/>
                  <a:gd name="T40" fmla="*/ 4 w 20"/>
                  <a:gd name="T41" fmla="*/ 8 h 14"/>
                  <a:gd name="T42" fmla="*/ 4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6" y="10"/>
                    </a:lnTo>
                    <a:lnTo>
                      <a:pt x="6" y="10"/>
                    </a:lnTo>
                    <a:lnTo>
                      <a:pt x="6" y="8"/>
                    </a:lnTo>
                    <a:close/>
                    <a:moveTo>
                      <a:pt x="14" y="0"/>
                    </a:moveTo>
                    <a:lnTo>
                      <a:pt x="14" y="0"/>
                    </a:lnTo>
                    <a:lnTo>
                      <a:pt x="6" y="4"/>
                    </a:lnTo>
                    <a:lnTo>
                      <a:pt x="0" y="10"/>
                    </a:lnTo>
                    <a:lnTo>
                      <a:pt x="0" y="10"/>
                    </a:lnTo>
                    <a:lnTo>
                      <a:pt x="4" y="8"/>
                    </a:lnTo>
                    <a:lnTo>
                      <a:pt x="4" y="8"/>
                    </a:lnTo>
                    <a:lnTo>
                      <a:pt x="6" y="14"/>
                    </a:lnTo>
                    <a:lnTo>
                      <a:pt x="6"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4" name="Freeform 497"/>
              <p:cNvSpPr>
                <a:spLocks/>
              </p:cNvSpPr>
              <p:nvPr/>
            </p:nvSpPr>
            <p:spPr bwMode="auto">
              <a:xfrm>
                <a:off x="1286" y="1410"/>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0 w 6"/>
                  <a:gd name="T21" fmla="*/ 6 h 6"/>
                  <a:gd name="T22" fmla="*/ 0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0" y="6"/>
                    </a:lnTo>
                    <a:lnTo>
                      <a:pt x="0"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5" name="Freeform 498"/>
              <p:cNvSpPr>
                <a:spLocks/>
              </p:cNvSpPr>
              <p:nvPr/>
            </p:nvSpPr>
            <p:spPr bwMode="auto">
              <a:xfrm>
                <a:off x="1280" y="1404"/>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6" name="Freeform 499"/>
              <p:cNvSpPr>
                <a:spLocks/>
              </p:cNvSpPr>
              <p:nvPr/>
            </p:nvSpPr>
            <p:spPr bwMode="auto">
              <a:xfrm>
                <a:off x="1234" y="1394"/>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2 h 18"/>
                  <a:gd name="T22" fmla="*/ 8 w 22"/>
                  <a:gd name="T23" fmla="*/ 12 h 18"/>
                  <a:gd name="T24" fmla="*/ 14 w 22"/>
                  <a:gd name="T25" fmla="*/ 4 h 18"/>
                  <a:gd name="T26" fmla="*/ 16 w 22"/>
                  <a:gd name="T27" fmla="*/ 2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7" name="Freeform 500"/>
              <p:cNvSpPr>
                <a:spLocks/>
              </p:cNvSpPr>
              <p:nvPr/>
            </p:nvSpPr>
            <p:spPr bwMode="auto">
              <a:xfrm>
                <a:off x="1234" y="1394"/>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2 h 18"/>
                  <a:gd name="T22" fmla="*/ 8 w 22"/>
                  <a:gd name="T23" fmla="*/ 12 h 18"/>
                  <a:gd name="T24" fmla="*/ 14 w 22"/>
                  <a:gd name="T25" fmla="*/ 4 h 18"/>
                  <a:gd name="T26" fmla="*/ 16 w 22"/>
                  <a:gd name="T27" fmla="*/ 2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8" name="Freeform 501"/>
              <p:cNvSpPr>
                <a:spLocks/>
              </p:cNvSpPr>
              <p:nvPr/>
            </p:nvSpPr>
            <p:spPr bwMode="auto">
              <a:xfrm>
                <a:off x="1330" y="13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89" name="Freeform 502"/>
              <p:cNvSpPr>
                <a:spLocks/>
              </p:cNvSpPr>
              <p:nvPr/>
            </p:nvSpPr>
            <p:spPr bwMode="auto">
              <a:xfrm>
                <a:off x="1330" y="13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0" name="Freeform 503"/>
              <p:cNvSpPr>
                <a:spLocks/>
              </p:cNvSpPr>
              <p:nvPr/>
            </p:nvSpPr>
            <p:spPr bwMode="auto">
              <a:xfrm>
                <a:off x="1274" y="1394"/>
                <a:ext cx="8" cy="8"/>
              </a:xfrm>
              <a:custGeom>
                <a:avLst/>
                <a:gdLst>
                  <a:gd name="T0" fmla="*/ 8 w 8"/>
                  <a:gd name="T1" fmla="*/ 0 h 8"/>
                  <a:gd name="T2" fmla="*/ 8 w 8"/>
                  <a:gd name="T3" fmla="*/ 0 h 8"/>
                  <a:gd name="T4" fmla="*/ 2 w 8"/>
                  <a:gd name="T5" fmla="*/ 2 h 8"/>
                  <a:gd name="T6" fmla="*/ 0 w 8"/>
                  <a:gd name="T7" fmla="*/ 4 h 8"/>
                  <a:gd name="T8" fmla="*/ 2 w 8"/>
                  <a:gd name="T9" fmla="*/ 8 h 8"/>
                  <a:gd name="T10" fmla="*/ 2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2"/>
                    </a:lnTo>
                    <a:lnTo>
                      <a:pt x="0" y="4"/>
                    </a:lnTo>
                    <a:lnTo>
                      <a:pt x="2" y="8"/>
                    </a:lnTo>
                    <a:lnTo>
                      <a:pt x="2"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1" name="Freeform 504"/>
              <p:cNvSpPr>
                <a:spLocks/>
              </p:cNvSpPr>
              <p:nvPr/>
            </p:nvSpPr>
            <p:spPr bwMode="auto">
              <a:xfrm>
                <a:off x="1274" y="1394"/>
                <a:ext cx="8" cy="8"/>
              </a:xfrm>
              <a:custGeom>
                <a:avLst/>
                <a:gdLst>
                  <a:gd name="T0" fmla="*/ 8 w 8"/>
                  <a:gd name="T1" fmla="*/ 0 h 8"/>
                  <a:gd name="T2" fmla="*/ 8 w 8"/>
                  <a:gd name="T3" fmla="*/ 0 h 8"/>
                  <a:gd name="T4" fmla="*/ 2 w 8"/>
                  <a:gd name="T5" fmla="*/ 2 h 8"/>
                  <a:gd name="T6" fmla="*/ 0 w 8"/>
                  <a:gd name="T7" fmla="*/ 4 h 8"/>
                  <a:gd name="T8" fmla="*/ 2 w 8"/>
                  <a:gd name="T9" fmla="*/ 8 h 8"/>
                  <a:gd name="T10" fmla="*/ 2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2"/>
                    </a:lnTo>
                    <a:lnTo>
                      <a:pt x="0" y="4"/>
                    </a:lnTo>
                    <a:lnTo>
                      <a:pt x="2" y="8"/>
                    </a:lnTo>
                    <a:lnTo>
                      <a:pt x="2"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2" name="Freeform 505"/>
              <p:cNvSpPr>
                <a:spLocks/>
              </p:cNvSpPr>
              <p:nvPr/>
            </p:nvSpPr>
            <p:spPr bwMode="auto">
              <a:xfrm>
                <a:off x="1288"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3" name="Freeform 506"/>
              <p:cNvSpPr>
                <a:spLocks/>
              </p:cNvSpPr>
              <p:nvPr/>
            </p:nvSpPr>
            <p:spPr bwMode="auto">
              <a:xfrm>
                <a:off x="1288"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4" name="Freeform 507"/>
              <p:cNvSpPr>
                <a:spLocks/>
              </p:cNvSpPr>
              <p:nvPr/>
            </p:nvSpPr>
            <p:spPr bwMode="auto">
              <a:xfrm>
                <a:off x="1286"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5" name="Freeform 508"/>
              <p:cNvSpPr>
                <a:spLocks/>
              </p:cNvSpPr>
              <p:nvPr/>
            </p:nvSpPr>
            <p:spPr bwMode="auto">
              <a:xfrm>
                <a:off x="1286"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6" name="Freeform 509"/>
              <p:cNvSpPr>
                <a:spLocks/>
              </p:cNvSpPr>
              <p:nvPr/>
            </p:nvSpPr>
            <p:spPr bwMode="auto">
              <a:xfrm>
                <a:off x="1286"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7" name="Freeform 510"/>
              <p:cNvSpPr>
                <a:spLocks/>
              </p:cNvSpPr>
              <p:nvPr/>
            </p:nvSpPr>
            <p:spPr bwMode="auto">
              <a:xfrm>
                <a:off x="1286"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8" name="Freeform 511"/>
              <p:cNvSpPr>
                <a:spLocks/>
              </p:cNvSpPr>
              <p:nvPr/>
            </p:nvSpPr>
            <p:spPr bwMode="auto">
              <a:xfrm>
                <a:off x="252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499" name="Freeform 512"/>
              <p:cNvSpPr>
                <a:spLocks/>
              </p:cNvSpPr>
              <p:nvPr/>
            </p:nvSpPr>
            <p:spPr bwMode="auto">
              <a:xfrm>
                <a:off x="261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0" name="Freeform 513"/>
              <p:cNvSpPr>
                <a:spLocks/>
              </p:cNvSpPr>
              <p:nvPr/>
            </p:nvSpPr>
            <p:spPr bwMode="auto">
              <a:xfrm>
                <a:off x="2706"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1" name="Freeform 514"/>
              <p:cNvSpPr>
                <a:spLocks/>
              </p:cNvSpPr>
              <p:nvPr/>
            </p:nvSpPr>
            <p:spPr bwMode="auto">
              <a:xfrm>
                <a:off x="311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2" name="Freeform 515"/>
              <p:cNvSpPr>
                <a:spLocks/>
              </p:cNvSpPr>
              <p:nvPr/>
            </p:nvSpPr>
            <p:spPr bwMode="auto">
              <a:xfrm>
                <a:off x="321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3" name="Freeform 516"/>
              <p:cNvSpPr>
                <a:spLocks/>
              </p:cNvSpPr>
              <p:nvPr/>
            </p:nvSpPr>
            <p:spPr bwMode="auto">
              <a:xfrm>
                <a:off x="330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4" name="Freeform 517"/>
              <p:cNvSpPr>
                <a:spLocks/>
              </p:cNvSpPr>
              <p:nvPr/>
            </p:nvSpPr>
            <p:spPr bwMode="auto">
              <a:xfrm>
                <a:off x="339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5" name="Freeform 518"/>
              <p:cNvSpPr>
                <a:spLocks/>
              </p:cNvSpPr>
              <p:nvPr/>
            </p:nvSpPr>
            <p:spPr bwMode="auto">
              <a:xfrm>
                <a:off x="363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6" name="Freeform 519"/>
              <p:cNvSpPr>
                <a:spLocks/>
              </p:cNvSpPr>
              <p:nvPr/>
            </p:nvSpPr>
            <p:spPr bwMode="auto">
              <a:xfrm>
                <a:off x="372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7" name="Freeform 520"/>
              <p:cNvSpPr>
                <a:spLocks/>
              </p:cNvSpPr>
              <p:nvPr/>
            </p:nvSpPr>
            <p:spPr bwMode="auto">
              <a:xfrm>
                <a:off x="348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8" name="Freeform 521"/>
              <p:cNvSpPr>
                <a:spLocks/>
              </p:cNvSpPr>
              <p:nvPr/>
            </p:nvSpPr>
            <p:spPr bwMode="auto">
              <a:xfrm>
                <a:off x="348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09" name="Freeform 522"/>
              <p:cNvSpPr>
                <a:spLocks/>
              </p:cNvSpPr>
              <p:nvPr/>
            </p:nvSpPr>
            <p:spPr bwMode="auto">
              <a:xfrm>
                <a:off x="354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0" name="Freeform 523"/>
              <p:cNvSpPr>
                <a:spLocks/>
              </p:cNvSpPr>
              <p:nvPr/>
            </p:nvSpPr>
            <p:spPr bwMode="auto">
              <a:xfrm>
                <a:off x="354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1" name="Freeform 524"/>
              <p:cNvSpPr>
                <a:spLocks noEditPoints="1"/>
              </p:cNvSpPr>
              <p:nvPr/>
            </p:nvSpPr>
            <p:spPr bwMode="auto">
              <a:xfrm>
                <a:off x="2340"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2" name="Freeform 525"/>
              <p:cNvSpPr>
                <a:spLocks noEditPoints="1"/>
              </p:cNvSpPr>
              <p:nvPr/>
            </p:nvSpPr>
            <p:spPr bwMode="auto">
              <a:xfrm>
                <a:off x="2480" y="1158"/>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3" name="Freeform 526"/>
              <p:cNvSpPr>
                <a:spLocks noEditPoints="1"/>
              </p:cNvSpPr>
              <p:nvPr/>
            </p:nvSpPr>
            <p:spPr bwMode="auto">
              <a:xfrm>
                <a:off x="2890" y="1178"/>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4" name="Freeform 527"/>
              <p:cNvSpPr>
                <a:spLocks/>
              </p:cNvSpPr>
              <p:nvPr/>
            </p:nvSpPr>
            <p:spPr bwMode="auto">
              <a:xfrm>
                <a:off x="302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5" name="Freeform 528"/>
              <p:cNvSpPr>
                <a:spLocks/>
              </p:cNvSpPr>
              <p:nvPr/>
            </p:nvSpPr>
            <p:spPr bwMode="auto">
              <a:xfrm>
                <a:off x="2616"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6" name="Freeform 529"/>
              <p:cNvSpPr>
                <a:spLocks/>
              </p:cNvSpPr>
              <p:nvPr/>
            </p:nvSpPr>
            <p:spPr bwMode="auto">
              <a:xfrm>
                <a:off x="270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7" name="Freeform 530"/>
              <p:cNvSpPr>
                <a:spLocks/>
              </p:cNvSpPr>
              <p:nvPr/>
            </p:nvSpPr>
            <p:spPr bwMode="auto">
              <a:xfrm>
                <a:off x="2800"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8" name="Freeform 531"/>
              <p:cNvSpPr>
                <a:spLocks/>
              </p:cNvSpPr>
              <p:nvPr/>
            </p:nvSpPr>
            <p:spPr bwMode="auto">
              <a:xfrm>
                <a:off x="362"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19" name="Freeform 532"/>
              <p:cNvSpPr>
                <a:spLocks/>
              </p:cNvSpPr>
              <p:nvPr/>
            </p:nvSpPr>
            <p:spPr bwMode="auto">
              <a:xfrm>
                <a:off x="454"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0" name="Freeform 533"/>
              <p:cNvSpPr>
                <a:spLocks/>
              </p:cNvSpPr>
              <p:nvPr/>
            </p:nvSpPr>
            <p:spPr bwMode="auto">
              <a:xfrm>
                <a:off x="546"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1" name="Freeform 534"/>
              <p:cNvSpPr>
                <a:spLocks/>
              </p:cNvSpPr>
              <p:nvPr/>
            </p:nvSpPr>
            <p:spPr bwMode="auto">
              <a:xfrm>
                <a:off x="864"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2" name="Freeform 535"/>
              <p:cNvSpPr>
                <a:spLocks/>
              </p:cNvSpPr>
              <p:nvPr/>
            </p:nvSpPr>
            <p:spPr bwMode="auto">
              <a:xfrm>
                <a:off x="864"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3" name="Freeform 536"/>
              <p:cNvSpPr>
                <a:spLocks/>
              </p:cNvSpPr>
              <p:nvPr/>
            </p:nvSpPr>
            <p:spPr bwMode="auto">
              <a:xfrm>
                <a:off x="924"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4" name="Freeform 537"/>
              <p:cNvSpPr>
                <a:spLocks/>
              </p:cNvSpPr>
              <p:nvPr/>
            </p:nvSpPr>
            <p:spPr bwMode="auto">
              <a:xfrm>
                <a:off x="924"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5" name="Freeform 538"/>
              <p:cNvSpPr>
                <a:spLocks/>
              </p:cNvSpPr>
              <p:nvPr/>
            </p:nvSpPr>
            <p:spPr bwMode="auto">
              <a:xfrm>
                <a:off x="1010"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6" name="Freeform 539"/>
              <p:cNvSpPr>
                <a:spLocks/>
              </p:cNvSpPr>
              <p:nvPr/>
            </p:nvSpPr>
            <p:spPr bwMode="auto">
              <a:xfrm>
                <a:off x="110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7" name="Freeform 540"/>
              <p:cNvSpPr>
                <a:spLocks/>
              </p:cNvSpPr>
              <p:nvPr/>
            </p:nvSpPr>
            <p:spPr bwMode="auto">
              <a:xfrm>
                <a:off x="119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8" name="Freeform 541"/>
              <p:cNvSpPr>
                <a:spLocks noEditPoints="1"/>
              </p:cNvSpPr>
              <p:nvPr/>
            </p:nvSpPr>
            <p:spPr bwMode="auto">
              <a:xfrm>
                <a:off x="636" y="1160"/>
                <a:ext cx="188" cy="144"/>
              </a:xfrm>
              <a:custGeom>
                <a:avLst/>
                <a:gdLst>
                  <a:gd name="T0" fmla="*/ 118 w 188"/>
                  <a:gd name="T1" fmla="*/ 104 h 144"/>
                  <a:gd name="T2" fmla="*/ 120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4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80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50 w 188"/>
                  <a:gd name="T69" fmla="*/ 86 h 144"/>
                  <a:gd name="T70" fmla="*/ 72 w 188"/>
                  <a:gd name="T71" fmla="*/ 96 h 144"/>
                  <a:gd name="T72" fmla="*/ 98 w 188"/>
                  <a:gd name="T73" fmla="*/ 72 h 144"/>
                  <a:gd name="T74" fmla="*/ 92 w 188"/>
                  <a:gd name="T75" fmla="*/ 80 h 144"/>
                  <a:gd name="T76" fmla="*/ 64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2 w 188"/>
                  <a:gd name="T113" fmla="*/ 102 h 144"/>
                  <a:gd name="T114" fmla="*/ 154 w 188"/>
                  <a:gd name="T115" fmla="*/ 90 h 144"/>
                  <a:gd name="T116" fmla="*/ 188 w 188"/>
                  <a:gd name="T117" fmla="*/ 58 h 144"/>
                  <a:gd name="T118" fmla="*/ 178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20" y="130"/>
                    </a:lnTo>
                    <a:lnTo>
                      <a:pt x="120"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8" y="104"/>
                    </a:lnTo>
                    <a:lnTo>
                      <a:pt x="8"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4" y="54"/>
                    </a:lnTo>
                    <a:lnTo>
                      <a:pt x="4" y="54"/>
                    </a:lnTo>
                    <a:lnTo>
                      <a:pt x="4" y="54"/>
                    </a:lnTo>
                    <a:lnTo>
                      <a:pt x="4" y="54"/>
                    </a:lnTo>
                    <a:lnTo>
                      <a:pt x="8" y="48"/>
                    </a:lnTo>
                    <a:lnTo>
                      <a:pt x="8" y="48"/>
                    </a:lnTo>
                    <a:lnTo>
                      <a:pt x="10" y="48"/>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0"/>
                    </a:lnTo>
                    <a:lnTo>
                      <a:pt x="154" y="40"/>
                    </a:lnTo>
                    <a:lnTo>
                      <a:pt x="156" y="40"/>
                    </a:lnTo>
                    <a:lnTo>
                      <a:pt x="156" y="40"/>
                    </a:lnTo>
                    <a:lnTo>
                      <a:pt x="160" y="42"/>
                    </a:lnTo>
                    <a:lnTo>
                      <a:pt x="160"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60" y="60"/>
                    </a:lnTo>
                    <a:lnTo>
                      <a:pt x="160"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6" y="90"/>
                    </a:lnTo>
                    <a:lnTo>
                      <a:pt x="146"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6" y="96"/>
                    </a:lnTo>
                    <a:lnTo>
                      <a:pt x="116"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70" y="128"/>
                    </a:lnTo>
                    <a:lnTo>
                      <a:pt x="70" y="128"/>
                    </a:lnTo>
                    <a:lnTo>
                      <a:pt x="68" y="124"/>
                    </a:lnTo>
                    <a:lnTo>
                      <a:pt x="72" y="122"/>
                    </a:lnTo>
                    <a:lnTo>
                      <a:pt x="72" y="122"/>
                    </a:lnTo>
                    <a:lnTo>
                      <a:pt x="80" y="118"/>
                    </a:lnTo>
                    <a:lnTo>
                      <a:pt x="80" y="118"/>
                    </a:lnTo>
                    <a:lnTo>
                      <a:pt x="80" y="108"/>
                    </a:lnTo>
                    <a:lnTo>
                      <a:pt x="80"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4" y="122"/>
                    </a:lnTo>
                    <a:lnTo>
                      <a:pt x="50" y="130"/>
                    </a:lnTo>
                    <a:lnTo>
                      <a:pt x="50" y="130"/>
                    </a:lnTo>
                    <a:lnTo>
                      <a:pt x="48" y="132"/>
                    </a:lnTo>
                    <a:lnTo>
                      <a:pt x="48" y="136"/>
                    </a:lnTo>
                    <a:lnTo>
                      <a:pt x="48" y="136"/>
                    </a:lnTo>
                    <a:lnTo>
                      <a:pt x="46" y="138"/>
                    </a:lnTo>
                    <a:lnTo>
                      <a:pt x="44" y="138"/>
                    </a:lnTo>
                    <a:lnTo>
                      <a:pt x="44" y="138"/>
                    </a:lnTo>
                    <a:lnTo>
                      <a:pt x="28" y="136"/>
                    </a:lnTo>
                    <a:lnTo>
                      <a:pt x="28" y="136"/>
                    </a:lnTo>
                    <a:lnTo>
                      <a:pt x="26" y="134"/>
                    </a:lnTo>
                    <a:lnTo>
                      <a:pt x="26" y="130"/>
                    </a:lnTo>
                    <a:lnTo>
                      <a:pt x="26" y="130"/>
                    </a:lnTo>
                    <a:lnTo>
                      <a:pt x="26" y="126"/>
                    </a:lnTo>
                    <a:lnTo>
                      <a:pt x="28" y="120"/>
                    </a:lnTo>
                    <a:lnTo>
                      <a:pt x="28" y="120"/>
                    </a:lnTo>
                    <a:lnTo>
                      <a:pt x="28" y="118"/>
                    </a:lnTo>
                    <a:lnTo>
                      <a:pt x="26" y="114"/>
                    </a:lnTo>
                    <a:lnTo>
                      <a:pt x="26" y="114"/>
                    </a:lnTo>
                    <a:lnTo>
                      <a:pt x="22" y="106"/>
                    </a:lnTo>
                    <a:lnTo>
                      <a:pt x="18" y="96"/>
                    </a:lnTo>
                    <a:lnTo>
                      <a:pt x="16" y="88"/>
                    </a:lnTo>
                    <a:lnTo>
                      <a:pt x="16" y="78"/>
                    </a:lnTo>
                    <a:lnTo>
                      <a:pt x="16" y="78"/>
                    </a:lnTo>
                    <a:lnTo>
                      <a:pt x="16" y="68"/>
                    </a:lnTo>
                    <a:lnTo>
                      <a:pt x="20" y="60"/>
                    </a:lnTo>
                    <a:lnTo>
                      <a:pt x="24" y="52"/>
                    </a:lnTo>
                    <a:lnTo>
                      <a:pt x="30" y="46"/>
                    </a:lnTo>
                    <a:lnTo>
                      <a:pt x="30" y="46"/>
                    </a:lnTo>
                    <a:lnTo>
                      <a:pt x="42" y="38"/>
                    </a:lnTo>
                    <a:lnTo>
                      <a:pt x="56" y="34"/>
                    </a:lnTo>
                    <a:lnTo>
                      <a:pt x="56"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50" y="86"/>
                    </a:lnTo>
                    <a:lnTo>
                      <a:pt x="50" y="86"/>
                    </a:lnTo>
                    <a:lnTo>
                      <a:pt x="50" y="90"/>
                    </a:lnTo>
                    <a:lnTo>
                      <a:pt x="50" y="90"/>
                    </a:lnTo>
                    <a:lnTo>
                      <a:pt x="56" y="96"/>
                    </a:lnTo>
                    <a:lnTo>
                      <a:pt x="64" y="98"/>
                    </a:lnTo>
                    <a:lnTo>
                      <a:pt x="64" y="98"/>
                    </a:lnTo>
                    <a:lnTo>
                      <a:pt x="68" y="98"/>
                    </a:lnTo>
                    <a:lnTo>
                      <a:pt x="72" y="96"/>
                    </a:lnTo>
                    <a:lnTo>
                      <a:pt x="72" y="96"/>
                    </a:lnTo>
                    <a:lnTo>
                      <a:pt x="82" y="90"/>
                    </a:lnTo>
                    <a:lnTo>
                      <a:pt x="92" y="88"/>
                    </a:lnTo>
                    <a:lnTo>
                      <a:pt x="92" y="88"/>
                    </a:lnTo>
                    <a:lnTo>
                      <a:pt x="96" y="84"/>
                    </a:lnTo>
                    <a:lnTo>
                      <a:pt x="96"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4" y="94"/>
                    </a:lnTo>
                    <a:lnTo>
                      <a:pt x="64"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6" y="66"/>
                    </a:lnTo>
                    <a:lnTo>
                      <a:pt x="46"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4" y="0"/>
                    </a:moveTo>
                    <a:lnTo>
                      <a:pt x="114" y="0"/>
                    </a:lnTo>
                    <a:lnTo>
                      <a:pt x="106" y="2"/>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6"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6" y="138"/>
                    </a:lnTo>
                    <a:lnTo>
                      <a:pt x="26" y="138"/>
                    </a:lnTo>
                    <a:lnTo>
                      <a:pt x="34" y="140"/>
                    </a:lnTo>
                    <a:lnTo>
                      <a:pt x="42" y="142"/>
                    </a:lnTo>
                    <a:lnTo>
                      <a:pt x="42" y="142"/>
                    </a:lnTo>
                    <a:lnTo>
                      <a:pt x="46" y="142"/>
                    </a:lnTo>
                    <a:lnTo>
                      <a:pt x="46" y="142"/>
                    </a:lnTo>
                    <a:lnTo>
                      <a:pt x="48" y="142"/>
                    </a:lnTo>
                    <a:lnTo>
                      <a:pt x="50" y="140"/>
                    </a:lnTo>
                    <a:lnTo>
                      <a:pt x="52" y="134"/>
                    </a:lnTo>
                    <a:lnTo>
                      <a:pt x="52" y="134"/>
                    </a:lnTo>
                    <a:lnTo>
                      <a:pt x="52" y="130"/>
                    </a:lnTo>
                    <a:lnTo>
                      <a:pt x="52" y="130"/>
                    </a:lnTo>
                    <a:lnTo>
                      <a:pt x="58" y="118"/>
                    </a:lnTo>
                    <a:lnTo>
                      <a:pt x="58" y="118"/>
                    </a:lnTo>
                    <a:lnTo>
                      <a:pt x="70" y="118"/>
                    </a:lnTo>
                    <a:lnTo>
                      <a:pt x="70" y="118"/>
                    </a:lnTo>
                    <a:lnTo>
                      <a:pt x="64" y="124"/>
                    </a:lnTo>
                    <a:lnTo>
                      <a:pt x="66" y="128"/>
                    </a:lnTo>
                    <a:lnTo>
                      <a:pt x="66" y="128"/>
                    </a:lnTo>
                    <a:lnTo>
                      <a:pt x="74" y="142"/>
                    </a:lnTo>
                    <a:lnTo>
                      <a:pt x="74" y="142"/>
                    </a:lnTo>
                    <a:lnTo>
                      <a:pt x="78" y="144"/>
                    </a:lnTo>
                    <a:lnTo>
                      <a:pt x="80" y="144"/>
                    </a:lnTo>
                    <a:lnTo>
                      <a:pt x="80" y="144"/>
                    </a:lnTo>
                    <a:lnTo>
                      <a:pt x="86" y="144"/>
                    </a:lnTo>
                    <a:lnTo>
                      <a:pt x="90" y="140"/>
                    </a:lnTo>
                    <a:lnTo>
                      <a:pt x="90" y="140"/>
                    </a:lnTo>
                    <a:lnTo>
                      <a:pt x="98" y="132"/>
                    </a:lnTo>
                    <a:lnTo>
                      <a:pt x="98" y="132"/>
                    </a:lnTo>
                    <a:lnTo>
                      <a:pt x="100" y="132"/>
                    </a:lnTo>
                    <a:lnTo>
                      <a:pt x="100" y="132"/>
                    </a:lnTo>
                    <a:lnTo>
                      <a:pt x="116" y="132"/>
                    </a:lnTo>
                    <a:lnTo>
                      <a:pt x="116" y="132"/>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2"/>
                    </a:lnTo>
                    <a:lnTo>
                      <a:pt x="164" y="32"/>
                    </a:lnTo>
                    <a:lnTo>
                      <a:pt x="160" y="30"/>
                    </a:lnTo>
                    <a:lnTo>
                      <a:pt x="160" y="30"/>
                    </a:lnTo>
                    <a:lnTo>
                      <a:pt x="158" y="26"/>
                    </a:lnTo>
                    <a:lnTo>
                      <a:pt x="152" y="22"/>
                    </a:lnTo>
                    <a:lnTo>
                      <a:pt x="152"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29" name="Freeform 542"/>
              <p:cNvSpPr>
                <a:spLocks/>
              </p:cNvSpPr>
              <p:nvPr/>
            </p:nvSpPr>
            <p:spPr bwMode="auto">
              <a:xfrm>
                <a:off x="740" y="1264"/>
                <a:ext cx="16" cy="26"/>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6 w 16"/>
                  <a:gd name="T29" fmla="*/ 26 h 26"/>
                  <a:gd name="T30" fmla="*/ 16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0" name="Freeform 543"/>
              <p:cNvSpPr>
                <a:spLocks/>
              </p:cNvSpPr>
              <p:nvPr/>
            </p:nvSpPr>
            <p:spPr bwMode="auto">
              <a:xfrm>
                <a:off x="642" y="1260"/>
                <a:ext cx="18" cy="22"/>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1" name="Freeform 544"/>
              <p:cNvSpPr>
                <a:spLocks/>
              </p:cNvSpPr>
              <p:nvPr/>
            </p:nvSpPr>
            <p:spPr bwMode="auto">
              <a:xfrm>
                <a:off x="638" y="120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2 w 12"/>
                  <a:gd name="T65" fmla="*/ 6 h 20"/>
                  <a:gd name="T66" fmla="*/ 2 w 12"/>
                  <a:gd name="T67" fmla="*/ 6 h 20"/>
                  <a:gd name="T68" fmla="*/ 2 w 12"/>
                  <a:gd name="T69" fmla="*/ 6 h 20"/>
                  <a:gd name="T70" fmla="*/ 2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2" y="6"/>
                    </a:lnTo>
                    <a:lnTo>
                      <a:pt x="2" y="6"/>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2" name="Freeform 545"/>
              <p:cNvSpPr>
                <a:spLocks/>
              </p:cNvSpPr>
              <p:nvPr/>
            </p:nvSpPr>
            <p:spPr bwMode="auto">
              <a:xfrm>
                <a:off x="652" y="1164"/>
                <a:ext cx="168" cy="138"/>
              </a:xfrm>
              <a:custGeom>
                <a:avLst/>
                <a:gdLst>
                  <a:gd name="T0" fmla="*/ 72 w 168"/>
                  <a:gd name="T1" fmla="*/ 8 h 138"/>
                  <a:gd name="T2" fmla="*/ 100 w 168"/>
                  <a:gd name="T3" fmla="*/ 0 h 138"/>
                  <a:gd name="T4" fmla="*/ 128 w 168"/>
                  <a:gd name="T5" fmla="*/ 16 h 138"/>
                  <a:gd name="T6" fmla="*/ 134 w 168"/>
                  <a:gd name="T7" fmla="*/ 18 h 138"/>
                  <a:gd name="T8" fmla="*/ 134 w 168"/>
                  <a:gd name="T9" fmla="*/ 30 h 138"/>
                  <a:gd name="T10" fmla="*/ 138 w 168"/>
                  <a:gd name="T11" fmla="*/ 36 h 138"/>
                  <a:gd name="T12" fmla="*/ 144 w 168"/>
                  <a:gd name="T13" fmla="*/ 38 h 138"/>
                  <a:gd name="T14" fmla="*/ 130 w 168"/>
                  <a:gd name="T15" fmla="*/ 48 h 138"/>
                  <a:gd name="T16" fmla="*/ 136 w 168"/>
                  <a:gd name="T17" fmla="*/ 40 h 138"/>
                  <a:gd name="T18" fmla="*/ 136 w 168"/>
                  <a:gd name="T19" fmla="*/ 52 h 138"/>
                  <a:gd name="T20" fmla="*/ 142 w 168"/>
                  <a:gd name="T21" fmla="*/ 42 h 138"/>
                  <a:gd name="T22" fmla="*/ 144 w 168"/>
                  <a:gd name="T23" fmla="*/ 56 h 138"/>
                  <a:gd name="T24" fmla="*/ 146 w 168"/>
                  <a:gd name="T25" fmla="*/ 34 h 138"/>
                  <a:gd name="T26" fmla="*/ 158 w 168"/>
                  <a:gd name="T27" fmla="*/ 24 h 138"/>
                  <a:gd name="T28" fmla="*/ 164 w 168"/>
                  <a:gd name="T29" fmla="*/ 26 h 138"/>
                  <a:gd name="T30" fmla="*/ 168 w 168"/>
                  <a:gd name="T31" fmla="*/ 52 h 138"/>
                  <a:gd name="T32" fmla="*/ 162 w 168"/>
                  <a:gd name="T33" fmla="*/ 74 h 138"/>
                  <a:gd name="T34" fmla="*/ 142 w 168"/>
                  <a:gd name="T35" fmla="*/ 84 h 138"/>
                  <a:gd name="T36" fmla="*/ 116 w 168"/>
                  <a:gd name="T37" fmla="*/ 78 h 138"/>
                  <a:gd name="T38" fmla="*/ 114 w 168"/>
                  <a:gd name="T39" fmla="*/ 94 h 138"/>
                  <a:gd name="T40" fmla="*/ 118 w 168"/>
                  <a:gd name="T41" fmla="*/ 96 h 138"/>
                  <a:gd name="T42" fmla="*/ 126 w 168"/>
                  <a:gd name="T43" fmla="*/ 86 h 138"/>
                  <a:gd name="T44" fmla="*/ 128 w 168"/>
                  <a:gd name="T45" fmla="*/ 90 h 138"/>
                  <a:gd name="T46" fmla="*/ 120 w 168"/>
                  <a:gd name="T47" fmla="*/ 96 h 138"/>
                  <a:gd name="T48" fmla="*/ 110 w 168"/>
                  <a:gd name="T49" fmla="*/ 94 h 138"/>
                  <a:gd name="T50" fmla="*/ 90 w 168"/>
                  <a:gd name="T51" fmla="*/ 82 h 138"/>
                  <a:gd name="T52" fmla="*/ 100 w 168"/>
                  <a:gd name="T53" fmla="*/ 92 h 138"/>
                  <a:gd name="T54" fmla="*/ 84 w 168"/>
                  <a:gd name="T55" fmla="*/ 122 h 138"/>
                  <a:gd name="T56" fmla="*/ 70 w 168"/>
                  <a:gd name="T57" fmla="*/ 134 h 138"/>
                  <a:gd name="T58" fmla="*/ 60 w 168"/>
                  <a:gd name="T59" fmla="*/ 136 h 138"/>
                  <a:gd name="T60" fmla="*/ 52 w 168"/>
                  <a:gd name="T61" fmla="*/ 120 h 138"/>
                  <a:gd name="T62" fmla="*/ 64 w 168"/>
                  <a:gd name="T63" fmla="*/ 114 h 138"/>
                  <a:gd name="T64" fmla="*/ 60 w 168"/>
                  <a:gd name="T65" fmla="*/ 110 h 138"/>
                  <a:gd name="T66" fmla="*/ 50 w 168"/>
                  <a:gd name="T67" fmla="*/ 112 h 138"/>
                  <a:gd name="T68" fmla="*/ 38 w 168"/>
                  <a:gd name="T69" fmla="*/ 110 h 138"/>
                  <a:gd name="T70" fmla="*/ 38 w 168"/>
                  <a:gd name="T71" fmla="*/ 108 h 138"/>
                  <a:gd name="T72" fmla="*/ 34 w 168"/>
                  <a:gd name="T73" fmla="*/ 126 h 138"/>
                  <a:gd name="T74" fmla="*/ 32 w 168"/>
                  <a:gd name="T75" fmla="*/ 132 h 138"/>
                  <a:gd name="T76" fmla="*/ 12 w 168"/>
                  <a:gd name="T77" fmla="*/ 132 h 138"/>
                  <a:gd name="T78" fmla="*/ 10 w 168"/>
                  <a:gd name="T79" fmla="*/ 126 h 138"/>
                  <a:gd name="T80" fmla="*/ 12 w 168"/>
                  <a:gd name="T81" fmla="*/ 114 h 138"/>
                  <a:gd name="T82" fmla="*/ 2 w 168"/>
                  <a:gd name="T83" fmla="*/ 92 h 138"/>
                  <a:gd name="T84" fmla="*/ 0 w 168"/>
                  <a:gd name="T85" fmla="*/ 64 h 138"/>
                  <a:gd name="T86" fmla="*/ 14 w 168"/>
                  <a:gd name="T87" fmla="*/ 42 h 138"/>
                  <a:gd name="T88" fmla="*/ 44 w 168"/>
                  <a:gd name="T89" fmla="*/ 30 h 138"/>
                  <a:gd name="T90" fmla="*/ 28 w 168"/>
                  <a:gd name="T91" fmla="*/ 50 h 138"/>
                  <a:gd name="T92" fmla="*/ 26 w 168"/>
                  <a:gd name="T93" fmla="*/ 64 h 138"/>
                  <a:gd name="T94" fmla="*/ 34 w 168"/>
                  <a:gd name="T95" fmla="*/ 78 h 138"/>
                  <a:gd name="T96" fmla="*/ 34 w 168"/>
                  <a:gd name="T97" fmla="*/ 86 h 138"/>
                  <a:gd name="T98" fmla="*/ 52 w 168"/>
                  <a:gd name="T99" fmla="*/ 94 h 138"/>
                  <a:gd name="T100" fmla="*/ 76 w 168"/>
                  <a:gd name="T101" fmla="*/ 84 h 138"/>
                  <a:gd name="T102" fmla="*/ 80 w 168"/>
                  <a:gd name="T103" fmla="*/ 74 h 138"/>
                  <a:gd name="T104" fmla="*/ 76 w 168"/>
                  <a:gd name="T105" fmla="*/ 38 h 138"/>
                  <a:gd name="T106" fmla="*/ 76 w 168"/>
                  <a:gd name="T107" fmla="*/ 76 h 138"/>
                  <a:gd name="T108" fmla="*/ 72 w 168"/>
                  <a:gd name="T109" fmla="*/ 82 h 138"/>
                  <a:gd name="T110" fmla="*/ 48 w 168"/>
                  <a:gd name="T111" fmla="*/ 90 h 138"/>
                  <a:gd name="T112" fmla="*/ 38 w 168"/>
                  <a:gd name="T113" fmla="*/ 86 h 138"/>
                  <a:gd name="T114" fmla="*/ 40 w 168"/>
                  <a:gd name="T115" fmla="*/ 72 h 138"/>
                  <a:gd name="T116" fmla="*/ 36 w 168"/>
                  <a:gd name="T117" fmla="*/ 72 h 138"/>
                  <a:gd name="T118" fmla="*/ 28 w 168"/>
                  <a:gd name="T119" fmla="*/ 58 h 138"/>
                  <a:gd name="T120" fmla="*/ 36 w 168"/>
                  <a:gd name="T121" fmla="*/ 44 h 138"/>
                  <a:gd name="T122" fmla="*/ 64 w 168"/>
                  <a:gd name="T123" fmla="*/ 18 h 138"/>
                  <a:gd name="T124" fmla="*/ 74 w 168"/>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138">
                    <a:moveTo>
                      <a:pt x="66" y="16"/>
                    </a:moveTo>
                    <a:lnTo>
                      <a:pt x="66" y="16"/>
                    </a:lnTo>
                    <a:lnTo>
                      <a:pt x="70" y="12"/>
                    </a:lnTo>
                    <a:lnTo>
                      <a:pt x="72"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6"/>
                    </a:lnTo>
                    <a:lnTo>
                      <a:pt x="138" y="36"/>
                    </a:lnTo>
                    <a:lnTo>
                      <a:pt x="140" y="36"/>
                    </a:lnTo>
                    <a:lnTo>
                      <a:pt x="140" y="36"/>
                    </a:lnTo>
                    <a:lnTo>
                      <a:pt x="144" y="38"/>
                    </a:lnTo>
                    <a:lnTo>
                      <a:pt x="144" y="38"/>
                    </a:lnTo>
                    <a:lnTo>
                      <a:pt x="132" y="42"/>
                    </a:lnTo>
                    <a:lnTo>
                      <a:pt x="130" y="44"/>
                    </a:lnTo>
                    <a:lnTo>
                      <a:pt x="130" y="48"/>
                    </a:lnTo>
                    <a:lnTo>
                      <a:pt x="130" y="48"/>
                    </a:lnTo>
                    <a:lnTo>
                      <a:pt x="132" y="44"/>
                    </a:lnTo>
                    <a:lnTo>
                      <a:pt x="132" y="44"/>
                    </a:lnTo>
                    <a:lnTo>
                      <a:pt x="136" y="40"/>
                    </a:lnTo>
                    <a:lnTo>
                      <a:pt x="136" y="40"/>
                    </a:lnTo>
                    <a:lnTo>
                      <a:pt x="134" y="52"/>
                    </a:lnTo>
                    <a:lnTo>
                      <a:pt x="134" y="52"/>
                    </a:lnTo>
                    <a:lnTo>
                      <a:pt x="136" y="52"/>
                    </a:lnTo>
                    <a:lnTo>
                      <a:pt x="136" y="52"/>
                    </a:lnTo>
                    <a:lnTo>
                      <a:pt x="140" y="44"/>
                    </a:lnTo>
                    <a:lnTo>
                      <a:pt x="140" y="44"/>
                    </a:lnTo>
                    <a:lnTo>
                      <a:pt x="142" y="42"/>
                    </a:lnTo>
                    <a:lnTo>
                      <a:pt x="142" y="42"/>
                    </a:lnTo>
                    <a:lnTo>
                      <a:pt x="144" y="44"/>
                    </a:lnTo>
                    <a:lnTo>
                      <a:pt x="144" y="44"/>
                    </a:lnTo>
                    <a:lnTo>
                      <a:pt x="144" y="56"/>
                    </a:lnTo>
                    <a:lnTo>
                      <a:pt x="144" y="56"/>
                    </a:lnTo>
                    <a:lnTo>
                      <a:pt x="146" y="46"/>
                    </a:lnTo>
                    <a:lnTo>
                      <a:pt x="146" y="38"/>
                    </a:lnTo>
                    <a:lnTo>
                      <a:pt x="146" y="38"/>
                    </a:lnTo>
                    <a:lnTo>
                      <a:pt x="146" y="34"/>
                    </a:lnTo>
                    <a:lnTo>
                      <a:pt x="148" y="32"/>
                    </a:lnTo>
                    <a:lnTo>
                      <a:pt x="148" y="32"/>
                    </a:lnTo>
                    <a:lnTo>
                      <a:pt x="152" y="30"/>
                    </a:lnTo>
                    <a:lnTo>
                      <a:pt x="158" y="24"/>
                    </a:lnTo>
                    <a:lnTo>
                      <a:pt x="158" y="24"/>
                    </a:lnTo>
                    <a:lnTo>
                      <a:pt x="160" y="22"/>
                    </a:lnTo>
                    <a:lnTo>
                      <a:pt x="160" y="22"/>
                    </a:lnTo>
                    <a:lnTo>
                      <a:pt x="164" y="26"/>
                    </a:lnTo>
                    <a:lnTo>
                      <a:pt x="164" y="26"/>
                    </a:lnTo>
                    <a:lnTo>
                      <a:pt x="168" y="36"/>
                    </a:lnTo>
                    <a:lnTo>
                      <a:pt x="168" y="36"/>
                    </a:lnTo>
                    <a:lnTo>
                      <a:pt x="168" y="52"/>
                    </a:lnTo>
                    <a:lnTo>
                      <a:pt x="168" y="58"/>
                    </a:lnTo>
                    <a:lnTo>
                      <a:pt x="166" y="66"/>
                    </a:lnTo>
                    <a:lnTo>
                      <a:pt x="166" y="66"/>
                    </a:lnTo>
                    <a:lnTo>
                      <a:pt x="162" y="74"/>
                    </a:lnTo>
                    <a:lnTo>
                      <a:pt x="156" y="80"/>
                    </a:lnTo>
                    <a:lnTo>
                      <a:pt x="150" y="82"/>
                    </a:lnTo>
                    <a:lnTo>
                      <a:pt x="142" y="84"/>
                    </a:lnTo>
                    <a:lnTo>
                      <a:pt x="142" y="84"/>
                    </a:lnTo>
                    <a:lnTo>
                      <a:pt x="134" y="82"/>
                    </a:lnTo>
                    <a:lnTo>
                      <a:pt x="134" y="82"/>
                    </a:lnTo>
                    <a:lnTo>
                      <a:pt x="124" y="80"/>
                    </a:lnTo>
                    <a:lnTo>
                      <a:pt x="116" y="78"/>
                    </a:lnTo>
                    <a:lnTo>
                      <a:pt x="116" y="78"/>
                    </a:lnTo>
                    <a:lnTo>
                      <a:pt x="114" y="90"/>
                    </a:lnTo>
                    <a:lnTo>
                      <a:pt x="114" y="90"/>
                    </a:lnTo>
                    <a:lnTo>
                      <a:pt x="114" y="94"/>
                    </a:lnTo>
                    <a:lnTo>
                      <a:pt x="116" y="94"/>
                    </a:lnTo>
                    <a:lnTo>
                      <a:pt x="116" y="94"/>
                    </a:lnTo>
                    <a:lnTo>
                      <a:pt x="118" y="96"/>
                    </a:lnTo>
                    <a:lnTo>
                      <a:pt x="118" y="96"/>
                    </a:lnTo>
                    <a:lnTo>
                      <a:pt x="122" y="94"/>
                    </a:lnTo>
                    <a:lnTo>
                      <a:pt x="122" y="94"/>
                    </a:lnTo>
                    <a:lnTo>
                      <a:pt x="124" y="90"/>
                    </a:lnTo>
                    <a:lnTo>
                      <a:pt x="126" y="86"/>
                    </a:lnTo>
                    <a:lnTo>
                      <a:pt x="126" y="86"/>
                    </a:lnTo>
                    <a:lnTo>
                      <a:pt x="130" y="86"/>
                    </a:lnTo>
                    <a:lnTo>
                      <a:pt x="130" y="86"/>
                    </a:lnTo>
                    <a:lnTo>
                      <a:pt x="128" y="90"/>
                    </a:lnTo>
                    <a:lnTo>
                      <a:pt x="126" y="92"/>
                    </a:lnTo>
                    <a:lnTo>
                      <a:pt x="124" y="96"/>
                    </a:lnTo>
                    <a:lnTo>
                      <a:pt x="120" y="96"/>
                    </a:lnTo>
                    <a:lnTo>
                      <a:pt x="120" y="96"/>
                    </a:lnTo>
                    <a:lnTo>
                      <a:pt x="118" y="98"/>
                    </a:lnTo>
                    <a:lnTo>
                      <a:pt x="118" y="98"/>
                    </a:lnTo>
                    <a:lnTo>
                      <a:pt x="114" y="96"/>
                    </a:lnTo>
                    <a:lnTo>
                      <a:pt x="110" y="94"/>
                    </a:lnTo>
                    <a:lnTo>
                      <a:pt x="110" y="94"/>
                    </a:lnTo>
                    <a:lnTo>
                      <a:pt x="100" y="88"/>
                    </a:lnTo>
                    <a:lnTo>
                      <a:pt x="90" y="82"/>
                    </a:lnTo>
                    <a:lnTo>
                      <a:pt x="90" y="82"/>
                    </a:lnTo>
                    <a:lnTo>
                      <a:pt x="96" y="88"/>
                    </a:lnTo>
                    <a:lnTo>
                      <a:pt x="96" y="88"/>
                    </a:lnTo>
                    <a:lnTo>
                      <a:pt x="100" y="92"/>
                    </a:lnTo>
                    <a:lnTo>
                      <a:pt x="100" y="92"/>
                    </a:lnTo>
                    <a:lnTo>
                      <a:pt x="94" y="108"/>
                    </a:lnTo>
                    <a:lnTo>
                      <a:pt x="90" y="116"/>
                    </a:lnTo>
                    <a:lnTo>
                      <a:pt x="84" y="122"/>
                    </a:lnTo>
                    <a:lnTo>
                      <a:pt x="84" y="122"/>
                    </a:lnTo>
                    <a:lnTo>
                      <a:pt x="74" y="130"/>
                    </a:lnTo>
                    <a:lnTo>
                      <a:pt x="74" y="130"/>
                    </a:lnTo>
                    <a:lnTo>
                      <a:pt x="70" y="134"/>
                    </a:lnTo>
                    <a:lnTo>
                      <a:pt x="70" y="134"/>
                    </a:lnTo>
                    <a:lnTo>
                      <a:pt x="68" y="136"/>
                    </a:lnTo>
                    <a:lnTo>
                      <a:pt x="64" y="138"/>
                    </a:lnTo>
                    <a:lnTo>
                      <a:pt x="64" y="138"/>
                    </a:lnTo>
                    <a:lnTo>
                      <a:pt x="60" y="136"/>
                    </a:lnTo>
                    <a:lnTo>
                      <a:pt x="60" y="136"/>
                    </a:lnTo>
                    <a:lnTo>
                      <a:pt x="54" y="124"/>
                    </a:lnTo>
                    <a:lnTo>
                      <a:pt x="54" y="124"/>
                    </a:lnTo>
                    <a:lnTo>
                      <a:pt x="52" y="120"/>
                    </a:lnTo>
                    <a:lnTo>
                      <a:pt x="56" y="118"/>
                    </a:lnTo>
                    <a:lnTo>
                      <a:pt x="56" y="118"/>
                    </a:lnTo>
                    <a:lnTo>
                      <a:pt x="64" y="114"/>
                    </a:lnTo>
                    <a:lnTo>
                      <a:pt x="64" y="114"/>
                    </a:lnTo>
                    <a:lnTo>
                      <a:pt x="64" y="104"/>
                    </a:lnTo>
                    <a:lnTo>
                      <a:pt x="64" y="104"/>
                    </a:lnTo>
                    <a:lnTo>
                      <a:pt x="62" y="108"/>
                    </a:lnTo>
                    <a:lnTo>
                      <a:pt x="60" y="110"/>
                    </a:lnTo>
                    <a:lnTo>
                      <a:pt x="54" y="112"/>
                    </a:lnTo>
                    <a:lnTo>
                      <a:pt x="54" y="112"/>
                    </a:lnTo>
                    <a:lnTo>
                      <a:pt x="50" y="112"/>
                    </a:lnTo>
                    <a:lnTo>
                      <a:pt x="50" y="112"/>
                    </a:lnTo>
                    <a:lnTo>
                      <a:pt x="46" y="112"/>
                    </a:lnTo>
                    <a:lnTo>
                      <a:pt x="46" y="112"/>
                    </a:lnTo>
                    <a:lnTo>
                      <a:pt x="40" y="110"/>
                    </a:lnTo>
                    <a:lnTo>
                      <a:pt x="38" y="110"/>
                    </a:lnTo>
                    <a:lnTo>
                      <a:pt x="38" y="106"/>
                    </a:lnTo>
                    <a:lnTo>
                      <a:pt x="38" y="106"/>
                    </a:lnTo>
                    <a:lnTo>
                      <a:pt x="38" y="108"/>
                    </a:lnTo>
                    <a:lnTo>
                      <a:pt x="38" y="108"/>
                    </a:lnTo>
                    <a:lnTo>
                      <a:pt x="38" y="110"/>
                    </a:lnTo>
                    <a:lnTo>
                      <a:pt x="38" y="110"/>
                    </a:lnTo>
                    <a:lnTo>
                      <a:pt x="38" y="118"/>
                    </a:lnTo>
                    <a:lnTo>
                      <a:pt x="34" y="126"/>
                    </a:lnTo>
                    <a:lnTo>
                      <a:pt x="34" y="126"/>
                    </a:lnTo>
                    <a:lnTo>
                      <a:pt x="32" y="128"/>
                    </a:lnTo>
                    <a:lnTo>
                      <a:pt x="32" y="132"/>
                    </a:lnTo>
                    <a:lnTo>
                      <a:pt x="32" y="132"/>
                    </a:lnTo>
                    <a:lnTo>
                      <a:pt x="30" y="134"/>
                    </a:lnTo>
                    <a:lnTo>
                      <a:pt x="28" y="134"/>
                    </a:lnTo>
                    <a:lnTo>
                      <a:pt x="28" y="134"/>
                    </a:lnTo>
                    <a:lnTo>
                      <a:pt x="12" y="132"/>
                    </a:lnTo>
                    <a:lnTo>
                      <a:pt x="12" y="132"/>
                    </a:lnTo>
                    <a:lnTo>
                      <a:pt x="10" y="130"/>
                    </a:lnTo>
                    <a:lnTo>
                      <a:pt x="10" y="126"/>
                    </a:lnTo>
                    <a:lnTo>
                      <a:pt x="10" y="126"/>
                    </a:lnTo>
                    <a:lnTo>
                      <a:pt x="10" y="122"/>
                    </a:lnTo>
                    <a:lnTo>
                      <a:pt x="12" y="116"/>
                    </a:lnTo>
                    <a:lnTo>
                      <a:pt x="12" y="116"/>
                    </a:lnTo>
                    <a:lnTo>
                      <a:pt x="12" y="114"/>
                    </a:lnTo>
                    <a:lnTo>
                      <a:pt x="10" y="110"/>
                    </a:lnTo>
                    <a:lnTo>
                      <a:pt x="10" y="110"/>
                    </a:lnTo>
                    <a:lnTo>
                      <a:pt x="6" y="102"/>
                    </a:lnTo>
                    <a:lnTo>
                      <a:pt x="2" y="92"/>
                    </a:lnTo>
                    <a:lnTo>
                      <a:pt x="0" y="84"/>
                    </a:lnTo>
                    <a:lnTo>
                      <a:pt x="0" y="74"/>
                    </a:lnTo>
                    <a:lnTo>
                      <a:pt x="0" y="74"/>
                    </a:lnTo>
                    <a:lnTo>
                      <a:pt x="0" y="64"/>
                    </a:lnTo>
                    <a:lnTo>
                      <a:pt x="4" y="56"/>
                    </a:lnTo>
                    <a:lnTo>
                      <a:pt x="8" y="48"/>
                    </a:lnTo>
                    <a:lnTo>
                      <a:pt x="14" y="42"/>
                    </a:lnTo>
                    <a:lnTo>
                      <a:pt x="14" y="42"/>
                    </a:lnTo>
                    <a:lnTo>
                      <a:pt x="26" y="34"/>
                    </a:lnTo>
                    <a:lnTo>
                      <a:pt x="40" y="30"/>
                    </a:lnTo>
                    <a:lnTo>
                      <a:pt x="40"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6" y="92"/>
                    </a:lnTo>
                    <a:lnTo>
                      <a:pt x="56" y="92"/>
                    </a:lnTo>
                    <a:lnTo>
                      <a:pt x="66" y="86"/>
                    </a:lnTo>
                    <a:lnTo>
                      <a:pt x="76" y="84"/>
                    </a:lnTo>
                    <a:lnTo>
                      <a:pt x="76" y="84"/>
                    </a:lnTo>
                    <a:lnTo>
                      <a:pt x="80" y="80"/>
                    </a:lnTo>
                    <a:lnTo>
                      <a:pt x="80" y="80"/>
                    </a:lnTo>
                    <a:lnTo>
                      <a:pt x="80" y="74"/>
                    </a:lnTo>
                    <a:lnTo>
                      <a:pt x="82" y="68"/>
                    </a:lnTo>
                    <a:lnTo>
                      <a:pt x="80" y="54"/>
                    </a:lnTo>
                    <a:lnTo>
                      <a:pt x="80" y="54"/>
                    </a:lnTo>
                    <a:lnTo>
                      <a:pt x="76" y="38"/>
                    </a:lnTo>
                    <a:lnTo>
                      <a:pt x="76" y="38"/>
                    </a:lnTo>
                    <a:lnTo>
                      <a:pt x="76" y="56"/>
                    </a:lnTo>
                    <a:lnTo>
                      <a:pt x="76" y="56"/>
                    </a:lnTo>
                    <a:lnTo>
                      <a:pt x="76" y="76"/>
                    </a:lnTo>
                    <a:lnTo>
                      <a:pt x="76" y="76"/>
                    </a:lnTo>
                    <a:lnTo>
                      <a:pt x="76" y="80"/>
                    </a:lnTo>
                    <a:lnTo>
                      <a:pt x="72" y="82"/>
                    </a:lnTo>
                    <a:lnTo>
                      <a:pt x="72" y="82"/>
                    </a:lnTo>
                    <a:lnTo>
                      <a:pt x="64" y="84"/>
                    </a:lnTo>
                    <a:lnTo>
                      <a:pt x="56" y="88"/>
                    </a:lnTo>
                    <a:lnTo>
                      <a:pt x="56" y="88"/>
                    </a:lnTo>
                    <a:lnTo>
                      <a:pt x="48" y="90"/>
                    </a:lnTo>
                    <a:lnTo>
                      <a:pt x="48" y="90"/>
                    </a:lnTo>
                    <a:lnTo>
                      <a:pt x="42" y="90"/>
                    </a:lnTo>
                    <a:lnTo>
                      <a:pt x="38" y="86"/>
                    </a:lnTo>
                    <a:lnTo>
                      <a:pt x="38" y="86"/>
                    </a:lnTo>
                    <a:lnTo>
                      <a:pt x="36" y="82"/>
                    </a:lnTo>
                    <a:lnTo>
                      <a:pt x="36" y="80"/>
                    </a:lnTo>
                    <a:lnTo>
                      <a:pt x="36" y="80"/>
                    </a:lnTo>
                    <a:lnTo>
                      <a:pt x="40" y="72"/>
                    </a:lnTo>
                    <a:lnTo>
                      <a:pt x="40" y="72"/>
                    </a:lnTo>
                    <a:lnTo>
                      <a:pt x="44" y="64"/>
                    </a:lnTo>
                    <a:lnTo>
                      <a:pt x="44" y="64"/>
                    </a:lnTo>
                    <a:lnTo>
                      <a:pt x="36" y="72"/>
                    </a:lnTo>
                    <a:lnTo>
                      <a:pt x="36" y="72"/>
                    </a:lnTo>
                    <a:lnTo>
                      <a:pt x="30" y="62"/>
                    </a:lnTo>
                    <a:lnTo>
                      <a:pt x="30" y="62"/>
                    </a:lnTo>
                    <a:lnTo>
                      <a:pt x="28" y="58"/>
                    </a:lnTo>
                    <a:lnTo>
                      <a:pt x="28" y="58"/>
                    </a:lnTo>
                    <a:lnTo>
                      <a:pt x="32" y="52"/>
                    </a:lnTo>
                    <a:lnTo>
                      <a:pt x="36" y="44"/>
                    </a:lnTo>
                    <a:lnTo>
                      <a:pt x="36" y="44"/>
                    </a:lnTo>
                    <a:lnTo>
                      <a:pt x="56" y="22"/>
                    </a:lnTo>
                    <a:lnTo>
                      <a:pt x="56" y="22"/>
                    </a:lnTo>
                    <a:lnTo>
                      <a:pt x="60" y="20"/>
                    </a:lnTo>
                    <a:lnTo>
                      <a:pt x="64" y="18"/>
                    </a:lnTo>
                    <a:lnTo>
                      <a:pt x="70" y="18"/>
                    </a:lnTo>
                    <a:lnTo>
                      <a:pt x="70" y="18"/>
                    </a:lnTo>
                    <a:lnTo>
                      <a:pt x="74" y="16"/>
                    </a:lnTo>
                    <a:lnTo>
                      <a:pt x="74" y="16"/>
                    </a:lnTo>
                    <a:lnTo>
                      <a:pt x="6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3" name="Freeform 546"/>
              <p:cNvSpPr>
                <a:spLocks/>
              </p:cNvSpPr>
              <p:nvPr/>
            </p:nvSpPr>
            <p:spPr bwMode="auto">
              <a:xfrm>
                <a:off x="636" y="1160"/>
                <a:ext cx="188" cy="144"/>
              </a:xfrm>
              <a:custGeom>
                <a:avLst/>
                <a:gdLst>
                  <a:gd name="T0" fmla="*/ 106 w 188"/>
                  <a:gd name="T1" fmla="*/ 2 h 144"/>
                  <a:gd name="T2" fmla="*/ 86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6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90 w 188"/>
                  <a:gd name="T59" fmla="*/ 140 h 144"/>
                  <a:gd name="T60" fmla="*/ 98 w 188"/>
                  <a:gd name="T61" fmla="*/ 132 h 144"/>
                  <a:gd name="T62" fmla="*/ 116 w 188"/>
                  <a:gd name="T63" fmla="*/ 132 h 144"/>
                  <a:gd name="T64" fmla="*/ 124 w 188"/>
                  <a:gd name="T65" fmla="*/ 130 h 144"/>
                  <a:gd name="T66" fmla="*/ 124 w 188"/>
                  <a:gd name="T67" fmla="*/ 124 h 144"/>
                  <a:gd name="T68" fmla="*/ 120 w 188"/>
                  <a:gd name="T69" fmla="*/ 104 h 144"/>
                  <a:gd name="T70" fmla="*/ 118 w 188"/>
                  <a:gd name="T71" fmla="*/ 96 h 144"/>
                  <a:gd name="T72" fmla="*/ 126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4 w 188"/>
                  <a:gd name="T97" fmla="*/ 32 h 144"/>
                  <a:gd name="T98" fmla="*/ 158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4" y="0"/>
                    </a:moveTo>
                    <a:lnTo>
                      <a:pt x="114" y="0"/>
                    </a:lnTo>
                    <a:lnTo>
                      <a:pt x="106" y="2"/>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6"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6" y="138"/>
                    </a:lnTo>
                    <a:lnTo>
                      <a:pt x="26" y="138"/>
                    </a:lnTo>
                    <a:lnTo>
                      <a:pt x="34" y="140"/>
                    </a:lnTo>
                    <a:lnTo>
                      <a:pt x="42" y="142"/>
                    </a:lnTo>
                    <a:lnTo>
                      <a:pt x="42" y="142"/>
                    </a:lnTo>
                    <a:lnTo>
                      <a:pt x="46" y="142"/>
                    </a:lnTo>
                    <a:lnTo>
                      <a:pt x="46" y="142"/>
                    </a:lnTo>
                    <a:lnTo>
                      <a:pt x="48" y="142"/>
                    </a:lnTo>
                    <a:lnTo>
                      <a:pt x="50" y="140"/>
                    </a:lnTo>
                    <a:lnTo>
                      <a:pt x="52" y="134"/>
                    </a:lnTo>
                    <a:lnTo>
                      <a:pt x="52" y="134"/>
                    </a:lnTo>
                    <a:lnTo>
                      <a:pt x="52" y="130"/>
                    </a:lnTo>
                    <a:lnTo>
                      <a:pt x="52" y="130"/>
                    </a:lnTo>
                    <a:lnTo>
                      <a:pt x="58" y="118"/>
                    </a:lnTo>
                    <a:lnTo>
                      <a:pt x="58" y="118"/>
                    </a:lnTo>
                    <a:lnTo>
                      <a:pt x="70" y="118"/>
                    </a:lnTo>
                    <a:lnTo>
                      <a:pt x="70" y="118"/>
                    </a:lnTo>
                    <a:lnTo>
                      <a:pt x="64" y="124"/>
                    </a:lnTo>
                    <a:lnTo>
                      <a:pt x="66" y="128"/>
                    </a:lnTo>
                    <a:lnTo>
                      <a:pt x="66" y="128"/>
                    </a:lnTo>
                    <a:lnTo>
                      <a:pt x="74" y="142"/>
                    </a:lnTo>
                    <a:lnTo>
                      <a:pt x="74" y="142"/>
                    </a:lnTo>
                    <a:lnTo>
                      <a:pt x="78" y="144"/>
                    </a:lnTo>
                    <a:lnTo>
                      <a:pt x="80" y="144"/>
                    </a:lnTo>
                    <a:lnTo>
                      <a:pt x="80" y="144"/>
                    </a:lnTo>
                    <a:lnTo>
                      <a:pt x="86" y="144"/>
                    </a:lnTo>
                    <a:lnTo>
                      <a:pt x="90" y="140"/>
                    </a:lnTo>
                    <a:lnTo>
                      <a:pt x="90" y="140"/>
                    </a:lnTo>
                    <a:lnTo>
                      <a:pt x="98" y="132"/>
                    </a:lnTo>
                    <a:lnTo>
                      <a:pt x="98" y="132"/>
                    </a:lnTo>
                    <a:lnTo>
                      <a:pt x="100" y="132"/>
                    </a:lnTo>
                    <a:lnTo>
                      <a:pt x="100" y="132"/>
                    </a:lnTo>
                    <a:lnTo>
                      <a:pt x="116" y="132"/>
                    </a:lnTo>
                    <a:lnTo>
                      <a:pt x="116" y="132"/>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2"/>
                    </a:lnTo>
                    <a:lnTo>
                      <a:pt x="164" y="32"/>
                    </a:lnTo>
                    <a:lnTo>
                      <a:pt x="160" y="30"/>
                    </a:lnTo>
                    <a:lnTo>
                      <a:pt x="160" y="30"/>
                    </a:lnTo>
                    <a:lnTo>
                      <a:pt x="158" y="26"/>
                    </a:lnTo>
                    <a:lnTo>
                      <a:pt x="152" y="22"/>
                    </a:lnTo>
                    <a:lnTo>
                      <a:pt x="152"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4" name="Freeform 547"/>
              <p:cNvSpPr>
                <a:spLocks/>
              </p:cNvSpPr>
              <p:nvPr/>
            </p:nvSpPr>
            <p:spPr bwMode="auto">
              <a:xfrm>
                <a:off x="642"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5" name="Freeform 548"/>
              <p:cNvSpPr>
                <a:spLocks/>
              </p:cNvSpPr>
              <p:nvPr/>
            </p:nvSpPr>
            <p:spPr bwMode="auto">
              <a:xfrm>
                <a:off x="642"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6" name="Freeform 549"/>
              <p:cNvSpPr>
                <a:spLocks/>
              </p:cNvSpPr>
              <p:nvPr/>
            </p:nvSpPr>
            <p:spPr bwMode="auto">
              <a:xfrm>
                <a:off x="642" y="1260"/>
                <a:ext cx="12" cy="22"/>
              </a:xfrm>
              <a:custGeom>
                <a:avLst/>
                <a:gdLst>
                  <a:gd name="T0" fmla="*/ 8 w 12"/>
                  <a:gd name="T1" fmla="*/ 0 h 22"/>
                  <a:gd name="T2" fmla="*/ 8 w 12"/>
                  <a:gd name="T3" fmla="*/ 0 h 22"/>
                  <a:gd name="T4" fmla="*/ 2 w 12"/>
                  <a:gd name="T5" fmla="*/ 4 h 22"/>
                  <a:gd name="T6" fmla="*/ 2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2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2" y="4"/>
                    </a:lnTo>
                    <a:lnTo>
                      <a:pt x="2" y="4"/>
                    </a:lnTo>
                    <a:lnTo>
                      <a:pt x="0" y="8"/>
                    </a:lnTo>
                    <a:lnTo>
                      <a:pt x="0" y="8"/>
                    </a:lnTo>
                    <a:lnTo>
                      <a:pt x="0" y="12"/>
                    </a:lnTo>
                    <a:lnTo>
                      <a:pt x="4" y="16"/>
                    </a:lnTo>
                    <a:lnTo>
                      <a:pt x="8" y="20"/>
                    </a:lnTo>
                    <a:lnTo>
                      <a:pt x="12" y="22"/>
                    </a:lnTo>
                    <a:lnTo>
                      <a:pt x="12" y="22"/>
                    </a:lnTo>
                    <a:lnTo>
                      <a:pt x="8" y="20"/>
                    </a:lnTo>
                    <a:lnTo>
                      <a:pt x="4" y="16"/>
                    </a:lnTo>
                    <a:lnTo>
                      <a:pt x="2" y="12"/>
                    </a:lnTo>
                    <a:lnTo>
                      <a:pt x="0" y="8"/>
                    </a:lnTo>
                    <a:lnTo>
                      <a:pt x="0" y="8"/>
                    </a:lnTo>
                    <a:lnTo>
                      <a:pt x="2" y="4"/>
                    </a:lnTo>
                    <a:lnTo>
                      <a:pt x="2" y="4"/>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7" name="Freeform 550"/>
              <p:cNvSpPr>
                <a:spLocks/>
              </p:cNvSpPr>
              <p:nvPr/>
            </p:nvSpPr>
            <p:spPr bwMode="auto">
              <a:xfrm>
                <a:off x="642" y="1260"/>
                <a:ext cx="12" cy="22"/>
              </a:xfrm>
              <a:custGeom>
                <a:avLst/>
                <a:gdLst>
                  <a:gd name="T0" fmla="*/ 8 w 12"/>
                  <a:gd name="T1" fmla="*/ 0 h 22"/>
                  <a:gd name="T2" fmla="*/ 8 w 12"/>
                  <a:gd name="T3" fmla="*/ 0 h 22"/>
                  <a:gd name="T4" fmla="*/ 2 w 12"/>
                  <a:gd name="T5" fmla="*/ 4 h 22"/>
                  <a:gd name="T6" fmla="*/ 2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2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2" y="4"/>
                    </a:lnTo>
                    <a:lnTo>
                      <a:pt x="2" y="4"/>
                    </a:lnTo>
                    <a:lnTo>
                      <a:pt x="0" y="8"/>
                    </a:lnTo>
                    <a:lnTo>
                      <a:pt x="0" y="8"/>
                    </a:lnTo>
                    <a:lnTo>
                      <a:pt x="0" y="12"/>
                    </a:lnTo>
                    <a:lnTo>
                      <a:pt x="4" y="16"/>
                    </a:lnTo>
                    <a:lnTo>
                      <a:pt x="8" y="20"/>
                    </a:lnTo>
                    <a:lnTo>
                      <a:pt x="12" y="22"/>
                    </a:lnTo>
                    <a:lnTo>
                      <a:pt x="12" y="22"/>
                    </a:lnTo>
                    <a:lnTo>
                      <a:pt x="8" y="20"/>
                    </a:lnTo>
                    <a:lnTo>
                      <a:pt x="4" y="16"/>
                    </a:lnTo>
                    <a:lnTo>
                      <a:pt x="2"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8" name="Freeform 551"/>
              <p:cNvSpPr>
                <a:spLocks/>
              </p:cNvSpPr>
              <p:nvPr/>
            </p:nvSpPr>
            <p:spPr bwMode="auto">
              <a:xfrm>
                <a:off x="740"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6 w 16"/>
                  <a:gd name="T17" fmla="*/ 26 h 26"/>
                  <a:gd name="T18" fmla="*/ 16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39" name="Freeform 552"/>
              <p:cNvSpPr>
                <a:spLocks/>
              </p:cNvSpPr>
              <p:nvPr/>
            </p:nvSpPr>
            <p:spPr bwMode="auto">
              <a:xfrm>
                <a:off x="740"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6 w 16"/>
                  <a:gd name="T17" fmla="*/ 26 h 26"/>
                  <a:gd name="T18" fmla="*/ 16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0" name="Freeform 553"/>
              <p:cNvSpPr>
                <a:spLocks noEditPoints="1"/>
              </p:cNvSpPr>
              <p:nvPr/>
            </p:nvSpPr>
            <p:spPr bwMode="auto">
              <a:xfrm>
                <a:off x="740" y="1264"/>
                <a:ext cx="16" cy="26"/>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1" name="Freeform 554"/>
              <p:cNvSpPr>
                <a:spLocks/>
              </p:cNvSpPr>
              <p:nvPr/>
            </p:nvSpPr>
            <p:spPr bwMode="auto">
              <a:xfrm>
                <a:off x="740"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2" name="Freeform 555"/>
              <p:cNvSpPr>
                <a:spLocks/>
              </p:cNvSpPr>
              <p:nvPr/>
            </p:nvSpPr>
            <p:spPr bwMode="auto">
              <a:xfrm>
                <a:off x="754" y="1264"/>
                <a:ext cx="2" cy="26"/>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3" name="Freeform 556"/>
              <p:cNvSpPr>
                <a:spLocks/>
              </p:cNvSpPr>
              <p:nvPr/>
            </p:nvSpPr>
            <p:spPr bwMode="auto">
              <a:xfrm>
                <a:off x="640" y="1208"/>
                <a:ext cx="10" cy="20"/>
              </a:xfrm>
              <a:custGeom>
                <a:avLst/>
                <a:gdLst>
                  <a:gd name="T0" fmla="*/ 6 w 10"/>
                  <a:gd name="T1" fmla="*/ 0 h 20"/>
                  <a:gd name="T2" fmla="*/ 6 w 10"/>
                  <a:gd name="T3" fmla="*/ 0 h 20"/>
                  <a:gd name="T4" fmla="*/ 4 w 10"/>
                  <a:gd name="T5" fmla="*/ 0 h 20"/>
                  <a:gd name="T6" fmla="*/ 4 w 10"/>
                  <a:gd name="T7" fmla="*/ 0 h 20"/>
                  <a:gd name="T8" fmla="*/ 0 w 10"/>
                  <a:gd name="T9" fmla="*/ 6 h 20"/>
                  <a:gd name="T10" fmla="*/ 0 w 10"/>
                  <a:gd name="T11" fmla="*/ 6 h 20"/>
                  <a:gd name="T12" fmla="*/ 0 w 10"/>
                  <a:gd name="T13" fmla="*/ 14 h 20"/>
                  <a:gd name="T14" fmla="*/ 2 w 10"/>
                  <a:gd name="T15" fmla="*/ 18 h 20"/>
                  <a:gd name="T16" fmla="*/ 4 w 10"/>
                  <a:gd name="T17" fmla="*/ 20 h 20"/>
                  <a:gd name="T18" fmla="*/ 4 w 10"/>
                  <a:gd name="T19" fmla="*/ 20 h 20"/>
                  <a:gd name="T20" fmla="*/ 6 w 10"/>
                  <a:gd name="T21" fmla="*/ 20 h 20"/>
                  <a:gd name="T22" fmla="*/ 6 w 10"/>
                  <a:gd name="T23" fmla="*/ 20 h 20"/>
                  <a:gd name="T24" fmla="*/ 8 w 10"/>
                  <a:gd name="T25" fmla="*/ 20 h 20"/>
                  <a:gd name="T26" fmla="*/ 10 w 10"/>
                  <a:gd name="T27" fmla="*/ 16 h 20"/>
                  <a:gd name="T28" fmla="*/ 10 w 10"/>
                  <a:gd name="T29" fmla="*/ 16 h 20"/>
                  <a:gd name="T30" fmla="*/ 6 w 10"/>
                  <a:gd name="T31" fmla="*/ 18 h 20"/>
                  <a:gd name="T32" fmla="*/ 6 w 10"/>
                  <a:gd name="T33" fmla="*/ 18 h 20"/>
                  <a:gd name="T34" fmla="*/ 4 w 10"/>
                  <a:gd name="T35" fmla="*/ 16 h 20"/>
                  <a:gd name="T36" fmla="*/ 4 w 10"/>
                  <a:gd name="T37" fmla="*/ 16 h 20"/>
                  <a:gd name="T38" fmla="*/ 2 w 10"/>
                  <a:gd name="T39" fmla="*/ 12 h 20"/>
                  <a:gd name="T40" fmla="*/ 2 w 10"/>
                  <a:gd name="T41" fmla="*/ 12 h 20"/>
                  <a:gd name="T42" fmla="*/ 2 w 10"/>
                  <a:gd name="T43" fmla="*/ 12 h 20"/>
                  <a:gd name="T44" fmla="*/ 2 w 10"/>
                  <a:gd name="T45" fmla="*/ 12 h 20"/>
                  <a:gd name="T46" fmla="*/ 2 w 10"/>
                  <a:gd name="T47" fmla="*/ 12 h 20"/>
                  <a:gd name="T48" fmla="*/ 2 w 10"/>
                  <a:gd name="T49" fmla="*/ 12 h 20"/>
                  <a:gd name="T50" fmla="*/ 6 w 1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0">
                    <a:moveTo>
                      <a:pt x="6" y="0"/>
                    </a:moveTo>
                    <a:lnTo>
                      <a:pt x="6" y="0"/>
                    </a:lnTo>
                    <a:lnTo>
                      <a:pt x="4" y="0"/>
                    </a:lnTo>
                    <a:lnTo>
                      <a:pt x="4" y="0"/>
                    </a:lnTo>
                    <a:lnTo>
                      <a:pt x="0" y="6"/>
                    </a:lnTo>
                    <a:lnTo>
                      <a:pt x="0" y="6"/>
                    </a:lnTo>
                    <a:lnTo>
                      <a:pt x="0" y="14"/>
                    </a:lnTo>
                    <a:lnTo>
                      <a:pt x="2" y="18"/>
                    </a:lnTo>
                    <a:lnTo>
                      <a:pt x="4" y="20"/>
                    </a:lnTo>
                    <a:lnTo>
                      <a:pt x="4" y="20"/>
                    </a:lnTo>
                    <a:lnTo>
                      <a:pt x="6" y="20"/>
                    </a:lnTo>
                    <a:lnTo>
                      <a:pt x="6" y="20"/>
                    </a:lnTo>
                    <a:lnTo>
                      <a:pt x="8" y="20"/>
                    </a:lnTo>
                    <a:lnTo>
                      <a:pt x="10" y="16"/>
                    </a:lnTo>
                    <a:lnTo>
                      <a:pt x="10" y="16"/>
                    </a:lnTo>
                    <a:lnTo>
                      <a:pt x="6" y="18"/>
                    </a:lnTo>
                    <a:lnTo>
                      <a:pt x="6" y="18"/>
                    </a:lnTo>
                    <a:lnTo>
                      <a:pt x="4" y="16"/>
                    </a:lnTo>
                    <a:lnTo>
                      <a:pt x="4" y="16"/>
                    </a:lnTo>
                    <a:lnTo>
                      <a:pt x="2" y="12"/>
                    </a:lnTo>
                    <a:lnTo>
                      <a:pt x="2" y="12"/>
                    </a:lnTo>
                    <a:lnTo>
                      <a:pt x="2" y="12"/>
                    </a:lnTo>
                    <a:lnTo>
                      <a:pt x="2" y="12"/>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4" name="Freeform 557"/>
              <p:cNvSpPr>
                <a:spLocks/>
              </p:cNvSpPr>
              <p:nvPr/>
            </p:nvSpPr>
            <p:spPr bwMode="auto">
              <a:xfrm>
                <a:off x="640" y="1208"/>
                <a:ext cx="10" cy="20"/>
              </a:xfrm>
              <a:custGeom>
                <a:avLst/>
                <a:gdLst>
                  <a:gd name="T0" fmla="*/ 6 w 10"/>
                  <a:gd name="T1" fmla="*/ 0 h 20"/>
                  <a:gd name="T2" fmla="*/ 6 w 10"/>
                  <a:gd name="T3" fmla="*/ 0 h 20"/>
                  <a:gd name="T4" fmla="*/ 4 w 10"/>
                  <a:gd name="T5" fmla="*/ 0 h 20"/>
                  <a:gd name="T6" fmla="*/ 4 w 10"/>
                  <a:gd name="T7" fmla="*/ 0 h 20"/>
                  <a:gd name="T8" fmla="*/ 0 w 10"/>
                  <a:gd name="T9" fmla="*/ 6 h 20"/>
                  <a:gd name="T10" fmla="*/ 0 w 10"/>
                  <a:gd name="T11" fmla="*/ 6 h 20"/>
                  <a:gd name="T12" fmla="*/ 0 w 10"/>
                  <a:gd name="T13" fmla="*/ 14 h 20"/>
                  <a:gd name="T14" fmla="*/ 2 w 10"/>
                  <a:gd name="T15" fmla="*/ 18 h 20"/>
                  <a:gd name="T16" fmla="*/ 4 w 10"/>
                  <a:gd name="T17" fmla="*/ 20 h 20"/>
                  <a:gd name="T18" fmla="*/ 4 w 10"/>
                  <a:gd name="T19" fmla="*/ 20 h 20"/>
                  <a:gd name="T20" fmla="*/ 6 w 10"/>
                  <a:gd name="T21" fmla="*/ 20 h 20"/>
                  <a:gd name="T22" fmla="*/ 6 w 10"/>
                  <a:gd name="T23" fmla="*/ 20 h 20"/>
                  <a:gd name="T24" fmla="*/ 8 w 10"/>
                  <a:gd name="T25" fmla="*/ 20 h 20"/>
                  <a:gd name="T26" fmla="*/ 10 w 10"/>
                  <a:gd name="T27" fmla="*/ 16 h 20"/>
                  <a:gd name="T28" fmla="*/ 10 w 10"/>
                  <a:gd name="T29" fmla="*/ 16 h 20"/>
                  <a:gd name="T30" fmla="*/ 6 w 10"/>
                  <a:gd name="T31" fmla="*/ 18 h 20"/>
                  <a:gd name="T32" fmla="*/ 6 w 10"/>
                  <a:gd name="T33" fmla="*/ 18 h 20"/>
                  <a:gd name="T34" fmla="*/ 4 w 10"/>
                  <a:gd name="T35" fmla="*/ 16 h 20"/>
                  <a:gd name="T36" fmla="*/ 4 w 10"/>
                  <a:gd name="T37" fmla="*/ 16 h 20"/>
                  <a:gd name="T38" fmla="*/ 2 w 10"/>
                  <a:gd name="T39" fmla="*/ 12 h 20"/>
                  <a:gd name="T40" fmla="*/ 2 w 10"/>
                  <a:gd name="T41" fmla="*/ 12 h 20"/>
                  <a:gd name="T42" fmla="*/ 2 w 10"/>
                  <a:gd name="T43" fmla="*/ 12 h 20"/>
                  <a:gd name="T44" fmla="*/ 2 w 10"/>
                  <a:gd name="T45" fmla="*/ 12 h 20"/>
                  <a:gd name="T46" fmla="*/ 2 w 10"/>
                  <a:gd name="T47" fmla="*/ 12 h 20"/>
                  <a:gd name="T48" fmla="*/ 2 w 10"/>
                  <a:gd name="T49" fmla="*/ 12 h 20"/>
                  <a:gd name="T50" fmla="*/ 6 w 1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0">
                    <a:moveTo>
                      <a:pt x="6" y="0"/>
                    </a:moveTo>
                    <a:lnTo>
                      <a:pt x="6" y="0"/>
                    </a:lnTo>
                    <a:lnTo>
                      <a:pt x="4" y="0"/>
                    </a:lnTo>
                    <a:lnTo>
                      <a:pt x="4" y="0"/>
                    </a:lnTo>
                    <a:lnTo>
                      <a:pt x="0" y="6"/>
                    </a:lnTo>
                    <a:lnTo>
                      <a:pt x="0" y="6"/>
                    </a:lnTo>
                    <a:lnTo>
                      <a:pt x="0" y="14"/>
                    </a:lnTo>
                    <a:lnTo>
                      <a:pt x="2" y="18"/>
                    </a:lnTo>
                    <a:lnTo>
                      <a:pt x="4" y="20"/>
                    </a:lnTo>
                    <a:lnTo>
                      <a:pt x="4" y="20"/>
                    </a:lnTo>
                    <a:lnTo>
                      <a:pt x="6" y="20"/>
                    </a:lnTo>
                    <a:lnTo>
                      <a:pt x="6" y="20"/>
                    </a:lnTo>
                    <a:lnTo>
                      <a:pt x="8" y="20"/>
                    </a:lnTo>
                    <a:lnTo>
                      <a:pt x="10" y="16"/>
                    </a:lnTo>
                    <a:lnTo>
                      <a:pt x="10" y="16"/>
                    </a:lnTo>
                    <a:lnTo>
                      <a:pt x="6" y="18"/>
                    </a:lnTo>
                    <a:lnTo>
                      <a:pt x="6" y="18"/>
                    </a:lnTo>
                    <a:lnTo>
                      <a:pt x="4" y="16"/>
                    </a:lnTo>
                    <a:lnTo>
                      <a:pt x="4" y="16"/>
                    </a:lnTo>
                    <a:lnTo>
                      <a:pt x="2" y="12"/>
                    </a:lnTo>
                    <a:lnTo>
                      <a:pt x="2" y="12"/>
                    </a:lnTo>
                    <a:lnTo>
                      <a:pt x="2" y="12"/>
                    </a:lnTo>
                    <a:lnTo>
                      <a:pt x="2" y="12"/>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5" name="Freeform 558"/>
              <p:cNvSpPr>
                <a:spLocks noEditPoints="1"/>
              </p:cNvSpPr>
              <p:nvPr/>
            </p:nvSpPr>
            <p:spPr bwMode="auto">
              <a:xfrm>
                <a:off x="640" y="1208"/>
                <a:ext cx="10" cy="18"/>
              </a:xfrm>
              <a:custGeom>
                <a:avLst/>
                <a:gdLst>
                  <a:gd name="T0" fmla="*/ 2 w 10"/>
                  <a:gd name="T1" fmla="*/ 12 h 18"/>
                  <a:gd name="T2" fmla="*/ 2 w 10"/>
                  <a:gd name="T3" fmla="*/ 12 h 18"/>
                  <a:gd name="T4" fmla="*/ 2 w 10"/>
                  <a:gd name="T5" fmla="*/ 12 h 18"/>
                  <a:gd name="T6" fmla="*/ 2 w 10"/>
                  <a:gd name="T7" fmla="*/ 12 h 18"/>
                  <a:gd name="T8" fmla="*/ 4 w 10"/>
                  <a:gd name="T9" fmla="*/ 16 h 18"/>
                  <a:gd name="T10" fmla="*/ 4 w 10"/>
                  <a:gd name="T11" fmla="*/ 16 h 18"/>
                  <a:gd name="T12" fmla="*/ 6 w 10"/>
                  <a:gd name="T13" fmla="*/ 18 h 18"/>
                  <a:gd name="T14" fmla="*/ 6 w 10"/>
                  <a:gd name="T15" fmla="*/ 18 h 18"/>
                  <a:gd name="T16" fmla="*/ 10 w 10"/>
                  <a:gd name="T17" fmla="*/ 16 h 18"/>
                  <a:gd name="T18" fmla="*/ 10 w 10"/>
                  <a:gd name="T19" fmla="*/ 16 h 18"/>
                  <a:gd name="T20" fmla="*/ 10 w 10"/>
                  <a:gd name="T21" fmla="*/ 16 h 18"/>
                  <a:gd name="T22" fmla="*/ 10 w 10"/>
                  <a:gd name="T23" fmla="*/ 16 h 18"/>
                  <a:gd name="T24" fmla="*/ 6 w 10"/>
                  <a:gd name="T25" fmla="*/ 16 h 18"/>
                  <a:gd name="T26" fmla="*/ 6 w 10"/>
                  <a:gd name="T27" fmla="*/ 16 h 18"/>
                  <a:gd name="T28" fmla="*/ 4 w 10"/>
                  <a:gd name="T29" fmla="*/ 16 h 18"/>
                  <a:gd name="T30" fmla="*/ 4 w 10"/>
                  <a:gd name="T31" fmla="*/ 16 h 18"/>
                  <a:gd name="T32" fmla="*/ 2 w 10"/>
                  <a:gd name="T33" fmla="*/ 12 h 18"/>
                  <a:gd name="T34" fmla="*/ 6 w 10"/>
                  <a:gd name="T35" fmla="*/ 0 h 18"/>
                  <a:gd name="T36" fmla="*/ 6 w 10"/>
                  <a:gd name="T37" fmla="*/ 0 h 18"/>
                  <a:gd name="T38" fmla="*/ 4 w 10"/>
                  <a:gd name="T39" fmla="*/ 0 h 18"/>
                  <a:gd name="T40" fmla="*/ 4 w 10"/>
                  <a:gd name="T41" fmla="*/ 0 h 18"/>
                  <a:gd name="T42" fmla="*/ 0 w 10"/>
                  <a:gd name="T43" fmla="*/ 6 h 18"/>
                  <a:gd name="T44" fmla="*/ 0 w 10"/>
                  <a:gd name="T45" fmla="*/ 6 h 18"/>
                  <a:gd name="T46" fmla="*/ 0 w 10"/>
                  <a:gd name="T47" fmla="*/ 6 h 18"/>
                  <a:gd name="T48" fmla="*/ 0 w 10"/>
                  <a:gd name="T49" fmla="*/ 6 h 18"/>
                  <a:gd name="T50" fmla="*/ 4 w 10"/>
                  <a:gd name="T51" fmla="*/ 0 h 18"/>
                  <a:gd name="T52" fmla="*/ 4 w 10"/>
                  <a:gd name="T53" fmla="*/ 0 h 18"/>
                  <a:gd name="T54" fmla="*/ 6 w 10"/>
                  <a:gd name="T55" fmla="*/ 0 h 18"/>
                  <a:gd name="T56" fmla="*/ 6 w 10"/>
                  <a:gd name="T57" fmla="*/ 0 h 18"/>
                  <a:gd name="T58" fmla="*/ 6 w 10"/>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8">
                    <a:moveTo>
                      <a:pt x="2" y="12"/>
                    </a:moveTo>
                    <a:lnTo>
                      <a:pt x="2" y="12"/>
                    </a:lnTo>
                    <a:lnTo>
                      <a:pt x="2" y="12"/>
                    </a:lnTo>
                    <a:lnTo>
                      <a:pt x="2" y="12"/>
                    </a:lnTo>
                    <a:lnTo>
                      <a:pt x="4" y="16"/>
                    </a:lnTo>
                    <a:lnTo>
                      <a:pt x="4" y="16"/>
                    </a:lnTo>
                    <a:lnTo>
                      <a:pt x="6" y="18"/>
                    </a:lnTo>
                    <a:lnTo>
                      <a:pt x="6" y="18"/>
                    </a:lnTo>
                    <a:lnTo>
                      <a:pt x="10" y="16"/>
                    </a:lnTo>
                    <a:lnTo>
                      <a:pt x="10" y="16"/>
                    </a:lnTo>
                    <a:lnTo>
                      <a:pt x="10" y="16"/>
                    </a:lnTo>
                    <a:lnTo>
                      <a:pt x="10" y="16"/>
                    </a:lnTo>
                    <a:lnTo>
                      <a:pt x="6" y="16"/>
                    </a:lnTo>
                    <a:lnTo>
                      <a:pt x="6" y="16"/>
                    </a:lnTo>
                    <a:lnTo>
                      <a:pt x="4" y="16"/>
                    </a:lnTo>
                    <a:lnTo>
                      <a:pt x="4" y="16"/>
                    </a:lnTo>
                    <a:lnTo>
                      <a:pt x="2" y="12"/>
                    </a:lnTo>
                    <a:close/>
                    <a:moveTo>
                      <a:pt x="6" y="0"/>
                    </a:moveTo>
                    <a:lnTo>
                      <a:pt x="6" y="0"/>
                    </a:lnTo>
                    <a:lnTo>
                      <a:pt x="4" y="0"/>
                    </a:lnTo>
                    <a:lnTo>
                      <a:pt x="4" y="0"/>
                    </a:lnTo>
                    <a:lnTo>
                      <a:pt x="0" y="6"/>
                    </a:lnTo>
                    <a:lnTo>
                      <a:pt x="0" y="6"/>
                    </a:lnTo>
                    <a:lnTo>
                      <a:pt x="0" y="6"/>
                    </a:lnTo>
                    <a:lnTo>
                      <a:pt x="0" y="6"/>
                    </a:lnTo>
                    <a:lnTo>
                      <a:pt x="4" y="0"/>
                    </a:lnTo>
                    <a:lnTo>
                      <a:pt x="4" y="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6" name="Freeform 559"/>
              <p:cNvSpPr>
                <a:spLocks/>
              </p:cNvSpPr>
              <p:nvPr/>
            </p:nvSpPr>
            <p:spPr bwMode="auto">
              <a:xfrm>
                <a:off x="642" y="1220"/>
                <a:ext cx="8" cy="6"/>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7" name="Freeform 560"/>
              <p:cNvSpPr>
                <a:spLocks/>
              </p:cNvSpPr>
              <p:nvPr/>
            </p:nvSpPr>
            <p:spPr bwMode="auto">
              <a:xfrm>
                <a:off x="640" y="1208"/>
                <a:ext cx="6" cy="6"/>
              </a:xfrm>
              <a:custGeom>
                <a:avLst/>
                <a:gdLst>
                  <a:gd name="T0" fmla="*/ 6 w 6"/>
                  <a:gd name="T1" fmla="*/ 0 h 6"/>
                  <a:gd name="T2" fmla="*/ 6 w 6"/>
                  <a:gd name="T3" fmla="*/ 0 h 6"/>
                  <a:gd name="T4" fmla="*/ 4 w 6"/>
                  <a:gd name="T5" fmla="*/ 0 h 6"/>
                  <a:gd name="T6" fmla="*/ 4 w 6"/>
                  <a:gd name="T7" fmla="*/ 0 h 6"/>
                  <a:gd name="T8" fmla="*/ 0 w 6"/>
                  <a:gd name="T9" fmla="*/ 6 h 6"/>
                  <a:gd name="T10" fmla="*/ 0 w 6"/>
                  <a:gd name="T11" fmla="*/ 6 h 6"/>
                  <a:gd name="T12" fmla="*/ 0 w 6"/>
                  <a:gd name="T13" fmla="*/ 6 h 6"/>
                  <a:gd name="T14" fmla="*/ 0 w 6"/>
                  <a:gd name="T15" fmla="*/ 6 h 6"/>
                  <a:gd name="T16" fmla="*/ 4 w 6"/>
                  <a:gd name="T17" fmla="*/ 0 h 6"/>
                  <a:gd name="T18" fmla="*/ 4 w 6"/>
                  <a:gd name="T19" fmla="*/ 0 h 6"/>
                  <a:gd name="T20" fmla="*/ 6 w 6"/>
                  <a:gd name="T21" fmla="*/ 0 h 6"/>
                  <a:gd name="T22" fmla="*/ 6 w 6"/>
                  <a:gd name="T23" fmla="*/ 0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4" y="0"/>
                    </a:lnTo>
                    <a:lnTo>
                      <a:pt x="4" y="0"/>
                    </a:lnTo>
                    <a:lnTo>
                      <a:pt x="0" y="6"/>
                    </a:lnTo>
                    <a:lnTo>
                      <a:pt x="0" y="6"/>
                    </a:lnTo>
                    <a:lnTo>
                      <a:pt x="0" y="6"/>
                    </a:lnTo>
                    <a:lnTo>
                      <a:pt x="0" y="6"/>
                    </a:lnTo>
                    <a:lnTo>
                      <a:pt x="4" y="0"/>
                    </a:lnTo>
                    <a:lnTo>
                      <a:pt x="4"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8" name="Freeform 561"/>
              <p:cNvSpPr>
                <a:spLocks noEditPoints="1"/>
              </p:cNvSpPr>
              <p:nvPr/>
            </p:nvSpPr>
            <p:spPr bwMode="auto">
              <a:xfrm>
                <a:off x="754" y="1198"/>
                <a:ext cx="18" cy="14"/>
              </a:xfrm>
              <a:custGeom>
                <a:avLst/>
                <a:gdLst>
                  <a:gd name="T0" fmla="*/ 6 w 18"/>
                  <a:gd name="T1" fmla="*/ 8 h 14"/>
                  <a:gd name="T2" fmla="*/ 6 w 18"/>
                  <a:gd name="T3" fmla="*/ 8 h 14"/>
                  <a:gd name="T4" fmla="*/ 6 w 18"/>
                  <a:gd name="T5" fmla="*/ 6 h 14"/>
                  <a:gd name="T6" fmla="*/ 6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2 w 18"/>
                  <a:gd name="T31" fmla="*/ 0 h 14"/>
                  <a:gd name="T32" fmla="*/ 12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2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6" y="6"/>
                    </a:lnTo>
                    <a:lnTo>
                      <a:pt x="6"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2" y="0"/>
                    </a:moveTo>
                    <a:lnTo>
                      <a:pt x="12" y="0"/>
                    </a:lnTo>
                    <a:lnTo>
                      <a:pt x="6" y="2"/>
                    </a:lnTo>
                    <a:lnTo>
                      <a:pt x="0" y="10"/>
                    </a:lnTo>
                    <a:lnTo>
                      <a:pt x="0" y="10"/>
                    </a:lnTo>
                    <a:lnTo>
                      <a:pt x="2" y="8"/>
                    </a:lnTo>
                    <a:lnTo>
                      <a:pt x="2" y="8"/>
                    </a:lnTo>
                    <a:lnTo>
                      <a:pt x="6" y="14"/>
                    </a:lnTo>
                    <a:lnTo>
                      <a:pt x="6" y="14"/>
                    </a:lnTo>
                    <a:lnTo>
                      <a:pt x="18" y="6"/>
                    </a:lnTo>
                    <a:lnTo>
                      <a:pt x="18" y="6"/>
                    </a:lnTo>
                    <a:lnTo>
                      <a:pt x="14" y="4"/>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49" name="Freeform 562"/>
              <p:cNvSpPr>
                <a:spLocks/>
              </p:cNvSpPr>
              <p:nvPr/>
            </p:nvSpPr>
            <p:spPr bwMode="auto">
              <a:xfrm>
                <a:off x="758" y="1204"/>
                <a:ext cx="6" cy="6"/>
              </a:xfrm>
              <a:custGeom>
                <a:avLst/>
                <a:gdLst>
                  <a:gd name="T0" fmla="*/ 2 w 6"/>
                  <a:gd name="T1" fmla="*/ 2 h 6"/>
                  <a:gd name="T2" fmla="*/ 2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0" name="Freeform 563"/>
              <p:cNvSpPr>
                <a:spLocks/>
              </p:cNvSpPr>
              <p:nvPr/>
            </p:nvSpPr>
            <p:spPr bwMode="auto">
              <a:xfrm>
                <a:off x="754" y="1198"/>
                <a:ext cx="18" cy="14"/>
              </a:xfrm>
              <a:custGeom>
                <a:avLst/>
                <a:gdLst>
                  <a:gd name="T0" fmla="*/ 12 w 18"/>
                  <a:gd name="T1" fmla="*/ 0 h 14"/>
                  <a:gd name="T2" fmla="*/ 12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2"/>
                    </a:lnTo>
                    <a:lnTo>
                      <a:pt x="0" y="10"/>
                    </a:lnTo>
                    <a:lnTo>
                      <a:pt x="0" y="10"/>
                    </a:lnTo>
                    <a:lnTo>
                      <a:pt x="2" y="8"/>
                    </a:lnTo>
                    <a:lnTo>
                      <a:pt x="2" y="8"/>
                    </a:lnTo>
                    <a:lnTo>
                      <a:pt x="6" y="14"/>
                    </a:lnTo>
                    <a:lnTo>
                      <a:pt x="6" y="14"/>
                    </a:lnTo>
                    <a:lnTo>
                      <a:pt x="18" y="6"/>
                    </a:lnTo>
                    <a:lnTo>
                      <a:pt x="18" y="6"/>
                    </a:lnTo>
                    <a:lnTo>
                      <a:pt x="14"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1" name="Freeform 564"/>
              <p:cNvSpPr>
                <a:spLocks/>
              </p:cNvSpPr>
              <p:nvPr/>
            </p:nvSpPr>
            <p:spPr bwMode="auto">
              <a:xfrm>
                <a:off x="706" y="1188"/>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10" y="10"/>
                    </a:lnTo>
                    <a:lnTo>
                      <a:pt x="10" y="10"/>
                    </a:lnTo>
                    <a:lnTo>
                      <a:pt x="14" y="4"/>
                    </a:lnTo>
                    <a:lnTo>
                      <a:pt x="16" y="0"/>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2" name="Freeform 565"/>
              <p:cNvSpPr>
                <a:spLocks/>
              </p:cNvSpPr>
              <p:nvPr/>
            </p:nvSpPr>
            <p:spPr bwMode="auto">
              <a:xfrm>
                <a:off x="706" y="1188"/>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10" y="10"/>
                    </a:lnTo>
                    <a:lnTo>
                      <a:pt x="10" y="10"/>
                    </a:lnTo>
                    <a:lnTo>
                      <a:pt x="14" y="4"/>
                    </a:lnTo>
                    <a:lnTo>
                      <a:pt x="16" y="0"/>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3" name="Freeform 566"/>
              <p:cNvSpPr>
                <a:spLocks/>
              </p:cNvSpPr>
              <p:nvPr/>
            </p:nvSpPr>
            <p:spPr bwMode="auto">
              <a:xfrm>
                <a:off x="802" y="1192"/>
                <a:ext cx="10" cy="8"/>
              </a:xfrm>
              <a:custGeom>
                <a:avLst/>
                <a:gdLst>
                  <a:gd name="T0" fmla="*/ 10 w 10"/>
                  <a:gd name="T1" fmla="*/ 0 h 8"/>
                  <a:gd name="T2" fmla="*/ 10 w 10"/>
                  <a:gd name="T3" fmla="*/ 0 h 8"/>
                  <a:gd name="T4" fmla="*/ 0 w 10"/>
                  <a:gd name="T5" fmla="*/ 6 h 8"/>
                  <a:gd name="T6" fmla="*/ 0 w 10"/>
                  <a:gd name="T7" fmla="*/ 6 h 8"/>
                  <a:gd name="T8" fmla="*/ 2 w 10"/>
                  <a:gd name="T9" fmla="*/ 8 h 8"/>
                  <a:gd name="T10" fmla="*/ 2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2" y="8"/>
                    </a:lnTo>
                    <a:lnTo>
                      <a:pt x="2" y="8"/>
                    </a:lnTo>
                    <a:lnTo>
                      <a:pt x="6" y="4"/>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4" name="Freeform 567"/>
              <p:cNvSpPr>
                <a:spLocks/>
              </p:cNvSpPr>
              <p:nvPr/>
            </p:nvSpPr>
            <p:spPr bwMode="auto">
              <a:xfrm>
                <a:off x="802" y="1192"/>
                <a:ext cx="10" cy="8"/>
              </a:xfrm>
              <a:custGeom>
                <a:avLst/>
                <a:gdLst>
                  <a:gd name="T0" fmla="*/ 10 w 10"/>
                  <a:gd name="T1" fmla="*/ 0 h 8"/>
                  <a:gd name="T2" fmla="*/ 10 w 10"/>
                  <a:gd name="T3" fmla="*/ 0 h 8"/>
                  <a:gd name="T4" fmla="*/ 0 w 10"/>
                  <a:gd name="T5" fmla="*/ 6 h 8"/>
                  <a:gd name="T6" fmla="*/ 0 w 10"/>
                  <a:gd name="T7" fmla="*/ 6 h 8"/>
                  <a:gd name="T8" fmla="*/ 2 w 10"/>
                  <a:gd name="T9" fmla="*/ 8 h 8"/>
                  <a:gd name="T10" fmla="*/ 2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2" y="8"/>
                    </a:lnTo>
                    <a:lnTo>
                      <a:pt x="2" y="8"/>
                    </a:lnTo>
                    <a:lnTo>
                      <a:pt x="6" y="4"/>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5" name="Freeform 568"/>
              <p:cNvSpPr>
                <a:spLocks/>
              </p:cNvSpPr>
              <p:nvPr/>
            </p:nvSpPr>
            <p:spPr bwMode="auto">
              <a:xfrm>
                <a:off x="748"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6" name="Freeform 569"/>
              <p:cNvSpPr>
                <a:spLocks/>
              </p:cNvSpPr>
              <p:nvPr/>
            </p:nvSpPr>
            <p:spPr bwMode="auto">
              <a:xfrm>
                <a:off x="748" y="1188"/>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7" name="Freeform 570"/>
              <p:cNvSpPr>
                <a:spLocks/>
              </p:cNvSpPr>
              <p:nvPr/>
            </p:nvSpPr>
            <p:spPr bwMode="auto">
              <a:xfrm>
                <a:off x="762"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8" name="Freeform 571"/>
              <p:cNvSpPr>
                <a:spLocks/>
              </p:cNvSpPr>
              <p:nvPr/>
            </p:nvSpPr>
            <p:spPr bwMode="auto">
              <a:xfrm>
                <a:off x="762"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59" name="Freeform 572"/>
              <p:cNvSpPr>
                <a:spLocks/>
              </p:cNvSpPr>
              <p:nvPr/>
            </p:nvSpPr>
            <p:spPr bwMode="auto">
              <a:xfrm>
                <a:off x="758" y="1204"/>
                <a:ext cx="6" cy="6"/>
              </a:xfrm>
              <a:custGeom>
                <a:avLst/>
                <a:gdLst>
                  <a:gd name="T0" fmla="*/ 2 w 6"/>
                  <a:gd name="T1" fmla="*/ 0 h 6"/>
                  <a:gd name="T2" fmla="*/ 2 w 6"/>
                  <a:gd name="T3" fmla="*/ 0 h 6"/>
                  <a:gd name="T4" fmla="*/ 2 w 6"/>
                  <a:gd name="T5" fmla="*/ 2 h 6"/>
                  <a:gd name="T6" fmla="*/ 2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2" y="2"/>
                    </a:lnTo>
                    <a:lnTo>
                      <a:pt x="2" y="2"/>
                    </a:lnTo>
                    <a:lnTo>
                      <a:pt x="0" y="2"/>
                    </a:lnTo>
                    <a:lnTo>
                      <a:pt x="0" y="2"/>
                    </a:lnTo>
                    <a:lnTo>
                      <a:pt x="2" y="6"/>
                    </a:lnTo>
                    <a:lnTo>
                      <a:pt x="2" y="6"/>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0" name="Freeform 573"/>
              <p:cNvSpPr>
                <a:spLocks/>
              </p:cNvSpPr>
              <p:nvPr/>
            </p:nvSpPr>
            <p:spPr bwMode="auto">
              <a:xfrm>
                <a:off x="758" y="1204"/>
                <a:ext cx="6" cy="6"/>
              </a:xfrm>
              <a:custGeom>
                <a:avLst/>
                <a:gdLst>
                  <a:gd name="T0" fmla="*/ 2 w 6"/>
                  <a:gd name="T1" fmla="*/ 0 h 6"/>
                  <a:gd name="T2" fmla="*/ 2 w 6"/>
                  <a:gd name="T3" fmla="*/ 0 h 6"/>
                  <a:gd name="T4" fmla="*/ 2 w 6"/>
                  <a:gd name="T5" fmla="*/ 2 h 6"/>
                  <a:gd name="T6" fmla="*/ 2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2" y="2"/>
                    </a:lnTo>
                    <a:lnTo>
                      <a:pt x="2"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1" name="Freeform 574"/>
              <p:cNvSpPr>
                <a:spLocks/>
              </p:cNvSpPr>
              <p:nvPr/>
            </p:nvSpPr>
            <p:spPr bwMode="auto">
              <a:xfrm>
                <a:off x="760" y="1204"/>
                <a:ext cx="4" cy="2"/>
              </a:xfrm>
              <a:custGeom>
                <a:avLst/>
                <a:gdLst>
                  <a:gd name="T0" fmla="*/ 0 w 4"/>
                  <a:gd name="T1" fmla="*/ 0 h 2"/>
                  <a:gd name="T2" fmla="*/ 0 w 4"/>
                  <a:gd name="T3" fmla="*/ 0 h 2"/>
                  <a:gd name="T4" fmla="*/ 0 w 4"/>
                  <a:gd name="T5" fmla="*/ 2 h 2"/>
                  <a:gd name="T6" fmla="*/ 0 w 4"/>
                  <a:gd name="T7" fmla="*/ 2 h 2"/>
                  <a:gd name="T8" fmla="*/ 0 w 4"/>
                  <a:gd name="T9" fmla="*/ 0 h 2"/>
                  <a:gd name="T10" fmla="*/ 0 w 4"/>
                  <a:gd name="T11" fmla="*/ 0 h 2"/>
                  <a:gd name="T12" fmla="*/ 4 w 4"/>
                  <a:gd name="T13" fmla="*/ 2 h 2"/>
                  <a:gd name="T14" fmla="*/ 4 w 4"/>
                  <a:gd name="T15" fmla="*/ 2 h 2"/>
                  <a:gd name="T16" fmla="*/ 4 w 4"/>
                  <a:gd name="T17" fmla="*/ 2 h 2"/>
                  <a:gd name="T18" fmla="*/ 4 w 4"/>
                  <a:gd name="T19" fmla="*/ 2 h 2"/>
                  <a:gd name="T20" fmla="*/ 0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0"/>
                    </a:moveTo>
                    <a:lnTo>
                      <a:pt x="0" y="0"/>
                    </a:lnTo>
                    <a:lnTo>
                      <a:pt x="0" y="2"/>
                    </a:lnTo>
                    <a:lnTo>
                      <a:pt x="0" y="2"/>
                    </a:lnTo>
                    <a:lnTo>
                      <a:pt x="0" y="0"/>
                    </a:lnTo>
                    <a:lnTo>
                      <a:pt x="0" y="0"/>
                    </a:lnTo>
                    <a:lnTo>
                      <a:pt x="4" y="2"/>
                    </a:lnTo>
                    <a:lnTo>
                      <a:pt x="4" y="2"/>
                    </a:lnTo>
                    <a:lnTo>
                      <a:pt x="4" y="2"/>
                    </a:lnTo>
                    <a:lnTo>
                      <a:pt x="4" y="2"/>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2" name="Freeform 575"/>
              <p:cNvSpPr>
                <a:spLocks/>
              </p:cNvSpPr>
              <p:nvPr/>
            </p:nvSpPr>
            <p:spPr bwMode="auto">
              <a:xfrm>
                <a:off x="760" y="1204"/>
                <a:ext cx="4" cy="2"/>
              </a:xfrm>
              <a:custGeom>
                <a:avLst/>
                <a:gdLst>
                  <a:gd name="T0" fmla="*/ 0 w 4"/>
                  <a:gd name="T1" fmla="*/ 0 h 2"/>
                  <a:gd name="T2" fmla="*/ 0 w 4"/>
                  <a:gd name="T3" fmla="*/ 0 h 2"/>
                  <a:gd name="T4" fmla="*/ 0 w 4"/>
                  <a:gd name="T5" fmla="*/ 2 h 2"/>
                  <a:gd name="T6" fmla="*/ 0 w 4"/>
                  <a:gd name="T7" fmla="*/ 2 h 2"/>
                  <a:gd name="T8" fmla="*/ 0 w 4"/>
                  <a:gd name="T9" fmla="*/ 0 h 2"/>
                  <a:gd name="T10" fmla="*/ 0 w 4"/>
                  <a:gd name="T11" fmla="*/ 0 h 2"/>
                  <a:gd name="T12" fmla="*/ 4 w 4"/>
                  <a:gd name="T13" fmla="*/ 2 h 2"/>
                  <a:gd name="T14" fmla="*/ 4 w 4"/>
                  <a:gd name="T15" fmla="*/ 2 h 2"/>
                  <a:gd name="T16" fmla="*/ 4 w 4"/>
                  <a:gd name="T17" fmla="*/ 2 h 2"/>
                  <a:gd name="T18" fmla="*/ 4 w 4"/>
                  <a:gd name="T19" fmla="*/ 2 h 2"/>
                  <a:gd name="T20" fmla="*/ 0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0"/>
                    </a:moveTo>
                    <a:lnTo>
                      <a:pt x="0" y="0"/>
                    </a:lnTo>
                    <a:lnTo>
                      <a:pt x="0" y="2"/>
                    </a:lnTo>
                    <a:lnTo>
                      <a:pt x="0" y="2"/>
                    </a:lnTo>
                    <a:lnTo>
                      <a:pt x="0" y="0"/>
                    </a:lnTo>
                    <a:lnTo>
                      <a:pt x="0" y="0"/>
                    </a:lnTo>
                    <a:lnTo>
                      <a:pt x="4" y="2"/>
                    </a:lnTo>
                    <a:lnTo>
                      <a:pt x="4" y="2"/>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3" name="Freeform 576"/>
              <p:cNvSpPr>
                <a:spLocks/>
              </p:cNvSpPr>
              <p:nvPr/>
            </p:nvSpPr>
            <p:spPr bwMode="auto">
              <a:xfrm>
                <a:off x="128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4" name="Freeform 577"/>
              <p:cNvSpPr>
                <a:spLocks/>
              </p:cNvSpPr>
              <p:nvPr/>
            </p:nvSpPr>
            <p:spPr bwMode="auto">
              <a:xfrm>
                <a:off x="152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5" name="Freeform 578"/>
              <p:cNvSpPr>
                <a:spLocks/>
              </p:cNvSpPr>
              <p:nvPr/>
            </p:nvSpPr>
            <p:spPr bwMode="auto">
              <a:xfrm>
                <a:off x="1612"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6" name="Freeform 579"/>
              <p:cNvSpPr>
                <a:spLocks/>
              </p:cNvSpPr>
              <p:nvPr/>
            </p:nvSpPr>
            <p:spPr bwMode="auto">
              <a:xfrm>
                <a:off x="1702"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7" name="Freeform 580"/>
              <p:cNvSpPr>
                <a:spLocks/>
              </p:cNvSpPr>
              <p:nvPr/>
            </p:nvSpPr>
            <p:spPr bwMode="auto">
              <a:xfrm>
                <a:off x="137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8" name="Freeform 581"/>
              <p:cNvSpPr>
                <a:spLocks/>
              </p:cNvSpPr>
              <p:nvPr/>
            </p:nvSpPr>
            <p:spPr bwMode="auto">
              <a:xfrm>
                <a:off x="1372"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69" name="Freeform 582"/>
              <p:cNvSpPr>
                <a:spLocks/>
              </p:cNvSpPr>
              <p:nvPr/>
            </p:nvSpPr>
            <p:spPr bwMode="auto">
              <a:xfrm>
                <a:off x="143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0" name="Freeform 583"/>
              <p:cNvSpPr>
                <a:spLocks/>
              </p:cNvSpPr>
              <p:nvPr/>
            </p:nvSpPr>
            <p:spPr bwMode="auto">
              <a:xfrm>
                <a:off x="1432"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1" name="Freeform 584"/>
              <p:cNvSpPr>
                <a:spLocks noEditPoints="1"/>
              </p:cNvSpPr>
              <p:nvPr/>
            </p:nvSpPr>
            <p:spPr bwMode="auto">
              <a:xfrm>
                <a:off x="1792"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2" name="Freeform 585"/>
              <p:cNvSpPr>
                <a:spLocks noEditPoints="1"/>
              </p:cNvSpPr>
              <p:nvPr/>
            </p:nvSpPr>
            <p:spPr bwMode="auto">
              <a:xfrm>
                <a:off x="1930" y="1158"/>
                <a:ext cx="98" cy="148"/>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3" name="Freeform 586"/>
              <p:cNvSpPr>
                <a:spLocks/>
              </p:cNvSpPr>
              <p:nvPr/>
            </p:nvSpPr>
            <p:spPr bwMode="auto">
              <a:xfrm>
                <a:off x="2068"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4" name="Freeform 587"/>
              <p:cNvSpPr>
                <a:spLocks/>
              </p:cNvSpPr>
              <p:nvPr/>
            </p:nvSpPr>
            <p:spPr bwMode="auto">
              <a:xfrm>
                <a:off x="216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5" name="Freeform 588"/>
              <p:cNvSpPr>
                <a:spLocks/>
              </p:cNvSpPr>
              <p:nvPr/>
            </p:nvSpPr>
            <p:spPr bwMode="auto">
              <a:xfrm>
                <a:off x="2252"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6" name="Freeform 589"/>
              <p:cNvSpPr>
                <a:spLocks noEditPoints="1"/>
              </p:cNvSpPr>
              <p:nvPr/>
            </p:nvSpPr>
            <p:spPr bwMode="auto">
              <a:xfrm>
                <a:off x="1882" y="96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7" name="Freeform 590"/>
              <p:cNvSpPr>
                <a:spLocks/>
              </p:cNvSpPr>
              <p:nvPr/>
            </p:nvSpPr>
            <p:spPr bwMode="auto">
              <a:xfrm>
                <a:off x="2020"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8" name="Freeform 591"/>
              <p:cNvSpPr>
                <a:spLocks/>
              </p:cNvSpPr>
              <p:nvPr/>
            </p:nvSpPr>
            <p:spPr bwMode="auto">
              <a:xfrm>
                <a:off x="2114"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79" name="Freeform 592"/>
              <p:cNvSpPr>
                <a:spLocks/>
              </p:cNvSpPr>
              <p:nvPr/>
            </p:nvSpPr>
            <p:spPr bwMode="auto">
              <a:xfrm>
                <a:off x="2206"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0" name="Freeform 593"/>
              <p:cNvSpPr>
                <a:spLocks/>
              </p:cNvSpPr>
              <p:nvPr/>
            </p:nvSpPr>
            <p:spPr bwMode="auto">
              <a:xfrm>
                <a:off x="2296"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1" name="Freeform 594"/>
              <p:cNvSpPr>
                <a:spLocks/>
              </p:cNvSpPr>
              <p:nvPr/>
            </p:nvSpPr>
            <p:spPr bwMode="auto">
              <a:xfrm>
                <a:off x="253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2" name="Freeform 595"/>
              <p:cNvSpPr>
                <a:spLocks/>
              </p:cNvSpPr>
              <p:nvPr/>
            </p:nvSpPr>
            <p:spPr bwMode="auto">
              <a:xfrm>
                <a:off x="263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3" name="Freeform 596"/>
              <p:cNvSpPr>
                <a:spLocks/>
              </p:cNvSpPr>
              <p:nvPr/>
            </p:nvSpPr>
            <p:spPr bwMode="auto">
              <a:xfrm>
                <a:off x="272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4" name="Freeform 597"/>
              <p:cNvSpPr>
                <a:spLocks/>
              </p:cNvSpPr>
              <p:nvPr/>
            </p:nvSpPr>
            <p:spPr bwMode="auto">
              <a:xfrm>
                <a:off x="2818"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5" name="Freeform 598"/>
              <p:cNvSpPr>
                <a:spLocks/>
              </p:cNvSpPr>
              <p:nvPr/>
            </p:nvSpPr>
            <p:spPr bwMode="auto">
              <a:xfrm>
                <a:off x="2390" y="96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6" name="Freeform 599"/>
              <p:cNvSpPr>
                <a:spLocks/>
              </p:cNvSpPr>
              <p:nvPr/>
            </p:nvSpPr>
            <p:spPr bwMode="auto">
              <a:xfrm>
                <a:off x="2390" y="96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7" name="Freeform 600"/>
              <p:cNvSpPr>
                <a:spLocks/>
              </p:cNvSpPr>
              <p:nvPr/>
            </p:nvSpPr>
            <p:spPr bwMode="auto">
              <a:xfrm>
                <a:off x="2450"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8" name="Freeform 601"/>
              <p:cNvSpPr>
                <a:spLocks/>
              </p:cNvSpPr>
              <p:nvPr/>
            </p:nvSpPr>
            <p:spPr bwMode="auto">
              <a:xfrm>
                <a:off x="2450"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89" name="Freeform 602"/>
              <p:cNvSpPr>
                <a:spLocks/>
              </p:cNvSpPr>
              <p:nvPr/>
            </p:nvSpPr>
            <p:spPr bwMode="auto">
              <a:xfrm>
                <a:off x="3138"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0" name="Freeform 603"/>
              <p:cNvSpPr>
                <a:spLocks/>
              </p:cNvSpPr>
              <p:nvPr/>
            </p:nvSpPr>
            <p:spPr bwMode="auto">
              <a:xfrm>
                <a:off x="3138"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1" name="Freeform 604"/>
              <p:cNvSpPr>
                <a:spLocks/>
              </p:cNvSpPr>
              <p:nvPr/>
            </p:nvSpPr>
            <p:spPr bwMode="auto">
              <a:xfrm>
                <a:off x="3200"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2" name="Freeform 605"/>
              <p:cNvSpPr>
                <a:spLocks/>
              </p:cNvSpPr>
              <p:nvPr/>
            </p:nvSpPr>
            <p:spPr bwMode="auto">
              <a:xfrm>
                <a:off x="3200"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593" name="Freeform 606"/>
              <p:cNvSpPr>
                <a:spLocks/>
              </p:cNvSpPr>
              <p:nvPr/>
            </p:nvSpPr>
            <p:spPr bwMode="auto">
              <a:xfrm>
                <a:off x="328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6" name="Group 808"/>
            <p:cNvGrpSpPr>
              <a:grpSpLocks/>
            </p:cNvGrpSpPr>
            <p:nvPr/>
          </p:nvGrpSpPr>
          <p:grpSpPr bwMode="auto">
            <a:xfrm>
              <a:off x="15876" y="631825"/>
              <a:ext cx="5965804" cy="1447800"/>
              <a:chOff x="10" y="598"/>
              <a:chExt cx="3758" cy="912"/>
            </a:xfrm>
          </p:grpSpPr>
          <p:sp>
            <p:nvSpPr>
              <p:cNvPr id="2194" name="Freeform 608"/>
              <p:cNvSpPr>
                <a:spLocks/>
              </p:cNvSpPr>
              <p:nvPr/>
            </p:nvSpPr>
            <p:spPr bwMode="auto">
              <a:xfrm>
                <a:off x="338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5" name="Freeform 609"/>
              <p:cNvSpPr>
                <a:spLocks/>
              </p:cNvSpPr>
              <p:nvPr/>
            </p:nvSpPr>
            <p:spPr bwMode="auto">
              <a:xfrm>
                <a:off x="347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6" name="Freeform 610"/>
              <p:cNvSpPr>
                <a:spLocks/>
              </p:cNvSpPr>
              <p:nvPr/>
            </p:nvSpPr>
            <p:spPr bwMode="auto">
              <a:xfrm>
                <a:off x="3712"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7" name="Freeform 611"/>
              <p:cNvSpPr>
                <a:spLocks/>
              </p:cNvSpPr>
              <p:nvPr/>
            </p:nvSpPr>
            <p:spPr bwMode="auto">
              <a:xfrm>
                <a:off x="3564" y="96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8" name="Freeform 612"/>
              <p:cNvSpPr>
                <a:spLocks/>
              </p:cNvSpPr>
              <p:nvPr/>
            </p:nvSpPr>
            <p:spPr bwMode="auto">
              <a:xfrm>
                <a:off x="3564" y="96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9" name="Freeform 613"/>
              <p:cNvSpPr>
                <a:spLocks/>
              </p:cNvSpPr>
              <p:nvPr/>
            </p:nvSpPr>
            <p:spPr bwMode="auto">
              <a:xfrm>
                <a:off x="3624"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0" name="Freeform 614"/>
              <p:cNvSpPr>
                <a:spLocks/>
              </p:cNvSpPr>
              <p:nvPr/>
            </p:nvSpPr>
            <p:spPr bwMode="auto">
              <a:xfrm>
                <a:off x="3624"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1" name="Freeform 615"/>
              <p:cNvSpPr>
                <a:spLocks noEditPoints="1"/>
              </p:cNvSpPr>
              <p:nvPr/>
            </p:nvSpPr>
            <p:spPr bwMode="auto">
              <a:xfrm>
                <a:off x="1872" y="778"/>
                <a:ext cx="186" cy="146"/>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2" name="Freeform 616"/>
              <p:cNvSpPr>
                <a:spLocks/>
              </p:cNvSpPr>
              <p:nvPr/>
            </p:nvSpPr>
            <p:spPr bwMode="auto">
              <a:xfrm>
                <a:off x="1974" y="882"/>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3" name="Freeform 617"/>
              <p:cNvSpPr>
                <a:spLocks/>
              </p:cNvSpPr>
              <p:nvPr/>
            </p:nvSpPr>
            <p:spPr bwMode="auto">
              <a:xfrm>
                <a:off x="1876" y="878"/>
                <a:ext cx="20" cy="22"/>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4" name="Freeform 618"/>
              <p:cNvSpPr>
                <a:spLocks/>
              </p:cNvSpPr>
              <p:nvPr/>
            </p:nvSpPr>
            <p:spPr bwMode="auto">
              <a:xfrm>
                <a:off x="1874" y="8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5" name="Freeform 619"/>
              <p:cNvSpPr>
                <a:spLocks/>
              </p:cNvSpPr>
              <p:nvPr/>
            </p:nvSpPr>
            <p:spPr bwMode="auto">
              <a:xfrm>
                <a:off x="1886" y="7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6" name="Freeform 620"/>
              <p:cNvSpPr>
                <a:spLocks/>
              </p:cNvSpPr>
              <p:nvPr/>
            </p:nvSpPr>
            <p:spPr bwMode="auto">
              <a:xfrm>
                <a:off x="1872" y="778"/>
                <a:ext cx="186" cy="146"/>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7" name="Freeform 621"/>
              <p:cNvSpPr>
                <a:spLocks/>
              </p:cNvSpPr>
              <p:nvPr/>
            </p:nvSpPr>
            <p:spPr bwMode="auto">
              <a:xfrm>
                <a:off x="1878"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8" name="Freeform 622"/>
              <p:cNvSpPr>
                <a:spLocks/>
              </p:cNvSpPr>
              <p:nvPr/>
            </p:nvSpPr>
            <p:spPr bwMode="auto">
              <a:xfrm>
                <a:off x="1878"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09" name="Freeform 623"/>
              <p:cNvSpPr>
                <a:spLocks/>
              </p:cNvSpPr>
              <p:nvPr/>
            </p:nvSpPr>
            <p:spPr bwMode="auto">
              <a:xfrm>
                <a:off x="1880"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0" name="Freeform 624"/>
              <p:cNvSpPr>
                <a:spLocks/>
              </p:cNvSpPr>
              <p:nvPr/>
            </p:nvSpPr>
            <p:spPr bwMode="auto">
              <a:xfrm>
                <a:off x="1880"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1" name="Freeform 625"/>
              <p:cNvSpPr>
                <a:spLocks/>
              </p:cNvSpPr>
              <p:nvPr/>
            </p:nvSpPr>
            <p:spPr bwMode="auto">
              <a:xfrm>
                <a:off x="1974" y="882"/>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2" name="Freeform 626"/>
              <p:cNvSpPr>
                <a:spLocks/>
              </p:cNvSpPr>
              <p:nvPr/>
            </p:nvSpPr>
            <p:spPr bwMode="auto">
              <a:xfrm>
                <a:off x="1974" y="882"/>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3" name="Freeform 627"/>
              <p:cNvSpPr>
                <a:spLocks noEditPoints="1"/>
              </p:cNvSpPr>
              <p:nvPr/>
            </p:nvSpPr>
            <p:spPr bwMode="auto">
              <a:xfrm>
                <a:off x="1974" y="882"/>
                <a:ext cx="18" cy="26"/>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4" name="Freeform 628"/>
              <p:cNvSpPr>
                <a:spLocks/>
              </p:cNvSpPr>
              <p:nvPr/>
            </p:nvSpPr>
            <p:spPr bwMode="auto">
              <a:xfrm>
                <a:off x="1974" y="902"/>
                <a:ext cx="6" cy="6"/>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5" name="Freeform 629"/>
              <p:cNvSpPr>
                <a:spLocks/>
              </p:cNvSpPr>
              <p:nvPr/>
            </p:nvSpPr>
            <p:spPr bwMode="auto">
              <a:xfrm>
                <a:off x="1984" y="882"/>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6" name="Freeform 630"/>
              <p:cNvSpPr>
                <a:spLocks/>
              </p:cNvSpPr>
              <p:nvPr/>
            </p:nvSpPr>
            <p:spPr bwMode="auto">
              <a:xfrm>
                <a:off x="18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7" name="Freeform 631"/>
              <p:cNvSpPr>
                <a:spLocks/>
              </p:cNvSpPr>
              <p:nvPr/>
            </p:nvSpPr>
            <p:spPr bwMode="auto">
              <a:xfrm>
                <a:off x="18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8" name="Freeform 632"/>
              <p:cNvSpPr>
                <a:spLocks noEditPoints="1"/>
              </p:cNvSpPr>
              <p:nvPr/>
            </p:nvSpPr>
            <p:spPr bwMode="auto">
              <a:xfrm>
                <a:off x="1876" y="828"/>
                <a:ext cx="8" cy="2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19" name="Freeform 633"/>
              <p:cNvSpPr>
                <a:spLocks/>
              </p:cNvSpPr>
              <p:nvPr/>
            </p:nvSpPr>
            <p:spPr bwMode="auto">
              <a:xfrm>
                <a:off x="1878" y="846"/>
                <a:ext cx="6" cy="2"/>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0" name="Freeform 634"/>
              <p:cNvSpPr>
                <a:spLocks/>
              </p:cNvSpPr>
              <p:nvPr/>
            </p:nvSpPr>
            <p:spPr bwMode="auto">
              <a:xfrm>
                <a:off x="1884" y="84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1" name="Freeform 635"/>
              <p:cNvSpPr>
                <a:spLocks/>
              </p:cNvSpPr>
              <p:nvPr/>
            </p:nvSpPr>
            <p:spPr bwMode="auto">
              <a:xfrm>
                <a:off x="1876" y="828"/>
                <a:ext cx="4" cy="16"/>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2" name="Freeform 636"/>
              <p:cNvSpPr>
                <a:spLocks/>
              </p:cNvSpPr>
              <p:nvPr/>
            </p:nvSpPr>
            <p:spPr bwMode="auto">
              <a:xfrm>
                <a:off x="1878" y="828"/>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3" name="Freeform 637"/>
              <p:cNvSpPr>
                <a:spLocks noEditPoints="1"/>
              </p:cNvSpPr>
              <p:nvPr/>
            </p:nvSpPr>
            <p:spPr bwMode="auto">
              <a:xfrm>
                <a:off x="1988" y="816"/>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4" name="Freeform 638"/>
              <p:cNvSpPr>
                <a:spLocks/>
              </p:cNvSpPr>
              <p:nvPr/>
            </p:nvSpPr>
            <p:spPr bwMode="auto">
              <a:xfrm>
                <a:off x="1992" y="824"/>
                <a:ext cx="8" cy="4"/>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5" name="Freeform 639"/>
              <p:cNvSpPr>
                <a:spLocks/>
              </p:cNvSpPr>
              <p:nvPr/>
            </p:nvSpPr>
            <p:spPr bwMode="auto">
              <a:xfrm>
                <a:off x="1988" y="816"/>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6" name="Freeform 640"/>
              <p:cNvSpPr>
                <a:spLocks/>
              </p:cNvSpPr>
              <p:nvPr/>
            </p:nvSpPr>
            <p:spPr bwMode="auto">
              <a:xfrm>
                <a:off x="1942"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7" name="Freeform 641"/>
              <p:cNvSpPr>
                <a:spLocks/>
              </p:cNvSpPr>
              <p:nvPr/>
            </p:nvSpPr>
            <p:spPr bwMode="auto">
              <a:xfrm>
                <a:off x="1942"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8" name="Freeform 642"/>
              <p:cNvSpPr>
                <a:spLocks/>
              </p:cNvSpPr>
              <p:nvPr/>
            </p:nvSpPr>
            <p:spPr bwMode="auto">
              <a:xfrm>
                <a:off x="2036" y="808"/>
                <a:ext cx="12" cy="10"/>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29" name="Freeform 643"/>
              <p:cNvSpPr>
                <a:spLocks/>
              </p:cNvSpPr>
              <p:nvPr/>
            </p:nvSpPr>
            <p:spPr bwMode="auto">
              <a:xfrm>
                <a:off x="2036" y="808"/>
                <a:ext cx="12" cy="10"/>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0" name="Freeform 644"/>
              <p:cNvSpPr>
                <a:spLocks/>
              </p:cNvSpPr>
              <p:nvPr/>
            </p:nvSpPr>
            <p:spPr bwMode="auto">
              <a:xfrm>
                <a:off x="1982"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1" name="Freeform 645"/>
              <p:cNvSpPr>
                <a:spLocks/>
              </p:cNvSpPr>
              <p:nvPr/>
            </p:nvSpPr>
            <p:spPr bwMode="auto">
              <a:xfrm>
                <a:off x="1982"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2" name="Freeform 646"/>
              <p:cNvSpPr>
                <a:spLocks/>
              </p:cNvSpPr>
              <p:nvPr/>
            </p:nvSpPr>
            <p:spPr bwMode="auto">
              <a:xfrm>
                <a:off x="1996" y="8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3" name="Freeform 647"/>
              <p:cNvSpPr>
                <a:spLocks/>
              </p:cNvSpPr>
              <p:nvPr/>
            </p:nvSpPr>
            <p:spPr bwMode="auto">
              <a:xfrm>
                <a:off x="1996" y="8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4" name="Freeform 648"/>
              <p:cNvSpPr>
                <a:spLocks/>
              </p:cNvSpPr>
              <p:nvPr/>
            </p:nvSpPr>
            <p:spPr bwMode="auto">
              <a:xfrm>
                <a:off x="1994"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5" name="Freeform 649"/>
              <p:cNvSpPr>
                <a:spLocks/>
              </p:cNvSpPr>
              <p:nvPr/>
            </p:nvSpPr>
            <p:spPr bwMode="auto">
              <a:xfrm>
                <a:off x="1994"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6" name="Freeform 650"/>
              <p:cNvSpPr>
                <a:spLocks noEditPoints="1"/>
              </p:cNvSpPr>
              <p:nvPr/>
            </p:nvSpPr>
            <p:spPr bwMode="auto">
              <a:xfrm>
                <a:off x="1994"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7" name="Freeform 651"/>
              <p:cNvSpPr>
                <a:spLocks/>
              </p:cNvSpPr>
              <p:nvPr/>
            </p:nvSpPr>
            <p:spPr bwMode="auto">
              <a:xfrm>
                <a:off x="1994"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8" name="Freeform 652"/>
              <p:cNvSpPr>
                <a:spLocks/>
              </p:cNvSpPr>
              <p:nvPr/>
            </p:nvSpPr>
            <p:spPr bwMode="auto">
              <a:xfrm>
                <a:off x="1996" y="82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39" name="Freeform 653"/>
              <p:cNvSpPr>
                <a:spLocks noEditPoints="1"/>
              </p:cNvSpPr>
              <p:nvPr/>
            </p:nvSpPr>
            <p:spPr bwMode="auto">
              <a:xfrm>
                <a:off x="2910" y="966"/>
                <a:ext cx="188" cy="146"/>
              </a:xfrm>
              <a:custGeom>
                <a:avLst/>
                <a:gdLst>
                  <a:gd name="T0" fmla="*/ 118 w 188"/>
                  <a:gd name="T1" fmla="*/ 130 h 146"/>
                  <a:gd name="T2" fmla="*/ 114 w 188"/>
                  <a:gd name="T3" fmla="*/ 130 h 146"/>
                  <a:gd name="T4" fmla="*/ 104 w 188"/>
                  <a:gd name="T5" fmla="*/ 130 h 146"/>
                  <a:gd name="T6" fmla="*/ 14 w 188"/>
                  <a:gd name="T7" fmla="*/ 100 h 146"/>
                  <a:gd name="T8" fmla="*/ 18 w 188"/>
                  <a:gd name="T9" fmla="*/ 122 h 146"/>
                  <a:gd name="T10" fmla="*/ 10 w 188"/>
                  <a:gd name="T11" fmla="*/ 50 h 146"/>
                  <a:gd name="T12" fmla="*/ 10 w 188"/>
                  <a:gd name="T13" fmla="*/ 50 h 146"/>
                  <a:gd name="T14" fmla="*/ 6 w 188"/>
                  <a:gd name="T15" fmla="*/ 64 h 146"/>
                  <a:gd name="T16" fmla="*/ 12 w 188"/>
                  <a:gd name="T17" fmla="*/ 66 h 146"/>
                  <a:gd name="T18" fmla="*/ 12 w 188"/>
                  <a:gd name="T19" fmla="*/ 68 h 146"/>
                  <a:gd name="T20" fmla="*/ 2 w 188"/>
                  <a:gd name="T21" fmla="*/ 54 h 146"/>
                  <a:gd name="T22" fmla="*/ 88 w 188"/>
                  <a:gd name="T23" fmla="*/ 12 h 146"/>
                  <a:gd name="T24" fmla="*/ 144 w 188"/>
                  <a:gd name="T25" fmla="*/ 20 h 146"/>
                  <a:gd name="T26" fmla="*/ 150 w 188"/>
                  <a:gd name="T27" fmla="*/ 40 h 146"/>
                  <a:gd name="T28" fmla="*/ 146 w 188"/>
                  <a:gd name="T29" fmla="*/ 52 h 146"/>
                  <a:gd name="T30" fmla="*/ 152 w 188"/>
                  <a:gd name="T31" fmla="*/ 56 h 146"/>
                  <a:gd name="T32" fmla="*/ 162 w 188"/>
                  <a:gd name="T33" fmla="*/ 50 h 146"/>
                  <a:gd name="T34" fmla="*/ 176 w 188"/>
                  <a:gd name="T35" fmla="*/ 28 h 146"/>
                  <a:gd name="T36" fmla="*/ 184 w 188"/>
                  <a:gd name="T37" fmla="*/ 70 h 146"/>
                  <a:gd name="T38" fmla="*/ 132 w 188"/>
                  <a:gd name="T39" fmla="*/ 82 h 146"/>
                  <a:gd name="T40" fmla="*/ 138 w 188"/>
                  <a:gd name="T41" fmla="*/ 98 h 146"/>
                  <a:gd name="T42" fmla="*/ 140 w 188"/>
                  <a:gd name="T43" fmla="*/ 100 h 146"/>
                  <a:gd name="T44" fmla="*/ 106 w 188"/>
                  <a:gd name="T45" fmla="*/ 88 h 146"/>
                  <a:gd name="T46" fmla="*/ 100 w 188"/>
                  <a:gd name="T47" fmla="*/ 128 h 146"/>
                  <a:gd name="T48" fmla="*/ 76 w 188"/>
                  <a:gd name="T49" fmla="*/ 142 h 146"/>
                  <a:gd name="T50" fmla="*/ 78 w 188"/>
                  <a:gd name="T51" fmla="*/ 110 h 146"/>
                  <a:gd name="T52" fmla="*/ 56 w 188"/>
                  <a:gd name="T53" fmla="*/ 116 h 146"/>
                  <a:gd name="T54" fmla="*/ 52 w 188"/>
                  <a:gd name="T55" fmla="*/ 126 h 146"/>
                  <a:gd name="T56" fmla="*/ 26 w 188"/>
                  <a:gd name="T57" fmla="*/ 136 h 146"/>
                  <a:gd name="T58" fmla="*/ 26 w 188"/>
                  <a:gd name="T59" fmla="*/ 114 h 146"/>
                  <a:gd name="T60" fmla="*/ 24 w 188"/>
                  <a:gd name="T61" fmla="*/ 54 h 146"/>
                  <a:gd name="T62" fmla="*/ 48 w 188"/>
                  <a:gd name="T63" fmla="*/ 50 h 146"/>
                  <a:gd name="T64" fmla="*/ 50 w 188"/>
                  <a:gd name="T65" fmla="*/ 84 h 146"/>
                  <a:gd name="T66" fmla="*/ 68 w 188"/>
                  <a:gd name="T67" fmla="*/ 98 h 146"/>
                  <a:gd name="T68" fmla="*/ 98 w 188"/>
                  <a:gd name="T69" fmla="*/ 72 h 146"/>
                  <a:gd name="T70" fmla="*/ 92 w 188"/>
                  <a:gd name="T71" fmla="*/ 84 h 146"/>
                  <a:gd name="T72" fmla="*/ 54 w 188"/>
                  <a:gd name="T73" fmla="*/ 90 h 146"/>
                  <a:gd name="T74" fmla="*/ 52 w 188"/>
                  <a:gd name="T75" fmla="*/ 78 h 146"/>
                  <a:gd name="T76" fmla="*/ 72 w 188"/>
                  <a:gd name="T77" fmla="*/ 26 h 146"/>
                  <a:gd name="T78" fmla="*/ 112 w 188"/>
                  <a:gd name="T79" fmla="*/ 0 h 146"/>
                  <a:gd name="T80" fmla="*/ 72 w 188"/>
                  <a:gd name="T81" fmla="*/ 22 h 146"/>
                  <a:gd name="T82" fmla="*/ 24 w 188"/>
                  <a:gd name="T83" fmla="*/ 46 h 146"/>
                  <a:gd name="T84" fmla="*/ 14 w 188"/>
                  <a:gd name="T85" fmla="*/ 56 h 146"/>
                  <a:gd name="T86" fmla="*/ 0 w 188"/>
                  <a:gd name="T87" fmla="*/ 58 h 146"/>
                  <a:gd name="T88" fmla="*/ 12 w 188"/>
                  <a:gd name="T89" fmla="*/ 90 h 146"/>
                  <a:gd name="T90" fmla="*/ 10 w 188"/>
                  <a:gd name="T91" fmla="*/ 120 h 146"/>
                  <a:gd name="T92" fmla="*/ 24 w 188"/>
                  <a:gd name="T93" fmla="*/ 138 h 146"/>
                  <a:gd name="T94" fmla="*/ 50 w 188"/>
                  <a:gd name="T95" fmla="*/ 136 h 146"/>
                  <a:gd name="T96" fmla="*/ 64 w 188"/>
                  <a:gd name="T97" fmla="*/ 128 h 146"/>
                  <a:gd name="T98" fmla="*/ 88 w 188"/>
                  <a:gd name="T99" fmla="*/ 142 h 146"/>
                  <a:gd name="T100" fmla="*/ 124 w 188"/>
                  <a:gd name="T101" fmla="*/ 128 h 146"/>
                  <a:gd name="T102" fmla="*/ 118 w 188"/>
                  <a:gd name="T103" fmla="*/ 96 h 146"/>
                  <a:gd name="T104" fmla="*/ 146 w 188"/>
                  <a:gd name="T105" fmla="*/ 96 h 146"/>
                  <a:gd name="T106" fmla="*/ 168 w 188"/>
                  <a:gd name="T107" fmla="*/ 90 h 146"/>
                  <a:gd name="T108" fmla="*/ 184 w 188"/>
                  <a:gd name="T109" fmla="*/ 28 h 146"/>
                  <a:gd name="T110" fmla="*/ 166 w 188"/>
                  <a:gd name="T111" fmla="*/ 32 h 146"/>
                  <a:gd name="T112" fmla="*/ 138 w 188"/>
                  <a:gd name="T11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6" y="64"/>
                    </a:lnTo>
                    <a:lnTo>
                      <a:pt x="6" y="64"/>
                    </a:lnTo>
                    <a:lnTo>
                      <a:pt x="6" y="64"/>
                    </a:lnTo>
                    <a:lnTo>
                      <a:pt x="6" y="64"/>
                    </a:lnTo>
                    <a:lnTo>
                      <a:pt x="6" y="64"/>
                    </a:lnTo>
                    <a:lnTo>
                      <a:pt x="6" y="64"/>
                    </a:lnTo>
                    <a:lnTo>
                      <a:pt x="6" y="66"/>
                    </a:lnTo>
                    <a:lnTo>
                      <a:pt x="6"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6"/>
                    </a:lnTo>
                    <a:lnTo>
                      <a:pt x="12" y="68"/>
                    </a:lnTo>
                    <a:lnTo>
                      <a:pt x="12"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2"/>
                    </a:lnTo>
                    <a:lnTo>
                      <a:pt x="126" y="98"/>
                    </a:lnTo>
                    <a:lnTo>
                      <a:pt x="126" y="98"/>
                    </a:lnTo>
                    <a:lnTo>
                      <a:pt x="116" y="92"/>
                    </a:lnTo>
                    <a:lnTo>
                      <a:pt x="106" y="88"/>
                    </a:lnTo>
                    <a:lnTo>
                      <a:pt x="106" y="88"/>
                    </a:lnTo>
                    <a:lnTo>
                      <a:pt x="112" y="92"/>
                    </a:lnTo>
                    <a:lnTo>
                      <a:pt x="112" y="92"/>
                    </a:lnTo>
                    <a:lnTo>
                      <a:pt x="116" y="96"/>
                    </a:lnTo>
                    <a:lnTo>
                      <a:pt x="116" y="96"/>
                    </a:lnTo>
                    <a:lnTo>
                      <a:pt x="110" y="114"/>
                    </a:lnTo>
                    <a:lnTo>
                      <a:pt x="106" y="120"/>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2" y="122"/>
                    </a:lnTo>
                    <a:lnTo>
                      <a:pt x="72" y="122"/>
                    </a:lnTo>
                    <a:lnTo>
                      <a:pt x="78" y="118"/>
                    </a:lnTo>
                    <a:lnTo>
                      <a:pt x="78" y="118"/>
                    </a:lnTo>
                    <a:lnTo>
                      <a:pt x="78" y="110"/>
                    </a:lnTo>
                    <a:lnTo>
                      <a:pt x="78" y="110"/>
                    </a:lnTo>
                    <a:lnTo>
                      <a:pt x="78" y="112"/>
                    </a:lnTo>
                    <a:lnTo>
                      <a:pt x="76" y="116"/>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2" y="126"/>
                    </a:lnTo>
                    <a:lnTo>
                      <a:pt x="50" y="130"/>
                    </a:lnTo>
                    <a:lnTo>
                      <a:pt x="50" y="130"/>
                    </a:lnTo>
                    <a:lnTo>
                      <a:pt x="48" y="134"/>
                    </a:lnTo>
                    <a:lnTo>
                      <a:pt x="48" y="138"/>
                    </a:lnTo>
                    <a:lnTo>
                      <a:pt x="48"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8" y="96"/>
                    </a:lnTo>
                    <a:lnTo>
                      <a:pt x="16" y="88"/>
                    </a:lnTo>
                    <a:lnTo>
                      <a:pt x="14" y="78"/>
                    </a:lnTo>
                    <a:lnTo>
                      <a:pt x="14" y="78"/>
                    </a:lnTo>
                    <a:lnTo>
                      <a:pt x="16" y="68"/>
                    </a:lnTo>
                    <a:lnTo>
                      <a:pt x="20" y="60"/>
                    </a:lnTo>
                    <a:lnTo>
                      <a:pt x="24" y="54"/>
                    </a:lnTo>
                    <a:lnTo>
                      <a:pt x="30" y="46"/>
                    </a:lnTo>
                    <a:lnTo>
                      <a:pt x="30" y="46"/>
                    </a:lnTo>
                    <a:lnTo>
                      <a:pt x="42" y="40"/>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100"/>
                    </a:lnTo>
                    <a:lnTo>
                      <a:pt x="64" y="100"/>
                    </a:lnTo>
                    <a:lnTo>
                      <a:pt x="68" y="98"/>
                    </a:lnTo>
                    <a:lnTo>
                      <a:pt x="72" y="96"/>
                    </a:lnTo>
                    <a:lnTo>
                      <a:pt x="72" y="96"/>
                    </a:lnTo>
                    <a:lnTo>
                      <a:pt x="82" y="92"/>
                    </a:lnTo>
                    <a:lnTo>
                      <a:pt x="92" y="88"/>
                    </a:lnTo>
                    <a:lnTo>
                      <a:pt x="92" y="88"/>
                    </a:lnTo>
                    <a:lnTo>
                      <a:pt x="94" y="86"/>
                    </a:lnTo>
                    <a:lnTo>
                      <a:pt x="94" y="86"/>
                    </a:lnTo>
                    <a:lnTo>
                      <a:pt x="96" y="78"/>
                    </a:lnTo>
                    <a:lnTo>
                      <a:pt x="98" y="72"/>
                    </a:lnTo>
                    <a:lnTo>
                      <a:pt x="96" y="58"/>
                    </a:lnTo>
                    <a:lnTo>
                      <a:pt x="96" y="58"/>
                    </a:lnTo>
                    <a:lnTo>
                      <a:pt x="92" y="44"/>
                    </a:lnTo>
                    <a:lnTo>
                      <a:pt x="92" y="44"/>
                    </a:lnTo>
                    <a:lnTo>
                      <a:pt x="92" y="62"/>
                    </a:lnTo>
                    <a:lnTo>
                      <a:pt x="92" y="62"/>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8"/>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8"/>
                    </a:lnTo>
                    <a:lnTo>
                      <a:pt x="84" y="12"/>
                    </a:lnTo>
                    <a:lnTo>
                      <a:pt x="84" y="12"/>
                    </a:lnTo>
                    <a:lnTo>
                      <a:pt x="80" y="18"/>
                    </a:lnTo>
                    <a:lnTo>
                      <a:pt x="76" y="20"/>
                    </a:lnTo>
                    <a:lnTo>
                      <a:pt x="72" y="22"/>
                    </a:lnTo>
                    <a:lnTo>
                      <a:pt x="72" y="22"/>
                    </a:lnTo>
                    <a:lnTo>
                      <a:pt x="70" y="22"/>
                    </a:lnTo>
                    <a:lnTo>
                      <a:pt x="70" y="22"/>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0" name="Freeform 654"/>
              <p:cNvSpPr>
                <a:spLocks/>
              </p:cNvSpPr>
              <p:nvPr/>
            </p:nvSpPr>
            <p:spPr bwMode="auto">
              <a:xfrm>
                <a:off x="3014" y="1070"/>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4 w 16"/>
                  <a:gd name="T17" fmla="*/ 26 h 26"/>
                  <a:gd name="T18" fmla="*/ 14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8 w 16"/>
                  <a:gd name="T37" fmla="*/ 26 h 26"/>
                  <a:gd name="T38" fmla="*/ 8 w 16"/>
                  <a:gd name="T39" fmla="*/ 26 h 26"/>
                  <a:gd name="T40" fmla="*/ 0 w 16"/>
                  <a:gd name="T41" fmla="*/ 26 h 26"/>
                  <a:gd name="T42" fmla="*/ 0 w 16"/>
                  <a:gd name="T43" fmla="*/ 26 h 26"/>
                  <a:gd name="T44" fmla="*/ 0 w 16"/>
                  <a:gd name="T45" fmla="*/ 26 h 26"/>
                  <a:gd name="T46" fmla="*/ 0 w 16"/>
                  <a:gd name="T47" fmla="*/ 26 h 26"/>
                  <a:gd name="T48" fmla="*/ 0 w 16"/>
                  <a:gd name="T49" fmla="*/ 26 h 26"/>
                  <a:gd name="T50" fmla="*/ 0 w 16"/>
                  <a:gd name="T51" fmla="*/ 26 h 26"/>
                  <a:gd name="T52" fmla="*/ 0 w 16"/>
                  <a:gd name="T53" fmla="*/ 26 h 26"/>
                  <a:gd name="T54" fmla="*/ 10 w 16"/>
                  <a:gd name="T55" fmla="*/ 4 h 26"/>
                  <a:gd name="T56" fmla="*/ 10 w 16"/>
                  <a:gd name="T57" fmla="*/ 4 h 26"/>
                  <a:gd name="T58" fmla="*/ 14 w 16"/>
                  <a:gd name="T59" fmla="*/ 0 h 26"/>
                  <a:gd name="T60" fmla="*/ 14 w 16"/>
                  <a:gd name="T61" fmla="*/ 0 h 26"/>
                  <a:gd name="T62" fmla="*/ 14 w 16"/>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6">
                    <a:moveTo>
                      <a:pt x="14" y="0"/>
                    </a:moveTo>
                    <a:lnTo>
                      <a:pt x="14" y="0"/>
                    </a:lnTo>
                    <a:lnTo>
                      <a:pt x="14" y="0"/>
                    </a:lnTo>
                    <a:lnTo>
                      <a:pt x="14" y="0"/>
                    </a:lnTo>
                    <a:lnTo>
                      <a:pt x="16" y="8"/>
                    </a:lnTo>
                    <a:lnTo>
                      <a:pt x="16" y="8"/>
                    </a:lnTo>
                    <a:lnTo>
                      <a:pt x="16" y="24"/>
                    </a:lnTo>
                    <a:lnTo>
                      <a:pt x="16" y="24"/>
                    </a:lnTo>
                    <a:lnTo>
                      <a:pt x="14" y="26"/>
                    </a:lnTo>
                    <a:lnTo>
                      <a:pt x="14" y="26"/>
                    </a:lnTo>
                    <a:lnTo>
                      <a:pt x="10" y="26"/>
                    </a:lnTo>
                    <a:lnTo>
                      <a:pt x="10" y="26"/>
                    </a:lnTo>
                    <a:lnTo>
                      <a:pt x="10" y="26"/>
                    </a:lnTo>
                    <a:lnTo>
                      <a:pt x="10"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1" name="Freeform 655"/>
              <p:cNvSpPr>
                <a:spLocks/>
              </p:cNvSpPr>
              <p:nvPr/>
            </p:nvSpPr>
            <p:spPr bwMode="auto">
              <a:xfrm>
                <a:off x="2916" y="1066"/>
                <a:ext cx="18" cy="22"/>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2" name="Freeform 656"/>
              <p:cNvSpPr>
                <a:spLocks/>
              </p:cNvSpPr>
              <p:nvPr/>
            </p:nvSpPr>
            <p:spPr bwMode="auto">
              <a:xfrm>
                <a:off x="2912" y="1016"/>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6 h 20"/>
                  <a:gd name="T42" fmla="*/ 4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6 h 20"/>
                  <a:gd name="T70" fmla="*/ 10 w 12"/>
                  <a:gd name="T71" fmla="*/ 18 h 20"/>
                  <a:gd name="T72" fmla="*/ 10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8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4" y="14"/>
                    </a:lnTo>
                    <a:lnTo>
                      <a:pt x="4" y="14"/>
                    </a:lnTo>
                    <a:lnTo>
                      <a:pt x="4" y="14"/>
                    </a:lnTo>
                    <a:lnTo>
                      <a:pt x="4" y="14"/>
                    </a:lnTo>
                    <a:lnTo>
                      <a:pt x="4" y="14"/>
                    </a:lnTo>
                    <a:lnTo>
                      <a:pt x="4" y="14"/>
                    </a:lnTo>
                    <a:lnTo>
                      <a:pt x="4" y="16"/>
                    </a:lnTo>
                    <a:lnTo>
                      <a:pt x="4"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6"/>
                    </a:lnTo>
                    <a:lnTo>
                      <a:pt x="10" y="18"/>
                    </a:lnTo>
                    <a:lnTo>
                      <a:pt x="10"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3" name="Freeform 657"/>
              <p:cNvSpPr>
                <a:spLocks/>
              </p:cNvSpPr>
              <p:nvPr/>
            </p:nvSpPr>
            <p:spPr bwMode="auto">
              <a:xfrm>
                <a:off x="2924" y="970"/>
                <a:ext cx="172" cy="138"/>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38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8 h 138"/>
                  <a:gd name="T60" fmla="*/ 54 w 172"/>
                  <a:gd name="T61" fmla="*/ 122 h 138"/>
                  <a:gd name="T62" fmla="*/ 64 w 172"/>
                  <a:gd name="T63" fmla="*/ 114 h 138"/>
                  <a:gd name="T64" fmla="*/ 62 w 172"/>
                  <a:gd name="T65" fmla="*/ 112 h 138"/>
                  <a:gd name="T66" fmla="*/ 52 w 172"/>
                  <a:gd name="T67" fmla="*/ 112 h 138"/>
                  <a:gd name="T68" fmla="*/ 40 w 172"/>
                  <a:gd name="T69" fmla="*/ 110 h 138"/>
                  <a:gd name="T70" fmla="*/ 40 w 172"/>
                  <a:gd name="T71" fmla="*/ 108 h 138"/>
                  <a:gd name="T72" fmla="*/ 38 w 172"/>
                  <a:gd name="T73" fmla="*/ 122 h 138"/>
                  <a:gd name="T74" fmla="*/ 34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4 w 172"/>
                  <a:gd name="T91" fmla="*/ 46 h 138"/>
                  <a:gd name="T92" fmla="*/ 26 w 172"/>
                  <a:gd name="T93" fmla="*/ 60 h 138"/>
                  <a:gd name="T94" fmla="*/ 36 w 172"/>
                  <a:gd name="T95" fmla="*/ 76 h 138"/>
                  <a:gd name="T96" fmla="*/ 34 w 172"/>
                  <a:gd name="T97" fmla="*/ 86 h 138"/>
                  <a:gd name="T98" fmla="*/ 50 w 172"/>
                  <a:gd name="T99" fmla="*/ 96 h 138"/>
                  <a:gd name="T100" fmla="*/ 58 w 172"/>
                  <a:gd name="T101" fmla="*/ 92 h 138"/>
                  <a:gd name="T102" fmla="*/ 80 w 172"/>
                  <a:gd name="T103" fmla="*/ 82 h 138"/>
                  <a:gd name="T104" fmla="*/ 82 w 172"/>
                  <a:gd name="T105" fmla="*/ 54 h 138"/>
                  <a:gd name="T106" fmla="*/ 78 w 172"/>
                  <a:gd name="T107" fmla="*/ 58 h 138"/>
                  <a:gd name="T108" fmla="*/ 78 w 172"/>
                  <a:gd name="T109" fmla="*/ 80 h 138"/>
                  <a:gd name="T110" fmla="*/ 58 w 172"/>
                  <a:gd name="T111" fmla="*/ 88 h 138"/>
                  <a:gd name="T112" fmla="*/ 44 w 172"/>
                  <a:gd name="T113" fmla="*/ 90 h 138"/>
                  <a:gd name="T114" fmla="*/ 38 w 172"/>
                  <a:gd name="T115" fmla="*/ 80 h 138"/>
                  <a:gd name="T116" fmla="*/ 46 w 172"/>
                  <a:gd name="T117" fmla="*/ 64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8"/>
                    </a:lnTo>
                    <a:lnTo>
                      <a:pt x="112" y="94"/>
                    </a:lnTo>
                    <a:lnTo>
                      <a:pt x="112" y="94"/>
                    </a:lnTo>
                    <a:lnTo>
                      <a:pt x="102" y="88"/>
                    </a:lnTo>
                    <a:lnTo>
                      <a:pt x="92" y="84"/>
                    </a:lnTo>
                    <a:lnTo>
                      <a:pt x="92" y="84"/>
                    </a:lnTo>
                    <a:lnTo>
                      <a:pt x="98" y="88"/>
                    </a:lnTo>
                    <a:lnTo>
                      <a:pt x="98" y="88"/>
                    </a:lnTo>
                    <a:lnTo>
                      <a:pt x="102" y="92"/>
                    </a:lnTo>
                    <a:lnTo>
                      <a:pt x="102" y="92"/>
                    </a:lnTo>
                    <a:lnTo>
                      <a:pt x="96" y="110"/>
                    </a:lnTo>
                    <a:lnTo>
                      <a:pt x="92" y="116"/>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8" y="118"/>
                    </a:lnTo>
                    <a:lnTo>
                      <a:pt x="58" y="118"/>
                    </a:lnTo>
                    <a:lnTo>
                      <a:pt x="64" y="114"/>
                    </a:lnTo>
                    <a:lnTo>
                      <a:pt x="64" y="114"/>
                    </a:lnTo>
                    <a:lnTo>
                      <a:pt x="64" y="106"/>
                    </a:lnTo>
                    <a:lnTo>
                      <a:pt x="64" y="106"/>
                    </a:lnTo>
                    <a:lnTo>
                      <a:pt x="64" y="108"/>
                    </a:lnTo>
                    <a:lnTo>
                      <a:pt x="62" y="112"/>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8" y="122"/>
                    </a:lnTo>
                    <a:lnTo>
                      <a:pt x="36" y="126"/>
                    </a:lnTo>
                    <a:lnTo>
                      <a:pt x="36" y="126"/>
                    </a:lnTo>
                    <a:lnTo>
                      <a:pt x="34" y="130"/>
                    </a:lnTo>
                    <a:lnTo>
                      <a:pt x="34" y="134"/>
                    </a:lnTo>
                    <a:lnTo>
                      <a:pt x="34"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4" y="92"/>
                    </a:lnTo>
                    <a:lnTo>
                      <a:pt x="2" y="84"/>
                    </a:lnTo>
                    <a:lnTo>
                      <a:pt x="0" y="74"/>
                    </a:lnTo>
                    <a:lnTo>
                      <a:pt x="0" y="74"/>
                    </a:lnTo>
                    <a:lnTo>
                      <a:pt x="2" y="64"/>
                    </a:lnTo>
                    <a:lnTo>
                      <a:pt x="6" y="56"/>
                    </a:lnTo>
                    <a:lnTo>
                      <a:pt x="10" y="50"/>
                    </a:lnTo>
                    <a:lnTo>
                      <a:pt x="16" y="42"/>
                    </a:lnTo>
                    <a:lnTo>
                      <a:pt x="16" y="42"/>
                    </a:lnTo>
                    <a:lnTo>
                      <a:pt x="28" y="36"/>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6"/>
                    </a:lnTo>
                    <a:lnTo>
                      <a:pt x="50" y="96"/>
                    </a:lnTo>
                    <a:lnTo>
                      <a:pt x="54" y="94"/>
                    </a:lnTo>
                    <a:lnTo>
                      <a:pt x="58" y="92"/>
                    </a:lnTo>
                    <a:lnTo>
                      <a:pt x="58" y="92"/>
                    </a:lnTo>
                    <a:lnTo>
                      <a:pt x="68" y="88"/>
                    </a:lnTo>
                    <a:lnTo>
                      <a:pt x="78" y="84"/>
                    </a:lnTo>
                    <a:lnTo>
                      <a:pt x="78" y="84"/>
                    </a:lnTo>
                    <a:lnTo>
                      <a:pt x="80" y="82"/>
                    </a:lnTo>
                    <a:lnTo>
                      <a:pt x="80" y="82"/>
                    </a:lnTo>
                    <a:lnTo>
                      <a:pt x="82" y="74"/>
                    </a:lnTo>
                    <a:lnTo>
                      <a:pt x="84" y="68"/>
                    </a:lnTo>
                    <a:lnTo>
                      <a:pt x="82" y="54"/>
                    </a:lnTo>
                    <a:lnTo>
                      <a:pt x="82" y="54"/>
                    </a:lnTo>
                    <a:lnTo>
                      <a:pt x="78" y="40"/>
                    </a:lnTo>
                    <a:lnTo>
                      <a:pt x="78" y="40"/>
                    </a:lnTo>
                    <a:lnTo>
                      <a:pt x="78" y="58"/>
                    </a:lnTo>
                    <a:lnTo>
                      <a:pt x="78" y="58"/>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4"/>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4" name="Freeform 658"/>
              <p:cNvSpPr>
                <a:spLocks/>
              </p:cNvSpPr>
              <p:nvPr/>
            </p:nvSpPr>
            <p:spPr bwMode="auto">
              <a:xfrm>
                <a:off x="2910" y="966"/>
                <a:ext cx="188" cy="146"/>
              </a:xfrm>
              <a:custGeom>
                <a:avLst/>
                <a:gdLst>
                  <a:gd name="T0" fmla="*/ 106 w 188"/>
                  <a:gd name="T1" fmla="*/ 2 h 146"/>
                  <a:gd name="T2" fmla="*/ 84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2"/>
                    </a:lnTo>
                    <a:lnTo>
                      <a:pt x="98" y="4"/>
                    </a:lnTo>
                    <a:lnTo>
                      <a:pt x="92" y="8"/>
                    </a:lnTo>
                    <a:lnTo>
                      <a:pt x="84" y="12"/>
                    </a:lnTo>
                    <a:lnTo>
                      <a:pt x="84" y="12"/>
                    </a:lnTo>
                    <a:lnTo>
                      <a:pt x="80" y="18"/>
                    </a:lnTo>
                    <a:lnTo>
                      <a:pt x="76" y="20"/>
                    </a:lnTo>
                    <a:lnTo>
                      <a:pt x="72" y="22"/>
                    </a:lnTo>
                    <a:lnTo>
                      <a:pt x="72" y="22"/>
                    </a:lnTo>
                    <a:lnTo>
                      <a:pt x="70" y="22"/>
                    </a:lnTo>
                    <a:lnTo>
                      <a:pt x="70" y="22"/>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5" name="Freeform 659"/>
              <p:cNvSpPr>
                <a:spLocks/>
              </p:cNvSpPr>
              <p:nvPr/>
            </p:nvSpPr>
            <p:spPr bwMode="auto">
              <a:xfrm>
                <a:off x="2916" y="1066"/>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6" name="Freeform 660"/>
              <p:cNvSpPr>
                <a:spLocks/>
              </p:cNvSpPr>
              <p:nvPr/>
            </p:nvSpPr>
            <p:spPr bwMode="auto">
              <a:xfrm>
                <a:off x="2916" y="1066"/>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7" name="Freeform 661"/>
              <p:cNvSpPr>
                <a:spLocks/>
              </p:cNvSpPr>
              <p:nvPr/>
            </p:nvSpPr>
            <p:spPr bwMode="auto">
              <a:xfrm>
                <a:off x="2918" y="1066"/>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8" name="Freeform 662"/>
              <p:cNvSpPr>
                <a:spLocks/>
              </p:cNvSpPr>
              <p:nvPr/>
            </p:nvSpPr>
            <p:spPr bwMode="auto">
              <a:xfrm>
                <a:off x="2918" y="1066"/>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49" name="Freeform 663"/>
              <p:cNvSpPr>
                <a:spLocks/>
              </p:cNvSpPr>
              <p:nvPr/>
            </p:nvSpPr>
            <p:spPr bwMode="auto">
              <a:xfrm>
                <a:off x="3014" y="1070"/>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14 w 16"/>
                  <a:gd name="T37" fmla="*/ 26 h 26"/>
                  <a:gd name="T38" fmla="*/ 14 w 16"/>
                  <a:gd name="T39" fmla="*/ 26 h 26"/>
                  <a:gd name="T40" fmla="*/ 16 w 16"/>
                  <a:gd name="T41" fmla="*/ 24 h 26"/>
                  <a:gd name="T42" fmla="*/ 16 w 16"/>
                  <a:gd name="T43" fmla="*/ 24 h 26"/>
                  <a:gd name="T44" fmla="*/ 16 w 16"/>
                  <a:gd name="T45" fmla="*/ 8 h 26"/>
                  <a:gd name="T46" fmla="*/ 16 w 16"/>
                  <a:gd name="T47" fmla="*/ 8 h 26"/>
                  <a:gd name="T48" fmla="*/ 14 w 16"/>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0" y="26"/>
                    </a:lnTo>
                    <a:lnTo>
                      <a:pt x="1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0" name="Freeform 664"/>
              <p:cNvSpPr>
                <a:spLocks/>
              </p:cNvSpPr>
              <p:nvPr/>
            </p:nvSpPr>
            <p:spPr bwMode="auto">
              <a:xfrm>
                <a:off x="3014" y="1070"/>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10 w 16"/>
                  <a:gd name="T33" fmla="*/ 26 h 26"/>
                  <a:gd name="T34" fmla="*/ 10 w 16"/>
                  <a:gd name="T35" fmla="*/ 26 h 26"/>
                  <a:gd name="T36" fmla="*/ 14 w 16"/>
                  <a:gd name="T37" fmla="*/ 26 h 26"/>
                  <a:gd name="T38" fmla="*/ 14 w 16"/>
                  <a:gd name="T39" fmla="*/ 26 h 26"/>
                  <a:gd name="T40" fmla="*/ 16 w 16"/>
                  <a:gd name="T41" fmla="*/ 24 h 26"/>
                  <a:gd name="T42" fmla="*/ 16 w 16"/>
                  <a:gd name="T43" fmla="*/ 24 h 26"/>
                  <a:gd name="T44" fmla="*/ 16 w 16"/>
                  <a:gd name="T45" fmla="*/ 8 h 26"/>
                  <a:gd name="T46" fmla="*/ 16 w 16"/>
                  <a:gd name="T47" fmla="*/ 8 h 26"/>
                  <a:gd name="T48" fmla="*/ 14 w 16"/>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0" y="26"/>
                    </a:lnTo>
                    <a:lnTo>
                      <a:pt x="1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1" name="Freeform 665"/>
              <p:cNvSpPr>
                <a:spLocks noEditPoints="1"/>
              </p:cNvSpPr>
              <p:nvPr/>
            </p:nvSpPr>
            <p:spPr bwMode="auto">
              <a:xfrm>
                <a:off x="3014" y="1070"/>
                <a:ext cx="14" cy="26"/>
              </a:xfrm>
              <a:custGeom>
                <a:avLst/>
                <a:gdLst>
                  <a:gd name="T0" fmla="*/ 10 w 14"/>
                  <a:gd name="T1" fmla="*/ 26 h 26"/>
                  <a:gd name="T2" fmla="*/ 10 w 14"/>
                  <a:gd name="T3" fmla="*/ 26 h 26"/>
                  <a:gd name="T4" fmla="*/ 10 w 14"/>
                  <a:gd name="T5" fmla="*/ 26 h 26"/>
                  <a:gd name="T6" fmla="*/ 10 w 14"/>
                  <a:gd name="T7" fmla="*/ 26 h 26"/>
                  <a:gd name="T8" fmla="*/ 10 w 14"/>
                  <a:gd name="T9" fmla="*/ 26 h 26"/>
                  <a:gd name="T10" fmla="*/ 8 w 14"/>
                  <a:gd name="T11" fmla="*/ 26 h 26"/>
                  <a:gd name="T12" fmla="*/ 8 w 14"/>
                  <a:gd name="T13" fmla="*/ 26 h 26"/>
                  <a:gd name="T14" fmla="*/ 10 w 14"/>
                  <a:gd name="T15" fmla="*/ 26 h 26"/>
                  <a:gd name="T16" fmla="*/ 10 w 14"/>
                  <a:gd name="T17" fmla="*/ 26 h 26"/>
                  <a:gd name="T18" fmla="*/ 8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0 w 14"/>
                  <a:gd name="T31" fmla="*/ 26 h 26"/>
                  <a:gd name="T32" fmla="*/ 14 w 14"/>
                  <a:gd name="T33" fmla="*/ 0 h 26"/>
                  <a:gd name="T34" fmla="*/ 14 w 14"/>
                  <a:gd name="T35" fmla="*/ 0 h 26"/>
                  <a:gd name="T36" fmla="*/ 10 w 14"/>
                  <a:gd name="T37" fmla="*/ 4 h 26"/>
                  <a:gd name="T38" fmla="*/ 10 w 14"/>
                  <a:gd name="T39" fmla="*/ 4 h 26"/>
                  <a:gd name="T40" fmla="*/ 14 w 14"/>
                  <a:gd name="T41" fmla="*/ 0 h 26"/>
                  <a:gd name="T42" fmla="*/ 14 w 14"/>
                  <a:gd name="T43" fmla="*/ 0 h 26"/>
                  <a:gd name="T44" fmla="*/ 14 w 14"/>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6">
                    <a:moveTo>
                      <a:pt x="10" y="26"/>
                    </a:moveTo>
                    <a:lnTo>
                      <a:pt x="10" y="26"/>
                    </a:lnTo>
                    <a:lnTo>
                      <a:pt x="10" y="26"/>
                    </a:lnTo>
                    <a:lnTo>
                      <a:pt x="10" y="26"/>
                    </a:lnTo>
                    <a:lnTo>
                      <a:pt x="10" y="26"/>
                    </a:lnTo>
                    <a:close/>
                    <a:moveTo>
                      <a:pt x="8" y="26"/>
                    </a:moveTo>
                    <a:lnTo>
                      <a:pt x="8"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2" name="Rectangle 666"/>
              <p:cNvSpPr>
                <a:spLocks noChangeArrowheads="1"/>
              </p:cNvSpPr>
              <p:nvPr/>
            </p:nvSpPr>
            <p:spPr bwMode="auto">
              <a:xfrm>
                <a:off x="3024" y="109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3" name="Rectangle 667"/>
              <p:cNvSpPr>
                <a:spLocks noChangeArrowheads="1"/>
              </p:cNvSpPr>
              <p:nvPr/>
            </p:nvSpPr>
            <p:spPr bwMode="auto">
              <a:xfrm>
                <a:off x="3022" y="1096"/>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4" name="Freeform 668"/>
              <p:cNvSpPr>
                <a:spLocks/>
              </p:cNvSpPr>
              <p:nvPr/>
            </p:nvSpPr>
            <p:spPr bwMode="auto">
              <a:xfrm>
                <a:off x="3014" y="109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5" name="Freeform 669"/>
              <p:cNvSpPr>
                <a:spLocks/>
              </p:cNvSpPr>
              <p:nvPr/>
            </p:nvSpPr>
            <p:spPr bwMode="auto">
              <a:xfrm>
                <a:off x="3024" y="1070"/>
                <a:ext cx="4" cy="4"/>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6" name="Freeform 670"/>
              <p:cNvSpPr>
                <a:spLocks/>
              </p:cNvSpPr>
              <p:nvPr/>
            </p:nvSpPr>
            <p:spPr bwMode="auto">
              <a:xfrm>
                <a:off x="2912" y="1016"/>
                <a:ext cx="12" cy="20"/>
              </a:xfrm>
              <a:custGeom>
                <a:avLst/>
                <a:gdLst>
                  <a:gd name="T0" fmla="*/ 8 w 12"/>
                  <a:gd name="T1" fmla="*/ 0 h 20"/>
                  <a:gd name="T2" fmla="*/ 8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6 w 12"/>
                  <a:gd name="T49" fmla="*/ 16 h 20"/>
                  <a:gd name="T50" fmla="*/ 6 w 12"/>
                  <a:gd name="T51" fmla="*/ 16 h 20"/>
                  <a:gd name="T52" fmla="*/ 4 w 12"/>
                  <a:gd name="T53" fmla="*/ 14 h 20"/>
                  <a:gd name="T54" fmla="*/ 4 w 12"/>
                  <a:gd name="T55" fmla="*/ 14 h 20"/>
                  <a:gd name="T56" fmla="*/ 4 w 12"/>
                  <a:gd name="T57" fmla="*/ 14 h 20"/>
                  <a:gd name="T58" fmla="*/ 4 w 12"/>
                  <a:gd name="T59" fmla="*/ 14 h 20"/>
                  <a:gd name="T60" fmla="*/ 4 w 12"/>
                  <a:gd name="T61" fmla="*/ 12 h 20"/>
                  <a:gd name="T62" fmla="*/ 4 w 12"/>
                  <a:gd name="T63" fmla="*/ 12 h 20"/>
                  <a:gd name="T64" fmla="*/ 6 w 12"/>
                  <a:gd name="T65" fmla="*/ 2 h 20"/>
                  <a:gd name="T66" fmla="*/ 6 w 12"/>
                  <a:gd name="T67" fmla="*/ 2 h 20"/>
                  <a:gd name="T68" fmla="*/ 8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8" y="0"/>
                    </a:moveTo>
                    <a:lnTo>
                      <a:pt x="8"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6" y="16"/>
                    </a:lnTo>
                    <a:lnTo>
                      <a:pt x="6" y="16"/>
                    </a:lnTo>
                    <a:lnTo>
                      <a:pt x="4" y="14"/>
                    </a:lnTo>
                    <a:lnTo>
                      <a:pt x="4" y="14"/>
                    </a:lnTo>
                    <a:lnTo>
                      <a:pt x="4" y="14"/>
                    </a:lnTo>
                    <a:lnTo>
                      <a:pt x="4" y="14"/>
                    </a:lnTo>
                    <a:lnTo>
                      <a:pt x="4" y="12"/>
                    </a:lnTo>
                    <a:lnTo>
                      <a:pt x="4" y="12"/>
                    </a:lnTo>
                    <a:lnTo>
                      <a:pt x="6" y="2"/>
                    </a:lnTo>
                    <a:lnTo>
                      <a:pt x="6" y="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7" name="Freeform 671"/>
              <p:cNvSpPr>
                <a:spLocks/>
              </p:cNvSpPr>
              <p:nvPr/>
            </p:nvSpPr>
            <p:spPr bwMode="auto">
              <a:xfrm>
                <a:off x="2912" y="1016"/>
                <a:ext cx="12" cy="20"/>
              </a:xfrm>
              <a:custGeom>
                <a:avLst/>
                <a:gdLst>
                  <a:gd name="T0" fmla="*/ 8 w 12"/>
                  <a:gd name="T1" fmla="*/ 0 h 20"/>
                  <a:gd name="T2" fmla="*/ 8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6 w 12"/>
                  <a:gd name="T49" fmla="*/ 16 h 20"/>
                  <a:gd name="T50" fmla="*/ 6 w 12"/>
                  <a:gd name="T51" fmla="*/ 16 h 20"/>
                  <a:gd name="T52" fmla="*/ 4 w 12"/>
                  <a:gd name="T53" fmla="*/ 14 h 20"/>
                  <a:gd name="T54" fmla="*/ 4 w 12"/>
                  <a:gd name="T55" fmla="*/ 14 h 20"/>
                  <a:gd name="T56" fmla="*/ 4 w 12"/>
                  <a:gd name="T57" fmla="*/ 14 h 20"/>
                  <a:gd name="T58" fmla="*/ 4 w 12"/>
                  <a:gd name="T59" fmla="*/ 14 h 20"/>
                  <a:gd name="T60" fmla="*/ 4 w 12"/>
                  <a:gd name="T61" fmla="*/ 12 h 20"/>
                  <a:gd name="T62" fmla="*/ 4 w 12"/>
                  <a:gd name="T63" fmla="*/ 12 h 20"/>
                  <a:gd name="T64" fmla="*/ 6 w 12"/>
                  <a:gd name="T65" fmla="*/ 2 h 20"/>
                  <a:gd name="T66" fmla="*/ 6 w 12"/>
                  <a:gd name="T67" fmla="*/ 2 h 20"/>
                  <a:gd name="T68" fmla="*/ 8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8" y="0"/>
                    </a:moveTo>
                    <a:lnTo>
                      <a:pt x="8"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6" y="16"/>
                    </a:lnTo>
                    <a:lnTo>
                      <a:pt x="6" y="16"/>
                    </a:lnTo>
                    <a:lnTo>
                      <a:pt x="4" y="14"/>
                    </a:lnTo>
                    <a:lnTo>
                      <a:pt x="4" y="14"/>
                    </a:lnTo>
                    <a:lnTo>
                      <a:pt x="4" y="14"/>
                    </a:lnTo>
                    <a:lnTo>
                      <a:pt x="4" y="14"/>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8" name="Freeform 672"/>
              <p:cNvSpPr>
                <a:spLocks noEditPoints="1"/>
              </p:cNvSpPr>
              <p:nvPr/>
            </p:nvSpPr>
            <p:spPr bwMode="auto">
              <a:xfrm>
                <a:off x="2916" y="1016"/>
                <a:ext cx="8" cy="20"/>
              </a:xfrm>
              <a:custGeom>
                <a:avLst/>
                <a:gdLst>
                  <a:gd name="T0" fmla="*/ 0 w 8"/>
                  <a:gd name="T1" fmla="*/ 18 h 20"/>
                  <a:gd name="T2" fmla="*/ 0 w 8"/>
                  <a:gd name="T3" fmla="*/ 18 h 20"/>
                  <a:gd name="T4" fmla="*/ 0 w 8"/>
                  <a:gd name="T5" fmla="*/ 18 h 20"/>
                  <a:gd name="T6" fmla="*/ 0 w 8"/>
                  <a:gd name="T7" fmla="*/ 18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18 h 20"/>
                  <a:gd name="T22" fmla="*/ 0 w 8"/>
                  <a:gd name="T23" fmla="*/ 18 h 20"/>
                  <a:gd name="T24" fmla="*/ 0 w 8"/>
                  <a:gd name="T25" fmla="*/ 18 h 20"/>
                  <a:gd name="T26" fmla="*/ 0 w 8"/>
                  <a:gd name="T27" fmla="*/ 14 h 20"/>
                  <a:gd name="T28" fmla="*/ 0 w 8"/>
                  <a:gd name="T29" fmla="*/ 14 h 20"/>
                  <a:gd name="T30" fmla="*/ 2 w 8"/>
                  <a:gd name="T31" fmla="*/ 16 h 20"/>
                  <a:gd name="T32" fmla="*/ 2 w 8"/>
                  <a:gd name="T33" fmla="*/ 16 h 20"/>
                  <a:gd name="T34" fmla="*/ 0 w 8"/>
                  <a:gd name="T35" fmla="*/ 16 h 20"/>
                  <a:gd name="T36" fmla="*/ 0 w 8"/>
                  <a:gd name="T37" fmla="*/ 16 h 20"/>
                  <a:gd name="T38" fmla="*/ 0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0 w 8"/>
                  <a:gd name="T63" fmla="*/ 14 h 20"/>
                  <a:gd name="T64" fmla="*/ 0 w 8"/>
                  <a:gd name="T65" fmla="*/ 14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4 w 8"/>
                  <a:gd name="T89" fmla="*/ 0 h 20"/>
                  <a:gd name="T90" fmla="*/ 4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0" y="18"/>
                    </a:moveTo>
                    <a:lnTo>
                      <a:pt x="0" y="18"/>
                    </a:lnTo>
                    <a:lnTo>
                      <a:pt x="0" y="18"/>
                    </a:lnTo>
                    <a:lnTo>
                      <a:pt x="0" y="18"/>
                    </a:lnTo>
                    <a:lnTo>
                      <a:pt x="2" y="20"/>
                    </a:lnTo>
                    <a:lnTo>
                      <a:pt x="2" y="20"/>
                    </a:lnTo>
                    <a:lnTo>
                      <a:pt x="6" y="18"/>
                    </a:lnTo>
                    <a:lnTo>
                      <a:pt x="6" y="18"/>
                    </a:lnTo>
                    <a:lnTo>
                      <a:pt x="2" y="20"/>
                    </a:lnTo>
                    <a:lnTo>
                      <a:pt x="2" y="20"/>
                    </a:lnTo>
                    <a:lnTo>
                      <a:pt x="0" y="18"/>
                    </a:lnTo>
                    <a:lnTo>
                      <a:pt x="0" y="18"/>
                    </a:lnTo>
                    <a:lnTo>
                      <a:pt x="0" y="18"/>
                    </a:lnTo>
                    <a:close/>
                    <a:moveTo>
                      <a:pt x="0" y="14"/>
                    </a:moveTo>
                    <a:lnTo>
                      <a:pt x="0" y="14"/>
                    </a:lnTo>
                    <a:lnTo>
                      <a:pt x="2" y="16"/>
                    </a:lnTo>
                    <a:lnTo>
                      <a:pt x="2" y="16"/>
                    </a:lnTo>
                    <a:lnTo>
                      <a:pt x="0" y="16"/>
                    </a:lnTo>
                    <a:lnTo>
                      <a:pt x="0" y="16"/>
                    </a:lnTo>
                    <a:lnTo>
                      <a:pt x="0" y="14"/>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0" y="14"/>
                    </a:lnTo>
                    <a:lnTo>
                      <a:pt x="0" y="14"/>
                    </a:lnTo>
                    <a:lnTo>
                      <a:pt x="0" y="12"/>
                    </a:lnTo>
                    <a:lnTo>
                      <a:pt x="0" y="12"/>
                    </a:lnTo>
                    <a:lnTo>
                      <a:pt x="2" y="2"/>
                    </a:lnTo>
                    <a:close/>
                    <a:moveTo>
                      <a:pt x="4" y="0"/>
                    </a:moveTo>
                    <a:lnTo>
                      <a:pt x="4" y="0"/>
                    </a:lnTo>
                    <a:lnTo>
                      <a:pt x="2" y="0"/>
                    </a:lnTo>
                    <a:lnTo>
                      <a:pt x="2"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59" name="Freeform 673"/>
              <p:cNvSpPr>
                <a:spLocks/>
              </p:cNvSpPr>
              <p:nvPr/>
            </p:nvSpPr>
            <p:spPr bwMode="auto">
              <a:xfrm>
                <a:off x="2916" y="1034"/>
                <a:ext cx="6" cy="2"/>
              </a:xfrm>
              <a:custGeom>
                <a:avLst/>
                <a:gdLst>
                  <a:gd name="T0" fmla="*/ 0 w 6"/>
                  <a:gd name="T1" fmla="*/ 0 h 2"/>
                  <a:gd name="T2" fmla="*/ 0 w 6"/>
                  <a:gd name="T3" fmla="*/ 0 h 2"/>
                  <a:gd name="T4" fmla="*/ 0 w 6"/>
                  <a:gd name="T5" fmla="*/ 0 h 2"/>
                  <a:gd name="T6" fmla="*/ 0 w 6"/>
                  <a:gd name="T7" fmla="*/ 0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0 h 2"/>
                  <a:gd name="T22" fmla="*/ 0 w 6"/>
                  <a:gd name="T23" fmla="*/ 0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0"/>
                    </a:lnTo>
                    <a:lnTo>
                      <a:pt x="0" y="0"/>
                    </a:lnTo>
                    <a:lnTo>
                      <a:pt x="2" y="2"/>
                    </a:lnTo>
                    <a:lnTo>
                      <a:pt x="2" y="2"/>
                    </a:lnTo>
                    <a:lnTo>
                      <a:pt x="6" y="0"/>
                    </a:lnTo>
                    <a:lnTo>
                      <a:pt x="6"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0" name="Freeform 674"/>
              <p:cNvSpPr>
                <a:spLocks/>
              </p:cNvSpPr>
              <p:nvPr/>
            </p:nvSpPr>
            <p:spPr bwMode="auto">
              <a:xfrm>
                <a:off x="2916" y="1030"/>
                <a:ext cx="2" cy="2"/>
              </a:xfrm>
              <a:custGeom>
                <a:avLst/>
                <a:gdLst>
                  <a:gd name="T0" fmla="*/ 0 w 2"/>
                  <a:gd name="T1" fmla="*/ 0 h 2"/>
                  <a:gd name="T2" fmla="*/ 0 w 2"/>
                  <a:gd name="T3" fmla="*/ 0 h 2"/>
                  <a:gd name="T4" fmla="*/ 2 w 2"/>
                  <a:gd name="T5" fmla="*/ 2 h 2"/>
                  <a:gd name="T6" fmla="*/ 2 w 2"/>
                  <a:gd name="T7" fmla="*/ 2 h 2"/>
                  <a:gd name="T8" fmla="*/ 0 w 2"/>
                  <a:gd name="T9" fmla="*/ 2 h 2"/>
                  <a:gd name="T10" fmla="*/ 0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2"/>
                    </a:lnTo>
                    <a:lnTo>
                      <a:pt x="2"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1" name="Freeform 675"/>
              <p:cNvSpPr>
                <a:spLocks/>
              </p:cNvSpPr>
              <p:nvPr/>
            </p:nvSpPr>
            <p:spPr bwMode="auto">
              <a:xfrm>
                <a:off x="2922" y="103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2" name="Freeform 676"/>
              <p:cNvSpPr>
                <a:spLocks/>
              </p:cNvSpPr>
              <p:nvPr/>
            </p:nvSpPr>
            <p:spPr bwMode="auto">
              <a:xfrm>
                <a:off x="2916" y="1018"/>
                <a:ext cx="2" cy="12"/>
              </a:xfrm>
              <a:custGeom>
                <a:avLst/>
                <a:gdLst>
                  <a:gd name="T0" fmla="*/ 2 w 2"/>
                  <a:gd name="T1" fmla="*/ 0 h 12"/>
                  <a:gd name="T2" fmla="*/ 2 w 2"/>
                  <a:gd name="T3" fmla="*/ 0 h 12"/>
                  <a:gd name="T4" fmla="*/ 0 w 2"/>
                  <a:gd name="T5" fmla="*/ 10 h 12"/>
                  <a:gd name="T6" fmla="*/ 0 w 2"/>
                  <a:gd name="T7" fmla="*/ 10 h 12"/>
                  <a:gd name="T8" fmla="*/ 0 w 2"/>
                  <a:gd name="T9" fmla="*/ 12 h 12"/>
                  <a:gd name="T10" fmla="*/ 0 w 2"/>
                  <a:gd name="T11" fmla="*/ 12 h 12"/>
                  <a:gd name="T12" fmla="*/ 0 w 2"/>
                  <a:gd name="T13" fmla="*/ 10 h 12"/>
                  <a:gd name="T14" fmla="*/ 0 w 2"/>
                  <a:gd name="T15" fmla="*/ 10 h 12"/>
                  <a:gd name="T16" fmla="*/ 2 w 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2">
                    <a:moveTo>
                      <a:pt x="2" y="0"/>
                    </a:moveTo>
                    <a:lnTo>
                      <a:pt x="2" y="0"/>
                    </a:lnTo>
                    <a:lnTo>
                      <a:pt x="0" y="10"/>
                    </a:lnTo>
                    <a:lnTo>
                      <a:pt x="0" y="10"/>
                    </a:lnTo>
                    <a:lnTo>
                      <a:pt x="0" y="12"/>
                    </a:lnTo>
                    <a:lnTo>
                      <a:pt x="0" y="12"/>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3" name="Freeform 677"/>
              <p:cNvSpPr>
                <a:spLocks/>
              </p:cNvSpPr>
              <p:nvPr/>
            </p:nvSpPr>
            <p:spPr bwMode="auto">
              <a:xfrm>
                <a:off x="2918" y="1016"/>
                <a:ext cx="2" cy="0"/>
              </a:xfrm>
              <a:custGeom>
                <a:avLst/>
                <a:gdLst>
                  <a:gd name="T0" fmla="*/ 2 w 2"/>
                  <a:gd name="T1" fmla="*/ 2 w 2"/>
                  <a:gd name="T2" fmla="*/ 0 w 2"/>
                  <a:gd name="T3" fmla="*/ 0 w 2"/>
                  <a:gd name="T4" fmla="*/ 0 w 2"/>
                  <a:gd name="T5" fmla="*/ 0 w 2"/>
                  <a:gd name="T6" fmla="*/ 0 w 2"/>
                  <a:gd name="T7" fmla="*/ 0 w 2"/>
                  <a:gd name="T8" fmla="*/ 2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4" name="Freeform 678"/>
              <p:cNvSpPr>
                <a:spLocks noEditPoints="1"/>
              </p:cNvSpPr>
              <p:nvPr/>
            </p:nvSpPr>
            <p:spPr bwMode="auto">
              <a:xfrm>
                <a:off x="3026" y="1004"/>
                <a:ext cx="20" cy="14"/>
              </a:xfrm>
              <a:custGeom>
                <a:avLst/>
                <a:gdLst>
                  <a:gd name="T0" fmla="*/ 8 w 20"/>
                  <a:gd name="T1" fmla="*/ 8 h 14"/>
                  <a:gd name="T2" fmla="*/ 8 w 20"/>
                  <a:gd name="T3" fmla="*/ 8 h 14"/>
                  <a:gd name="T4" fmla="*/ 8 w 20"/>
                  <a:gd name="T5" fmla="*/ 8 h 14"/>
                  <a:gd name="T6" fmla="*/ 8 w 20"/>
                  <a:gd name="T7" fmla="*/ 8 h 14"/>
                  <a:gd name="T8" fmla="*/ 10 w 20"/>
                  <a:gd name="T9" fmla="*/ 8 h 14"/>
                  <a:gd name="T10" fmla="*/ 10 w 20"/>
                  <a:gd name="T11" fmla="*/ 8 h 14"/>
                  <a:gd name="T12" fmla="*/ 12 w 20"/>
                  <a:gd name="T13" fmla="*/ 10 h 14"/>
                  <a:gd name="T14" fmla="*/ 12 w 20"/>
                  <a:gd name="T15" fmla="*/ 10 h 14"/>
                  <a:gd name="T16" fmla="*/ 12 w 20"/>
                  <a:gd name="T17" fmla="*/ 10 h 14"/>
                  <a:gd name="T18" fmla="*/ 12 w 20"/>
                  <a:gd name="T19" fmla="*/ 10 h 14"/>
                  <a:gd name="T20" fmla="*/ 12 w 20"/>
                  <a:gd name="T21" fmla="*/ 10 h 14"/>
                  <a:gd name="T22" fmla="*/ 12 w 20"/>
                  <a:gd name="T23" fmla="*/ 10 h 14"/>
                  <a:gd name="T24" fmla="*/ 8 w 20"/>
                  <a:gd name="T25" fmla="*/ 12 h 14"/>
                  <a:gd name="T26" fmla="*/ 8 w 20"/>
                  <a:gd name="T27" fmla="*/ 12 h 14"/>
                  <a:gd name="T28" fmla="*/ 8 w 20"/>
                  <a:gd name="T29" fmla="*/ 12 h 14"/>
                  <a:gd name="T30" fmla="*/ 8 w 20"/>
                  <a:gd name="T31" fmla="*/ 12 h 14"/>
                  <a:gd name="T32" fmla="*/ 6 w 20"/>
                  <a:gd name="T33" fmla="*/ 10 h 14"/>
                  <a:gd name="T34" fmla="*/ 6 w 20"/>
                  <a:gd name="T35" fmla="*/ 10 h 14"/>
                  <a:gd name="T36" fmla="*/ 8 w 20"/>
                  <a:gd name="T37" fmla="*/ 8 h 14"/>
                  <a:gd name="T38" fmla="*/ 8 w 20"/>
                  <a:gd name="T39" fmla="*/ 8 h 14"/>
                  <a:gd name="T40" fmla="*/ 8 w 20"/>
                  <a:gd name="T41" fmla="*/ 8 h 14"/>
                  <a:gd name="T42" fmla="*/ 14 w 20"/>
                  <a:gd name="T43" fmla="*/ 0 h 14"/>
                  <a:gd name="T44" fmla="*/ 14 w 20"/>
                  <a:gd name="T45" fmla="*/ 0 h 14"/>
                  <a:gd name="T46" fmla="*/ 6 w 20"/>
                  <a:gd name="T47" fmla="*/ 4 h 14"/>
                  <a:gd name="T48" fmla="*/ 0 w 20"/>
                  <a:gd name="T49" fmla="*/ 10 h 14"/>
                  <a:gd name="T50" fmla="*/ 0 w 20"/>
                  <a:gd name="T51" fmla="*/ 10 h 14"/>
                  <a:gd name="T52" fmla="*/ 4 w 20"/>
                  <a:gd name="T53" fmla="*/ 10 h 14"/>
                  <a:gd name="T54" fmla="*/ 4 w 20"/>
                  <a:gd name="T55" fmla="*/ 10 h 14"/>
                  <a:gd name="T56" fmla="*/ 8 w 20"/>
                  <a:gd name="T57" fmla="*/ 14 h 14"/>
                  <a:gd name="T58" fmla="*/ 8 w 20"/>
                  <a:gd name="T59" fmla="*/ 14 h 14"/>
                  <a:gd name="T60" fmla="*/ 20 w 20"/>
                  <a:gd name="T61" fmla="*/ 6 h 14"/>
                  <a:gd name="T62" fmla="*/ 20 w 20"/>
                  <a:gd name="T63" fmla="*/ 6 h 14"/>
                  <a:gd name="T64" fmla="*/ 16 w 20"/>
                  <a:gd name="T65" fmla="*/ 6 h 14"/>
                  <a:gd name="T66" fmla="*/ 14 w 2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4">
                    <a:moveTo>
                      <a:pt x="8" y="8"/>
                    </a:moveTo>
                    <a:lnTo>
                      <a:pt x="8" y="8"/>
                    </a:lnTo>
                    <a:lnTo>
                      <a:pt x="8" y="8"/>
                    </a:lnTo>
                    <a:lnTo>
                      <a:pt x="8" y="8"/>
                    </a:lnTo>
                    <a:lnTo>
                      <a:pt x="10" y="8"/>
                    </a:lnTo>
                    <a:lnTo>
                      <a:pt x="10" y="8"/>
                    </a:lnTo>
                    <a:lnTo>
                      <a:pt x="12" y="10"/>
                    </a:lnTo>
                    <a:lnTo>
                      <a:pt x="12" y="10"/>
                    </a:lnTo>
                    <a:lnTo>
                      <a:pt x="12" y="10"/>
                    </a:lnTo>
                    <a:lnTo>
                      <a:pt x="12" y="10"/>
                    </a:lnTo>
                    <a:lnTo>
                      <a:pt x="12" y="10"/>
                    </a:lnTo>
                    <a:lnTo>
                      <a:pt x="12" y="10"/>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5" name="Freeform 679"/>
              <p:cNvSpPr>
                <a:spLocks/>
              </p:cNvSpPr>
              <p:nvPr/>
            </p:nvSpPr>
            <p:spPr bwMode="auto">
              <a:xfrm>
                <a:off x="3032" y="1012"/>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0 w 6"/>
                  <a:gd name="T33" fmla="*/ 2 h 4"/>
                  <a:gd name="T34" fmla="*/ 0 w 6"/>
                  <a:gd name="T35" fmla="*/ 2 h 4"/>
                  <a:gd name="T36" fmla="*/ 2 w 6"/>
                  <a:gd name="T37" fmla="*/ 0 h 4"/>
                  <a:gd name="T38" fmla="*/ 2 w 6"/>
                  <a:gd name="T39" fmla="*/ 0 h 4"/>
                  <a:gd name="T40" fmla="*/ 2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6" name="Freeform 680"/>
              <p:cNvSpPr>
                <a:spLocks/>
              </p:cNvSpPr>
              <p:nvPr/>
            </p:nvSpPr>
            <p:spPr bwMode="auto">
              <a:xfrm>
                <a:off x="3026" y="1004"/>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7" name="Freeform 681"/>
              <p:cNvSpPr>
                <a:spLocks/>
              </p:cNvSpPr>
              <p:nvPr/>
            </p:nvSpPr>
            <p:spPr bwMode="auto">
              <a:xfrm>
                <a:off x="2980" y="99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8" name="Freeform 682"/>
              <p:cNvSpPr>
                <a:spLocks/>
              </p:cNvSpPr>
              <p:nvPr/>
            </p:nvSpPr>
            <p:spPr bwMode="auto">
              <a:xfrm>
                <a:off x="2980" y="994"/>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69" name="Freeform 683"/>
              <p:cNvSpPr>
                <a:spLocks/>
              </p:cNvSpPr>
              <p:nvPr/>
            </p:nvSpPr>
            <p:spPr bwMode="auto">
              <a:xfrm>
                <a:off x="3076" y="99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0" name="Freeform 684"/>
              <p:cNvSpPr>
                <a:spLocks/>
              </p:cNvSpPr>
              <p:nvPr/>
            </p:nvSpPr>
            <p:spPr bwMode="auto">
              <a:xfrm>
                <a:off x="3076" y="998"/>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1" name="Freeform 685"/>
              <p:cNvSpPr>
                <a:spLocks/>
              </p:cNvSpPr>
              <p:nvPr/>
            </p:nvSpPr>
            <p:spPr bwMode="auto">
              <a:xfrm>
                <a:off x="3022" y="994"/>
                <a:ext cx="6" cy="6"/>
              </a:xfrm>
              <a:custGeom>
                <a:avLst/>
                <a:gdLst>
                  <a:gd name="T0" fmla="*/ 6 w 6"/>
                  <a:gd name="T1" fmla="*/ 0 h 6"/>
                  <a:gd name="T2" fmla="*/ 6 w 6"/>
                  <a:gd name="T3" fmla="*/ 0 h 6"/>
                  <a:gd name="T4" fmla="*/ 0 w 6"/>
                  <a:gd name="T5" fmla="*/ 4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4"/>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2" name="Freeform 686"/>
              <p:cNvSpPr>
                <a:spLocks/>
              </p:cNvSpPr>
              <p:nvPr/>
            </p:nvSpPr>
            <p:spPr bwMode="auto">
              <a:xfrm>
                <a:off x="3022" y="994"/>
                <a:ext cx="6" cy="6"/>
              </a:xfrm>
              <a:custGeom>
                <a:avLst/>
                <a:gdLst>
                  <a:gd name="T0" fmla="*/ 6 w 6"/>
                  <a:gd name="T1" fmla="*/ 0 h 6"/>
                  <a:gd name="T2" fmla="*/ 6 w 6"/>
                  <a:gd name="T3" fmla="*/ 0 h 6"/>
                  <a:gd name="T4" fmla="*/ 0 w 6"/>
                  <a:gd name="T5" fmla="*/ 4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4"/>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3" name="Freeform 687"/>
              <p:cNvSpPr>
                <a:spLocks/>
              </p:cNvSpPr>
              <p:nvPr/>
            </p:nvSpPr>
            <p:spPr bwMode="auto">
              <a:xfrm>
                <a:off x="3036" y="1044"/>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4" name="Freeform 688"/>
              <p:cNvSpPr>
                <a:spLocks/>
              </p:cNvSpPr>
              <p:nvPr/>
            </p:nvSpPr>
            <p:spPr bwMode="auto">
              <a:xfrm>
                <a:off x="3036" y="1044"/>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5" name="Freeform 689"/>
              <p:cNvSpPr>
                <a:spLocks/>
              </p:cNvSpPr>
              <p:nvPr/>
            </p:nvSpPr>
            <p:spPr bwMode="auto">
              <a:xfrm>
                <a:off x="3032" y="101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6" name="Freeform 690"/>
              <p:cNvSpPr>
                <a:spLocks/>
              </p:cNvSpPr>
              <p:nvPr/>
            </p:nvSpPr>
            <p:spPr bwMode="auto">
              <a:xfrm>
                <a:off x="3032" y="101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7" name="Freeform 691"/>
              <p:cNvSpPr>
                <a:spLocks noEditPoints="1"/>
              </p:cNvSpPr>
              <p:nvPr/>
            </p:nvSpPr>
            <p:spPr bwMode="auto">
              <a:xfrm>
                <a:off x="3034" y="101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4 w 4"/>
                  <a:gd name="T21" fmla="*/ 2 h 4"/>
                  <a:gd name="T22" fmla="*/ 0 w 4"/>
                  <a:gd name="T23" fmla="*/ 0 h 4"/>
                  <a:gd name="T24" fmla="*/ 0 w 4"/>
                  <a:gd name="T25" fmla="*/ 0 h 4"/>
                  <a:gd name="T26" fmla="*/ 0 w 4"/>
                  <a:gd name="T27" fmla="*/ 0 h 4"/>
                  <a:gd name="T28" fmla="*/ 0 w 4"/>
                  <a:gd name="T29" fmla="*/ 0 h 4"/>
                  <a:gd name="T30" fmla="*/ 2 w 4"/>
                  <a:gd name="T31" fmla="*/ 0 h 4"/>
                  <a:gd name="T32" fmla="*/ 2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4" y="2"/>
                    </a:moveTo>
                    <a:lnTo>
                      <a:pt x="4" y="2"/>
                    </a:lnTo>
                    <a:lnTo>
                      <a:pt x="0" y="4"/>
                    </a:lnTo>
                    <a:lnTo>
                      <a:pt x="0" y="4"/>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8" name="Freeform 692"/>
              <p:cNvSpPr>
                <a:spLocks/>
              </p:cNvSpPr>
              <p:nvPr/>
            </p:nvSpPr>
            <p:spPr bwMode="auto">
              <a:xfrm>
                <a:off x="3034" y="101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0 w 4"/>
                  <a:gd name="T13" fmla="*/ 2 h 2"/>
                  <a:gd name="T14" fmla="*/ 0 w 4"/>
                  <a:gd name="T15" fmla="*/ 2 h 2"/>
                  <a:gd name="T16" fmla="*/ 4 w 4"/>
                  <a:gd name="T17" fmla="*/ 0 h 2"/>
                  <a:gd name="T18" fmla="*/ 4 w 4"/>
                  <a:gd name="T19" fmla="*/ 0 h 2"/>
                  <a:gd name="T20" fmla="*/ 4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4" y="0"/>
                    </a:moveTo>
                    <a:lnTo>
                      <a:pt x="4" y="0"/>
                    </a:lnTo>
                    <a:lnTo>
                      <a:pt x="0" y="2"/>
                    </a:lnTo>
                    <a:lnTo>
                      <a:pt x="0" y="2"/>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79" name="Freeform 693"/>
              <p:cNvSpPr>
                <a:spLocks/>
              </p:cNvSpPr>
              <p:nvPr/>
            </p:nvSpPr>
            <p:spPr bwMode="auto">
              <a:xfrm>
                <a:off x="3034" y="101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0" name="Freeform 694"/>
              <p:cNvSpPr>
                <a:spLocks/>
              </p:cNvSpPr>
              <p:nvPr/>
            </p:nvSpPr>
            <p:spPr bwMode="auto">
              <a:xfrm>
                <a:off x="2098"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1" name="Freeform 695"/>
              <p:cNvSpPr>
                <a:spLocks/>
              </p:cNvSpPr>
              <p:nvPr/>
            </p:nvSpPr>
            <p:spPr bwMode="auto">
              <a:xfrm>
                <a:off x="2192"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2" name="Freeform 696"/>
              <p:cNvSpPr>
                <a:spLocks/>
              </p:cNvSpPr>
              <p:nvPr/>
            </p:nvSpPr>
            <p:spPr bwMode="auto">
              <a:xfrm>
                <a:off x="2284"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3" name="Freeform 697"/>
              <p:cNvSpPr>
                <a:spLocks/>
              </p:cNvSpPr>
              <p:nvPr/>
            </p:nvSpPr>
            <p:spPr bwMode="auto">
              <a:xfrm>
                <a:off x="2602"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4" name="Freeform 698"/>
              <p:cNvSpPr>
                <a:spLocks/>
              </p:cNvSpPr>
              <p:nvPr/>
            </p:nvSpPr>
            <p:spPr bwMode="auto">
              <a:xfrm>
                <a:off x="2602"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5" name="Freeform 699"/>
              <p:cNvSpPr>
                <a:spLocks/>
              </p:cNvSpPr>
              <p:nvPr/>
            </p:nvSpPr>
            <p:spPr bwMode="auto">
              <a:xfrm>
                <a:off x="2662" y="7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6" name="Freeform 700"/>
              <p:cNvSpPr>
                <a:spLocks/>
              </p:cNvSpPr>
              <p:nvPr/>
            </p:nvSpPr>
            <p:spPr bwMode="auto">
              <a:xfrm>
                <a:off x="2662" y="780"/>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7" name="Freeform 701"/>
              <p:cNvSpPr>
                <a:spLocks/>
              </p:cNvSpPr>
              <p:nvPr/>
            </p:nvSpPr>
            <p:spPr bwMode="auto">
              <a:xfrm>
                <a:off x="274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8" name="Freeform 702"/>
              <p:cNvSpPr>
                <a:spLocks/>
              </p:cNvSpPr>
              <p:nvPr/>
            </p:nvSpPr>
            <p:spPr bwMode="auto">
              <a:xfrm>
                <a:off x="284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89" name="Freeform 703"/>
              <p:cNvSpPr>
                <a:spLocks/>
              </p:cNvSpPr>
              <p:nvPr/>
            </p:nvSpPr>
            <p:spPr bwMode="auto">
              <a:xfrm>
                <a:off x="293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0" name="Freeform 704"/>
              <p:cNvSpPr>
                <a:spLocks noEditPoints="1"/>
              </p:cNvSpPr>
              <p:nvPr/>
            </p:nvSpPr>
            <p:spPr bwMode="auto">
              <a:xfrm>
                <a:off x="2374" y="778"/>
                <a:ext cx="188" cy="146"/>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0 h 146"/>
                  <a:gd name="T14" fmla="*/ 6 w 188"/>
                  <a:gd name="T15" fmla="*/ 66 h 146"/>
                  <a:gd name="T16" fmla="*/ 12 w 188"/>
                  <a:gd name="T17" fmla="*/ 64 h 146"/>
                  <a:gd name="T18" fmla="*/ 6 w 188"/>
                  <a:gd name="T19" fmla="*/ 68 h 146"/>
                  <a:gd name="T20" fmla="*/ 8 w 188"/>
                  <a:gd name="T21" fmla="*/ 50 h 146"/>
                  <a:gd name="T22" fmla="*/ 114 w 188"/>
                  <a:gd name="T23" fmla="*/ 4 h 146"/>
                  <a:gd name="T24" fmla="*/ 152 w 188"/>
                  <a:gd name="T25" fmla="*/ 26 h 146"/>
                  <a:gd name="T26" fmla="*/ 156 w 188"/>
                  <a:gd name="T27" fmla="*/ 40 h 146"/>
                  <a:gd name="T28" fmla="*/ 152 w 188"/>
                  <a:gd name="T29" fmla="*/ 44 h 146"/>
                  <a:gd name="T30" fmla="*/ 158 w 188"/>
                  <a:gd name="T31" fmla="*/ 46 h 146"/>
                  <a:gd name="T32" fmla="*/ 164 w 188"/>
                  <a:gd name="T33" fmla="*/ 36 h 146"/>
                  <a:gd name="T34" fmla="*/ 184 w 188"/>
                  <a:gd name="T35" fmla="*/ 40 h 146"/>
                  <a:gd name="T36" fmla="*/ 158 w 188"/>
                  <a:gd name="T37" fmla="*/ 88 h 146"/>
                  <a:gd name="T38" fmla="*/ 130 w 188"/>
                  <a:gd name="T39" fmla="*/ 98 h 146"/>
                  <a:gd name="T40" fmla="*/ 142 w 188"/>
                  <a:gd name="T41" fmla="*/ 92 h 146"/>
                  <a:gd name="T42" fmla="*/ 132 w 188"/>
                  <a:gd name="T43" fmla="*/ 102 h 146"/>
                  <a:gd name="T44" fmla="*/ 114 w 188"/>
                  <a:gd name="T45" fmla="*/ 96 h 146"/>
                  <a:gd name="T46" fmla="*/ 86 w 188"/>
                  <a:gd name="T47" fmla="*/ 140 h 146"/>
                  <a:gd name="T48" fmla="*/ 70 w 188"/>
                  <a:gd name="T49" fmla="*/ 122 h 146"/>
                  <a:gd name="T50" fmla="*/ 70 w 188"/>
                  <a:gd name="T51" fmla="*/ 116 h 146"/>
                  <a:gd name="T52" fmla="*/ 52 w 188"/>
                  <a:gd name="T53" fmla="*/ 112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2 w 188"/>
                  <a:gd name="T71" fmla="*/ 92 h 146"/>
                  <a:gd name="T72" fmla="*/ 52 w 188"/>
                  <a:gd name="T73" fmla="*/ 84 h 146"/>
                  <a:gd name="T74" fmla="*/ 44 w 188"/>
                  <a:gd name="T75" fmla="*/ 62 h 146"/>
                  <a:gd name="T76" fmla="*/ 86 w 188"/>
                  <a:gd name="T77" fmla="*/ 22 h 146"/>
                  <a:gd name="T78" fmla="*/ 90 w 188"/>
                  <a:gd name="T79" fmla="*/ 6 h 146"/>
                  <a:gd name="T80" fmla="*/ 62 w 188"/>
                  <a:gd name="T81" fmla="*/ 28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2 w 188"/>
                  <a:gd name="T105" fmla="*/ 90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14" y="130"/>
                    </a:lnTo>
                    <a:lnTo>
                      <a:pt x="114" y="130"/>
                    </a:lnTo>
                    <a:lnTo>
                      <a:pt x="110" y="130"/>
                    </a:lnTo>
                    <a:lnTo>
                      <a:pt x="110" y="130"/>
                    </a:lnTo>
                    <a:lnTo>
                      <a:pt x="104" y="130"/>
                    </a:lnTo>
                    <a:lnTo>
                      <a:pt x="104" y="130"/>
                    </a:lnTo>
                    <a:lnTo>
                      <a:pt x="104" y="130"/>
                    </a:lnTo>
                    <a:lnTo>
                      <a:pt x="104" y="130"/>
                    </a:lnTo>
                    <a:lnTo>
                      <a:pt x="104" y="130"/>
                    </a:lnTo>
                    <a:lnTo>
                      <a:pt x="102" y="130"/>
                    </a:lnTo>
                    <a:lnTo>
                      <a:pt x="102" y="130"/>
                    </a:lnTo>
                    <a:lnTo>
                      <a:pt x="114" y="108"/>
                    </a:lnTo>
                    <a:lnTo>
                      <a:pt x="114" y="108"/>
                    </a:lnTo>
                    <a:lnTo>
                      <a:pt x="116" y="104"/>
                    </a:lnTo>
                    <a:lnTo>
                      <a:pt x="116" y="104"/>
                    </a:lnTo>
                    <a:lnTo>
                      <a:pt x="116" y="104"/>
                    </a:lnTo>
                    <a:close/>
                    <a:moveTo>
                      <a:pt x="8" y="104"/>
                    </a:moveTo>
                    <a:lnTo>
                      <a:pt x="8" y="104"/>
                    </a:lnTo>
                    <a:lnTo>
                      <a:pt x="14" y="100"/>
                    </a:lnTo>
                    <a:lnTo>
                      <a:pt x="14" y="100"/>
                    </a:lnTo>
                    <a:lnTo>
                      <a:pt x="22" y="116"/>
                    </a:lnTo>
                    <a:lnTo>
                      <a:pt x="22" y="116"/>
                    </a:lnTo>
                    <a:lnTo>
                      <a:pt x="24" y="120"/>
                    </a:lnTo>
                    <a:lnTo>
                      <a:pt x="20" y="122"/>
                    </a:lnTo>
                    <a:lnTo>
                      <a:pt x="20" y="122"/>
                    </a:lnTo>
                    <a:lnTo>
                      <a:pt x="20" y="122"/>
                    </a:lnTo>
                    <a:lnTo>
                      <a:pt x="20"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0"/>
                    </a:lnTo>
                    <a:lnTo>
                      <a:pt x="4" y="60"/>
                    </a:lnTo>
                    <a:lnTo>
                      <a:pt x="6" y="64"/>
                    </a:lnTo>
                    <a:lnTo>
                      <a:pt x="6" y="64"/>
                    </a:lnTo>
                    <a:lnTo>
                      <a:pt x="6" y="64"/>
                    </a:lnTo>
                    <a:lnTo>
                      <a:pt x="6" y="64"/>
                    </a:lnTo>
                    <a:lnTo>
                      <a:pt x="6" y="64"/>
                    </a:lnTo>
                    <a:lnTo>
                      <a:pt x="6" y="64"/>
                    </a:lnTo>
                    <a:lnTo>
                      <a:pt x="6" y="64"/>
                    </a:lnTo>
                    <a:lnTo>
                      <a:pt x="6" y="64"/>
                    </a:lnTo>
                    <a:lnTo>
                      <a:pt x="6" y="66"/>
                    </a:lnTo>
                    <a:lnTo>
                      <a:pt x="6" y="66"/>
                    </a:lnTo>
                    <a:lnTo>
                      <a:pt x="10" y="66"/>
                    </a:lnTo>
                    <a:lnTo>
                      <a:pt x="10" y="66"/>
                    </a:lnTo>
                    <a:lnTo>
                      <a:pt x="10" y="66"/>
                    </a:lnTo>
                    <a:lnTo>
                      <a:pt x="10" y="66"/>
                    </a:lnTo>
                    <a:lnTo>
                      <a:pt x="12" y="64"/>
                    </a:lnTo>
                    <a:lnTo>
                      <a:pt x="12" y="64"/>
                    </a:lnTo>
                    <a:lnTo>
                      <a:pt x="12" y="64"/>
                    </a:lnTo>
                    <a:lnTo>
                      <a:pt x="12" y="64"/>
                    </a:lnTo>
                    <a:lnTo>
                      <a:pt x="14" y="64"/>
                    </a:lnTo>
                    <a:lnTo>
                      <a:pt x="14" y="64"/>
                    </a:lnTo>
                    <a:lnTo>
                      <a:pt x="12" y="66"/>
                    </a:lnTo>
                    <a:lnTo>
                      <a:pt x="10" y="68"/>
                    </a:lnTo>
                    <a:lnTo>
                      <a:pt x="10"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2" y="50"/>
                    </a:lnTo>
                    <a:lnTo>
                      <a:pt x="160" y="42"/>
                    </a:lnTo>
                    <a:lnTo>
                      <a:pt x="160"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6" y="98"/>
                    </a:lnTo>
                    <a:lnTo>
                      <a:pt x="126"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50" y="126"/>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8"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1" name="Freeform 705"/>
              <p:cNvSpPr>
                <a:spLocks/>
              </p:cNvSpPr>
              <p:nvPr/>
            </p:nvSpPr>
            <p:spPr bwMode="auto">
              <a:xfrm>
                <a:off x="2476" y="882"/>
                <a:ext cx="18" cy="26"/>
              </a:xfrm>
              <a:custGeom>
                <a:avLst/>
                <a:gdLst>
                  <a:gd name="T0" fmla="*/ 14 w 18"/>
                  <a:gd name="T1" fmla="*/ 0 h 26"/>
                  <a:gd name="T2" fmla="*/ 14 w 18"/>
                  <a:gd name="T3" fmla="*/ 0 h 26"/>
                  <a:gd name="T4" fmla="*/ 14 w 18"/>
                  <a:gd name="T5" fmla="*/ 0 h 26"/>
                  <a:gd name="T6" fmla="*/ 14 w 18"/>
                  <a:gd name="T7" fmla="*/ 0 h 26"/>
                  <a:gd name="T8" fmla="*/ 18 w 18"/>
                  <a:gd name="T9" fmla="*/ 8 h 26"/>
                  <a:gd name="T10" fmla="*/ 18 w 18"/>
                  <a:gd name="T11" fmla="*/ 8 h 26"/>
                  <a:gd name="T12" fmla="*/ 18 w 18"/>
                  <a:gd name="T13" fmla="*/ 22 h 26"/>
                  <a:gd name="T14" fmla="*/ 18 w 18"/>
                  <a:gd name="T15" fmla="*/ 22 h 26"/>
                  <a:gd name="T16" fmla="*/ 16 w 18"/>
                  <a:gd name="T17" fmla="*/ 26 h 26"/>
                  <a:gd name="T18" fmla="*/ 16 w 18"/>
                  <a:gd name="T19" fmla="*/ 26 h 26"/>
                  <a:gd name="T20" fmla="*/ 12 w 18"/>
                  <a:gd name="T21" fmla="*/ 26 h 26"/>
                  <a:gd name="T22" fmla="*/ 12 w 18"/>
                  <a:gd name="T23" fmla="*/ 26 h 26"/>
                  <a:gd name="T24" fmla="*/ 12 w 18"/>
                  <a:gd name="T25" fmla="*/ 26 h 26"/>
                  <a:gd name="T26" fmla="*/ 12 w 18"/>
                  <a:gd name="T27" fmla="*/ 26 h 26"/>
                  <a:gd name="T28" fmla="*/ 8 w 18"/>
                  <a:gd name="T29" fmla="*/ 26 h 26"/>
                  <a:gd name="T30" fmla="*/ 8 w 18"/>
                  <a:gd name="T31" fmla="*/ 26 h 26"/>
                  <a:gd name="T32" fmla="*/ 2 w 18"/>
                  <a:gd name="T33" fmla="*/ 26 h 26"/>
                  <a:gd name="T34" fmla="*/ 2 w 18"/>
                  <a:gd name="T35" fmla="*/ 26 h 26"/>
                  <a:gd name="T36" fmla="*/ 2 w 18"/>
                  <a:gd name="T37" fmla="*/ 26 h 26"/>
                  <a:gd name="T38" fmla="*/ 2 w 18"/>
                  <a:gd name="T39" fmla="*/ 26 h 26"/>
                  <a:gd name="T40" fmla="*/ 2 w 18"/>
                  <a:gd name="T41" fmla="*/ 26 h 26"/>
                  <a:gd name="T42" fmla="*/ 0 w 18"/>
                  <a:gd name="T43" fmla="*/ 26 h 26"/>
                  <a:gd name="T44" fmla="*/ 0 w 18"/>
                  <a:gd name="T45" fmla="*/ 26 h 26"/>
                  <a:gd name="T46" fmla="*/ 12 w 18"/>
                  <a:gd name="T47" fmla="*/ 4 h 26"/>
                  <a:gd name="T48" fmla="*/ 12 w 18"/>
                  <a:gd name="T49" fmla="*/ 4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8" y="8"/>
                    </a:lnTo>
                    <a:lnTo>
                      <a:pt x="18" y="8"/>
                    </a:lnTo>
                    <a:lnTo>
                      <a:pt x="18" y="22"/>
                    </a:lnTo>
                    <a:lnTo>
                      <a:pt x="18" y="22"/>
                    </a:lnTo>
                    <a:lnTo>
                      <a:pt x="16" y="26"/>
                    </a:lnTo>
                    <a:lnTo>
                      <a:pt x="16" y="26"/>
                    </a:lnTo>
                    <a:lnTo>
                      <a:pt x="12" y="26"/>
                    </a:lnTo>
                    <a:lnTo>
                      <a:pt x="12" y="26"/>
                    </a:lnTo>
                    <a:lnTo>
                      <a:pt x="12" y="26"/>
                    </a:lnTo>
                    <a:lnTo>
                      <a:pt x="12" y="26"/>
                    </a:lnTo>
                    <a:lnTo>
                      <a:pt x="8" y="26"/>
                    </a:lnTo>
                    <a:lnTo>
                      <a:pt x="8" y="26"/>
                    </a:lnTo>
                    <a:lnTo>
                      <a:pt x="2" y="26"/>
                    </a:lnTo>
                    <a:lnTo>
                      <a:pt x="2" y="26"/>
                    </a:lnTo>
                    <a:lnTo>
                      <a:pt x="2" y="26"/>
                    </a:lnTo>
                    <a:lnTo>
                      <a:pt x="2" y="26"/>
                    </a:lnTo>
                    <a:lnTo>
                      <a:pt x="2" y="26"/>
                    </a:lnTo>
                    <a:lnTo>
                      <a:pt x="0" y="26"/>
                    </a:lnTo>
                    <a:lnTo>
                      <a:pt x="0" y="26"/>
                    </a:lnTo>
                    <a:lnTo>
                      <a:pt x="12" y="4"/>
                    </a:lnTo>
                    <a:lnTo>
                      <a:pt x="12"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2" name="Freeform 706"/>
              <p:cNvSpPr>
                <a:spLocks/>
              </p:cNvSpPr>
              <p:nvPr/>
            </p:nvSpPr>
            <p:spPr bwMode="auto">
              <a:xfrm>
                <a:off x="2378" y="878"/>
                <a:ext cx="20" cy="22"/>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6 w 20"/>
                  <a:gd name="T19" fmla="*/ 22 h 22"/>
                  <a:gd name="T20" fmla="*/ 16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3" name="Freeform 707"/>
              <p:cNvSpPr>
                <a:spLocks/>
              </p:cNvSpPr>
              <p:nvPr/>
            </p:nvSpPr>
            <p:spPr bwMode="auto">
              <a:xfrm>
                <a:off x="2376" y="8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2 h 20"/>
                  <a:gd name="T22" fmla="*/ 6 w 12"/>
                  <a:gd name="T23" fmla="*/ 2 h 20"/>
                  <a:gd name="T24" fmla="*/ 2 w 12"/>
                  <a:gd name="T25" fmla="*/ 10 h 20"/>
                  <a:gd name="T26" fmla="*/ 2 w 12"/>
                  <a:gd name="T27" fmla="*/ 10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4 h 20"/>
                  <a:gd name="T42" fmla="*/ 4 w 12"/>
                  <a:gd name="T43" fmla="*/ 14 h 20"/>
                  <a:gd name="T44" fmla="*/ 4 w 12"/>
                  <a:gd name="T45" fmla="*/ 16 h 20"/>
                  <a:gd name="T46" fmla="*/ 4 w 12"/>
                  <a:gd name="T47" fmla="*/ 16 h 20"/>
                  <a:gd name="T48" fmla="*/ 8 w 12"/>
                  <a:gd name="T49" fmla="*/ 16 h 20"/>
                  <a:gd name="T50" fmla="*/ 8 w 12"/>
                  <a:gd name="T51" fmla="*/ 16 h 20"/>
                  <a:gd name="T52" fmla="*/ 8 w 12"/>
                  <a:gd name="T53" fmla="*/ 16 h 20"/>
                  <a:gd name="T54" fmla="*/ 8 w 12"/>
                  <a:gd name="T55" fmla="*/ 16 h 20"/>
                  <a:gd name="T56" fmla="*/ 10 w 12"/>
                  <a:gd name="T57" fmla="*/ 14 h 20"/>
                  <a:gd name="T58" fmla="*/ 10 w 12"/>
                  <a:gd name="T59" fmla="*/ 14 h 20"/>
                  <a:gd name="T60" fmla="*/ 10 w 12"/>
                  <a:gd name="T61" fmla="*/ 14 h 20"/>
                  <a:gd name="T62" fmla="*/ 10 w 12"/>
                  <a:gd name="T63" fmla="*/ 14 h 20"/>
                  <a:gd name="T64" fmla="*/ 12 w 12"/>
                  <a:gd name="T65" fmla="*/ 14 h 20"/>
                  <a:gd name="T66" fmla="*/ 12 w 12"/>
                  <a:gd name="T67" fmla="*/ 14 h 20"/>
                  <a:gd name="T68" fmla="*/ 10 w 12"/>
                  <a:gd name="T69" fmla="*/ 16 h 20"/>
                  <a:gd name="T70" fmla="*/ 8 w 12"/>
                  <a:gd name="T71" fmla="*/ 18 h 20"/>
                  <a:gd name="T72" fmla="*/ 8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6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0"/>
                    </a:lnTo>
                    <a:lnTo>
                      <a:pt x="2" y="10"/>
                    </a:lnTo>
                    <a:lnTo>
                      <a:pt x="4" y="14"/>
                    </a:lnTo>
                    <a:lnTo>
                      <a:pt x="4" y="14"/>
                    </a:lnTo>
                    <a:lnTo>
                      <a:pt x="4" y="14"/>
                    </a:lnTo>
                    <a:lnTo>
                      <a:pt x="4" y="14"/>
                    </a:lnTo>
                    <a:lnTo>
                      <a:pt x="4" y="14"/>
                    </a:lnTo>
                    <a:lnTo>
                      <a:pt x="4" y="14"/>
                    </a:lnTo>
                    <a:lnTo>
                      <a:pt x="4" y="14"/>
                    </a:lnTo>
                    <a:lnTo>
                      <a:pt x="4" y="14"/>
                    </a:lnTo>
                    <a:lnTo>
                      <a:pt x="4" y="16"/>
                    </a:lnTo>
                    <a:lnTo>
                      <a:pt x="4" y="16"/>
                    </a:lnTo>
                    <a:lnTo>
                      <a:pt x="8" y="16"/>
                    </a:lnTo>
                    <a:lnTo>
                      <a:pt x="8" y="16"/>
                    </a:lnTo>
                    <a:lnTo>
                      <a:pt x="8" y="16"/>
                    </a:lnTo>
                    <a:lnTo>
                      <a:pt x="8" y="16"/>
                    </a:lnTo>
                    <a:lnTo>
                      <a:pt x="10" y="14"/>
                    </a:lnTo>
                    <a:lnTo>
                      <a:pt x="10" y="14"/>
                    </a:lnTo>
                    <a:lnTo>
                      <a:pt x="10" y="14"/>
                    </a:lnTo>
                    <a:lnTo>
                      <a:pt x="10" y="14"/>
                    </a:lnTo>
                    <a:lnTo>
                      <a:pt x="12" y="14"/>
                    </a:lnTo>
                    <a:lnTo>
                      <a:pt x="12" y="14"/>
                    </a:lnTo>
                    <a:lnTo>
                      <a:pt x="10" y="16"/>
                    </a:lnTo>
                    <a:lnTo>
                      <a:pt x="8" y="18"/>
                    </a:lnTo>
                    <a:lnTo>
                      <a:pt x="8"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4" name="Freeform 708"/>
              <p:cNvSpPr>
                <a:spLocks/>
              </p:cNvSpPr>
              <p:nvPr/>
            </p:nvSpPr>
            <p:spPr bwMode="auto">
              <a:xfrm>
                <a:off x="2388" y="782"/>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30 w 170"/>
                  <a:gd name="T77" fmla="*/ 136 h 138"/>
                  <a:gd name="T78" fmla="*/ 10 w 170"/>
                  <a:gd name="T79" fmla="*/ 126 h 138"/>
                  <a:gd name="T80" fmla="*/ 12 w 170"/>
                  <a:gd name="T81" fmla="*/ 118 h 138"/>
                  <a:gd name="T82" fmla="*/ 6 w 170"/>
                  <a:gd name="T83" fmla="*/ 102 h 138"/>
                  <a:gd name="T84" fmla="*/ 0 w 170"/>
                  <a:gd name="T85" fmla="*/ 74 h 138"/>
                  <a:gd name="T86" fmla="*/ 16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4 h 138"/>
                  <a:gd name="T100" fmla="*/ 58 w 170"/>
                  <a:gd name="T101" fmla="*/ 92 h 138"/>
                  <a:gd name="T102" fmla="*/ 80 w 170"/>
                  <a:gd name="T103" fmla="*/ 80 h 138"/>
                  <a:gd name="T104" fmla="*/ 82 w 170"/>
                  <a:gd name="T105" fmla="*/ 54 h 138"/>
                  <a:gd name="T106" fmla="*/ 78 w 170"/>
                  <a:gd name="T107" fmla="*/ 56 h 138"/>
                  <a:gd name="T108" fmla="*/ 76 w 170"/>
                  <a:gd name="T109" fmla="*/ 80 h 138"/>
                  <a:gd name="T110" fmla="*/ 58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8" y="46"/>
                    </a:lnTo>
                    <a:lnTo>
                      <a:pt x="146" y="38"/>
                    </a:lnTo>
                    <a:lnTo>
                      <a:pt x="146"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2" y="94"/>
                    </a:lnTo>
                    <a:lnTo>
                      <a:pt x="112"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4"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5" name="Freeform 709"/>
              <p:cNvSpPr>
                <a:spLocks/>
              </p:cNvSpPr>
              <p:nvPr/>
            </p:nvSpPr>
            <p:spPr bwMode="auto">
              <a:xfrm>
                <a:off x="2374" y="778"/>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6 h 146"/>
                  <a:gd name="T34" fmla="*/ 6 w 188"/>
                  <a:gd name="T35" fmla="*/ 118 h 146"/>
                  <a:gd name="T36" fmla="*/ 14 w 188"/>
                  <a:gd name="T37" fmla="*/ 124 h 146"/>
                  <a:gd name="T38" fmla="*/ 20 w 188"/>
                  <a:gd name="T39" fmla="*/ 130 h 146"/>
                  <a:gd name="T40" fmla="*/ 22 w 188"/>
                  <a:gd name="T41" fmla="*/ 138 h 146"/>
                  <a:gd name="T42" fmla="*/ 32 w 188"/>
                  <a:gd name="T43" fmla="*/ 142 h 146"/>
                  <a:gd name="T44" fmla="*/ 44 w 188"/>
                  <a:gd name="T45" fmla="*/ 144 h 146"/>
                  <a:gd name="T46" fmla="*/ 48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6" name="Freeform 710"/>
              <p:cNvSpPr>
                <a:spLocks/>
              </p:cNvSpPr>
              <p:nvPr/>
            </p:nvSpPr>
            <p:spPr bwMode="auto">
              <a:xfrm>
                <a:off x="2380"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7" name="Freeform 711"/>
              <p:cNvSpPr>
                <a:spLocks/>
              </p:cNvSpPr>
              <p:nvPr/>
            </p:nvSpPr>
            <p:spPr bwMode="auto">
              <a:xfrm>
                <a:off x="2380" y="878"/>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8" name="Freeform 712"/>
              <p:cNvSpPr>
                <a:spLocks/>
              </p:cNvSpPr>
              <p:nvPr/>
            </p:nvSpPr>
            <p:spPr bwMode="auto">
              <a:xfrm>
                <a:off x="2382"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2" y="22"/>
                    </a:lnTo>
                    <a:lnTo>
                      <a:pt x="12" y="22"/>
                    </a:lnTo>
                    <a:lnTo>
                      <a:pt x="12" y="22"/>
                    </a:lnTo>
                    <a:lnTo>
                      <a:pt x="12" y="22"/>
                    </a:lnTo>
                    <a:lnTo>
                      <a:pt x="16" y="20"/>
                    </a:lnTo>
                    <a:lnTo>
                      <a:pt x="14" y="16"/>
                    </a:lnTo>
                    <a:lnTo>
                      <a:pt x="14"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299" name="Freeform 713"/>
              <p:cNvSpPr>
                <a:spLocks/>
              </p:cNvSpPr>
              <p:nvPr/>
            </p:nvSpPr>
            <p:spPr bwMode="auto">
              <a:xfrm>
                <a:off x="2382"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2" y="22"/>
                    </a:lnTo>
                    <a:lnTo>
                      <a:pt x="12"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0" name="Freeform 714"/>
              <p:cNvSpPr>
                <a:spLocks/>
              </p:cNvSpPr>
              <p:nvPr/>
            </p:nvSpPr>
            <p:spPr bwMode="auto">
              <a:xfrm>
                <a:off x="2478" y="882"/>
                <a:ext cx="16" cy="26"/>
              </a:xfrm>
              <a:custGeom>
                <a:avLst/>
                <a:gdLst>
                  <a:gd name="T0" fmla="*/ 12 w 16"/>
                  <a:gd name="T1" fmla="*/ 0 h 26"/>
                  <a:gd name="T2" fmla="*/ 12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4"/>
                    </a:lnTo>
                    <a:lnTo>
                      <a:pt x="10" y="4"/>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2"/>
                    </a:lnTo>
                    <a:lnTo>
                      <a:pt x="16" y="22"/>
                    </a:lnTo>
                    <a:lnTo>
                      <a:pt x="14" y="8"/>
                    </a:lnTo>
                    <a:lnTo>
                      <a:pt x="14" y="8"/>
                    </a:lnTo>
                    <a:lnTo>
                      <a:pt x="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1" name="Freeform 715"/>
              <p:cNvSpPr>
                <a:spLocks/>
              </p:cNvSpPr>
              <p:nvPr/>
            </p:nvSpPr>
            <p:spPr bwMode="auto">
              <a:xfrm>
                <a:off x="2478" y="882"/>
                <a:ext cx="16" cy="26"/>
              </a:xfrm>
              <a:custGeom>
                <a:avLst/>
                <a:gdLst>
                  <a:gd name="T0" fmla="*/ 12 w 16"/>
                  <a:gd name="T1" fmla="*/ 0 h 26"/>
                  <a:gd name="T2" fmla="*/ 12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4"/>
                    </a:lnTo>
                    <a:lnTo>
                      <a:pt x="10" y="4"/>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2" name="Freeform 716"/>
              <p:cNvSpPr>
                <a:spLocks noEditPoints="1"/>
              </p:cNvSpPr>
              <p:nvPr/>
            </p:nvSpPr>
            <p:spPr bwMode="auto">
              <a:xfrm>
                <a:off x="2478" y="882"/>
                <a:ext cx="12" cy="26"/>
              </a:xfrm>
              <a:custGeom>
                <a:avLst/>
                <a:gdLst>
                  <a:gd name="T0" fmla="*/ 6 w 12"/>
                  <a:gd name="T1" fmla="*/ 26 h 26"/>
                  <a:gd name="T2" fmla="*/ 6 w 12"/>
                  <a:gd name="T3" fmla="*/ 26 h 26"/>
                  <a:gd name="T4" fmla="*/ 10 w 12"/>
                  <a:gd name="T5" fmla="*/ 26 h 26"/>
                  <a:gd name="T6" fmla="*/ 10 w 12"/>
                  <a:gd name="T7" fmla="*/ 26 h 26"/>
                  <a:gd name="T8" fmla="*/ 10 w 12"/>
                  <a:gd name="T9" fmla="*/ 26 h 26"/>
                  <a:gd name="T10" fmla="*/ 10 w 12"/>
                  <a:gd name="T11" fmla="*/ 26 h 26"/>
                  <a:gd name="T12" fmla="*/ 10 w 12"/>
                  <a:gd name="T13" fmla="*/ 26 h 26"/>
                  <a:gd name="T14" fmla="*/ 10 w 12"/>
                  <a:gd name="T15" fmla="*/ 26 h 26"/>
                  <a:gd name="T16" fmla="*/ 6 w 12"/>
                  <a:gd name="T17" fmla="*/ 26 h 26"/>
                  <a:gd name="T18" fmla="*/ 0 w 12"/>
                  <a:gd name="T19" fmla="*/ 26 h 26"/>
                  <a:gd name="T20" fmla="*/ 0 w 12"/>
                  <a:gd name="T21" fmla="*/ 26 h 26"/>
                  <a:gd name="T22" fmla="*/ 0 w 12"/>
                  <a:gd name="T23" fmla="*/ 26 h 26"/>
                  <a:gd name="T24" fmla="*/ 0 w 12"/>
                  <a:gd name="T25" fmla="*/ 26 h 26"/>
                  <a:gd name="T26" fmla="*/ 0 w 12"/>
                  <a:gd name="T27" fmla="*/ 26 h 26"/>
                  <a:gd name="T28" fmla="*/ 0 w 12"/>
                  <a:gd name="T29" fmla="*/ 26 h 26"/>
                  <a:gd name="T30" fmla="*/ 12 w 12"/>
                  <a:gd name="T31" fmla="*/ 0 h 26"/>
                  <a:gd name="T32" fmla="*/ 12 w 12"/>
                  <a:gd name="T33" fmla="*/ 0 h 26"/>
                  <a:gd name="T34" fmla="*/ 10 w 12"/>
                  <a:gd name="T35" fmla="*/ 4 h 26"/>
                  <a:gd name="T36" fmla="*/ 10 w 12"/>
                  <a:gd name="T37" fmla="*/ 4 h 26"/>
                  <a:gd name="T38" fmla="*/ 12 w 12"/>
                  <a:gd name="T39" fmla="*/ 0 h 26"/>
                  <a:gd name="T40" fmla="*/ 12 w 12"/>
                  <a:gd name="T41" fmla="*/ 0 h 26"/>
                  <a:gd name="T42" fmla="*/ 12 w 12"/>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6">
                    <a:moveTo>
                      <a:pt x="6" y="26"/>
                    </a:moveTo>
                    <a:lnTo>
                      <a:pt x="6" y="26"/>
                    </a:lnTo>
                    <a:lnTo>
                      <a:pt x="10" y="26"/>
                    </a:lnTo>
                    <a:lnTo>
                      <a:pt x="10" y="26"/>
                    </a:lnTo>
                    <a:lnTo>
                      <a:pt x="10" y="26"/>
                    </a:lnTo>
                    <a:lnTo>
                      <a:pt x="10" y="26"/>
                    </a:lnTo>
                    <a:lnTo>
                      <a:pt x="10" y="26"/>
                    </a:lnTo>
                    <a:lnTo>
                      <a:pt x="10" y="26"/>
                    </a:lnTo>
                    <a:lnTo>
                      <a:pt x="6" y="26"/>
                    </a:lnTo>
                    <a:close/>
                    <a:moveTo>
                      <a:pt x="0" y="26"/>
                    </a:moveTo>
                    <a:lnTo>
                      <a:pt x="0" y="26"/>
                    </a:lnTo>
                    <a:lnTo>
                      <a:pt x="0" y="26"/>
                    </a:lnTo>
                    <a:lnTo>
                      <a:pt x="0" y="26"/>
                    </a:lnTo>
                    <a:lnTo>
                      <a:pt x="0" y="26"/>
                    </a:lnTo>
                    <a:lnTo>
                      <a:pt x="0" y="26"/>
                    </a:lnTo>
                    <a:close/>
                    <a:moveTo>
                      <a:pt x="12" y="0"/>
                    </a:moveTo>
                    <a:lnTo>
                      <a:pt x="12" y="0"/>
                    </a:lnTo>
                    <a:lnTo>
                      <a:pt x="10" y="4"/>
                    </a:lnTo>
                    <a:lnTo>
                      <a:pt x="10" y="4"/>
                    </a:lnTo>
                    <a:lnTo>
                      <a:pt x="12" y="0"/>
                    </a:lnTo>
                    <a:lnTo>
                      <a:pt x="12" y="0"/>
                    </a:lnTo>
                    <a:lnTo>
                      <a:pt x="1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3" name="Freeform 717"/>
              <p:cNvSpPr>
                <a:spLocks/>
              </p:cNvSpPr>
              <p:nvPr/>
            </p:nvSpPr>
            <p:spPr bwMode="auto">
              <a:xfrm>
                <a:off x="2484" y="908"/>
                <a:ext cx="4" cy="0"/>
              </a:xfrm>
              <a:custGeom>
                <a:avLst/>
                <a:gdLst>
                  <a:gd name="T0" fmla="*/ 0 w 4"/>
                  <a:gd name="T1" fmla="*/ 0 w 4"/>
                  <a:gd name="T2" fmla="*/ 4 w 4"/>
                  <a:gd name="T3" fmla="*/ 4 w 4"/>
                  <a:gd name="T4" fmla="*/ 4 w 4"/>
                  <a:gd name="T5" fmla="*/ 4 w 4"/>
                  <a:gd name="T6" fmla="*/ 4 w 4"/>
                  <a:gd name="T7" fmla="*/ 4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4" name="Freeform 718"/>
              <p:cNvSpPr>
                <a:spLocks/>
              </p:cNvSpPr>
              <p:nvPr/>
            </p:nvSpPr>
            <p:spPr bwMode="auto">
              <a:xfrm>
                <a:off x="2478" y="90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5" name="Freeform 719"/>
              <p:cNvSpPr>
                <a:spLocks/>
              </p:cNvSpPr>
              <p:nvPr/>
            </p:nvSpPr>
            <p:spPr bwMode="auto">
              <a:xfrm>
                <a:off x="2488" y="882"/>
                <a:ext cx="2" cy="4"/>
              </a:xfrm>
              <a:custGeom>
                <a:avLst/>
                <a:gdLst>
                  <a:gd name="T0" fmla="*/ 2 w 2"/>
                  <a:gd name="T1" fmla="*/ 0 h 4"/>
                  <a:gd name="T2" fmla="*/ 2 w 2"/>
                  <a:gd name="T3" fmla="*/ 0 h 4"/>
                  <a:gd name="T4" fmla="*/ 0 w 2"/>
                  <a:gd name="T5" fmla="*/ 4 h 4"/>
                  <a:gd name="T6" fmla="*/ 0 w 2"/>
                  <a:gd name="T7" fmla="*/ 4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4"/>
                    </a:lnTo>
                    <a:lnTo>
                      <a:pt x="0" y="4"/>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6" name="Freeform 720"/>
              <p:cNvSpPr>
                <a:spLocks/>
              </p:cNvSpPr>
              <p:nvPr/>
            </p:nvSpPr>
            <p:spPr bwMode="auto">
              <a:xfrm>
                <a:off x="2376" y="828"/>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0 w 10"/>
                  <a:gd name="T13" fmla="*/ 4 h 20"/>
                  <a:gd name="T14" fmla="*/ 0 w 10"/>
                  <a:gd name="T15" fmla="*/ 4 h 20"/>
                  <a:gd name="T16" fmla="*/ 0 w 10"/>
                  <a:gd name="T17" fmla="*/ 12 h 20"/>
                  <a:gd name="T18" fmla="*/ 4 w 10"/>
                  <a:gd name="T19" fmla="*/ 18 h 20"/>
                  <a:gd name="T20" fmla="*/ 4 w 10"/>
                  <a:gd name="T21" fmla="*/ 18 h 20"/>
                  <a:gd name="T22" fmla="*/ 4 w 10"/>
                  <a:gd name="T23" fmla="*/ 18 h 20"/>
                  <a:gd name="T24" fmla="*/ 4 w 10"/>
                  <a:gd name="T25" fmla="*/ 18 h 20"/>
                  <a:gd name="T26" fmla="*/ 6 w 10"/>
                  <a:gd name="T27" fmla="*/ 20 h 20"/>
                  <a:gd name="T28" fmla="*/ 6 w 10"/>
                  <a:gd name="T29" fmla="*/ 20 h 20"/>
                  <a:gd name="T30" fmla="*/ 8 w 10"/>
                  <a:gd name="T31" fmla="*/ 18 h 20"/>
                  <a:gd name="T32" fmla="*/ 8 w 10"/>
                  <a:gd name="T33" fmla="*/ 18 h 20"/>
                  <a:gd name="T34" fmla="*/ 10 w 10"/>
                  <a:gd name="T35" fmla="*/ 16 h 20"/>
                  <a:gd name="T36" fmla="*/ 10 w 10"/>
                  <a:gd name="T37" fmla="*/ 14 h 20"/>
                  <a:gd name="T38" fmla="*/ 10 w 10"/>
                  <a:gd name="T39" fmla="*/ 14 h 20"/>
                  <a:gd name="T40" fmla="*/ 8 w 10"/>
                  <a:gd name="T41" fmla="*/ 16 h 20"/>
                  <a:gd name="T42" fmla="*/ 8 w 10"/>
                  <a:gd name="T43" fmla="*/ 16 h 20"/>
                  <a:gd name="T44" fmla="*/ 8 w 10"/>
                  <a:gd name="T45" fmla="*/ 16 h 20"/>
                  <a:gd name="T46" fmla="*/ 8 w 10"/>
                  <a:gd name="T47" fmla="*/ 16 h 20"/>
                  <a:gd name="T48" fmla="*/ 4 w 10"/>
                  <a:gd name="T49" fmla="*/ 16 h 20"/>
                  <a:gd name="T50" fmla="*/ 4 w 10"/>
                  <a:gd name="T51" fmla="*/ 16 h 20"/>
                  <a:gd name="T52" fmla="*/ 4 w 10"/>
                  <a:gd name="T53" fmla="*/ 14 h 20"/>
                  <a:gd name="T54" fmla="*/ 4 w 10"/>
                  <a:gd name="T55" fmla="*/ 14 h 20"/>
                  <a:gd name="T56" fmla="*/ 4 w 10"/>
                  <a:gd name="T57" fmla="*/ 14 h 20"/>
                  <a:gd name="T58" fmla="*/ 4 w 10"/>
                  <a:gd name="T59" fmla="*/ 14 h 20"/>
                  <a:gd name="T60" fmla="*/ 2 w 10"/>
                  <a:gd name="T61" fmla="*/ 10 h 20"/>
                  <a:gd name="T62" fmla="*/ 2 w 10"/>
                  <a:gd name="T63" fmla="*/ 10 h 20"/>
                  <a:gd name="T64" fmla="*/ 6 w 10"/>
                  <a:gd name="T65" fmla="*/ 2 h 20"/>
                  <a:gd name="T66" fmla="*/ 6 w 10"/>
                  <a:gd name="T67" fmla="*/ 2 h 20"/>
                  <a:gd name="T68" fmla="*/ 6 w 10"/>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4"/>
                    </a:lnTo>
                    <a:lnTo>
                      <a:pt x="4" y="14"/>
                    </a:lnTo>
                    <a:lnTo>
                      <a:pt x="4" y="14"/>
                    </a:lnTo>
                    <a:lnTo>
                      <a:pt x="4" y="14"/>
                    </a:lnTo>
                    <a:lnTo>
                      <a:pt x="2" y="10"/>
                    </a:lnTo>
                    <a:lnTo>
                      <a:pt x="2" y="10"/>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7" name="Freeform 721"/>
              <p:cNvSpPr>
                <a:spLocks/>
              </p:cNvSpPr>
              <p:nvPr/>
            </p:nvSpPr>
            <p:spPr bwMode="auto">
              <a:xfrm>
                <a:off x="2376" y="828"/>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0 w 10"/>
                  <a:gd name="T13" fmla="*/ 4 h 20"/>
                  <a:gd name="T14" fmla="*/ 0 w 10"/>
                  <a:gd name="T15" fmla="*/ 4 h 20"/>
                  <a:gd name="T16" fmla="*/ 0 w 10"/>
                  <a:gd name="T17" fmla="*/ 12 h 20"/>
                  <a:gd name="T18" fmla="*/ 4 w 10"/>
                  <a:gd name="T19" fmla="*/ 18 h 20"/>
                  <a:gd name="T20" fmla="*/ 4 w 10"/>
                  <a:gd name="T21" fmla="*/ 18 h 20"/>
                  <a:gd name="T22" fmla="*/ 4 w 10"/>
                  <a:gd name="T23" fmla="*/ 18 h 20"/>
                  <a:gd name="T24" fmla="*/ 4 w 10"/>
                  <a:gd name="T25" fmla="*/ 18 h 20"/>
                  <a:gd name="T26" fmla="*/ 6 w 10"/>
                  <a:gd name="T27" fmla="*/ 20 h 20"/>
                  <a:gd name="T28" fmla="*/ 6 w 10"/>
                  <a:gd name="T29" fmla="*/ 20 h 20"/>
                  <a:gd name="T30" fmla="*/ 8 w 10"/>
                  <a:gd name="T31" fmla="*/ 18 h 20"/>
                  <a:gd name="T32" fmla="*/ 8 w 10"/>
                  <a:gd name="T33" fmla="*/ 18 h 20"/>
                  <a:gd name="T34" fmla="*/ 10 w 10"/>
                  <a:gd name="T35" fmla="*/ 16 h 20"/>
                  <a:gd name="T36" fmla="*/ 10 w 10"/>
                  <a:gd name="T37" fmla="*/ 14 h 20"/>
                  <a:gd name="T38" fmla="*/ 10 w 10"/>
                  <a:gd name="T39" fmla="*/ 14 h 20"/>
                  <a:gd name="T40" fmla="*/ 8 w 10"/>
                  <a:gd name="T41" fmla="*/ 16 h 20"/>
                  <a:gd name="T42" fmla="*/ 8 w 10"/>
                  <a:gd name="T43" fmla="*/ 16 h 20"/>
                  <a:gd name="T44" fmla="*/ 8 w 10"/>
                  <a:gd name="T45" fmla="*/ 16 h 20"/>
                  <a:gd name="T46" fmla="*/ 8 w 10"/>
                  <a:gd name="T47" fmla="*/ 16 h 20"/>
                  <a:gd name="T48" fmla="*/ 4 w 10"/>
                  <a:gd name="T49" fmla="*/ 16 h 20"/>
                  <a:gd name="T50" fmla="*/ 4 w 10"/>
                  <a:gd name="T51" fmla="*/ 16 h 20"/>
                  <a:gd name="T52" fmla="*/ 4 w 10"/>
                  <a:gd name="T53" fmla="*/ 14 h 20"/>
                  <a:gd name="T54" fmla="*/ 4 w 10"/>
                  <a:gd name="T55" fmla="*/ 14 h 20"/>
                  <a:gd name="T56" fmla="*/ 4 w 10"/>
                  <a:gd name="T57" fmla="*/ 14 h 20"/>
                  <a:gd name="T58" fmla="*/ 4 w 10"/>
                  <a:gd name="T59" fmla="*/ 14 h 20"/>
                  <a:gd name="T60" fmla="*/ 2 w 10"/>
                  <a:gd name="T61" fmla="*/ 10 h 20"/>
                  <a:gd name="T62" fmla="*/ 2 w 10"/>
                  <a:gd name="T63" fmla="*/ 10 h 20"/>
                  <a:gd name="T64" fmla="*/ 6 w 10"/>
                  <a:gd name="T65" fmla="*/ 2 h 20"/>
                  <a:gd name="T66" fmla="*/ 6 w 10"/>
                  <a:gd name="T67" fmla="*/ 2 h 20"/>
                  <a:gd name="T68" fmla="*/ 6 w 10"/>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4"/>
                    </a:lnTo>
                    <a:lnTo>
                      <a:pt x="4" y="14"/>
                    </a:lnTo>
                    <a:lnTo>
                      <a:pt x="4" y="14"/>
                    </a:lnTo>
                    <a:lnTo>
                      <a:pt x="4" y="14"/>
                    </a:lnTo>
                    <a:lnTo>
                      <a:pt x="2" y="10"/>
                    </a:lnTo>
                    <a:lnTo>
                      <a:pt x="2" y="10"/>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8" name="Freeform 722"/>
              <p:cNvSpPr>
                <a:spLocks noEditPoints="1"/>
              </p:cNvSpPr>
              <p:nvPr/>
            </p:nvSpPr>
            <p:spPr bwMode="auto">
              <a:xfrm>
                <a:off x="2378" y="828"/>
                <a:ext cx="8" cy="20"/>
              </a:xfrm>
              <a:custGeom>
                <a:avLst/>
                <a:gdLst>
                  <a:gd name="T0" fmla="*/ 2 w 8"/>
                  <a:gd name="T1" fmla="*/ 18 h 20"/>
                  <a:gd name="T2" fmla="*/ 2 w 8"/>
                  <a:gd name="T3" fmla="*/ 18 h 20"/>
                  <a:gd name="T4" fmla="*/ 2 w 8"/>
                  <a:gd name="T5" fmla="*/ 18 h 20"/>
                  <a:gd name="T6" fmla="*/ 2 w 8"/>
                  <a:gd name="T7" fmla="*/ 18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4 h 20"/>
                  <a:gd name="T28" fmla="*/ 2 w 8"/>
                  <a:gd name="T29" fmla="*/ 14 h 20"/>
                  <a:gd name="T30" fmla="*/ 2 w 8"/>
                  <a:gd name="T31" fmla="*/ 16 h 20"/>
                  <a:gd name="T32" fmla="*/ 2 w 8"/>
                  <a:gd name="T33" fmla="*/ 16 h 20"/>
                  <a:gd name="T34" fmla="*/ 2 w 8"/>
                  <a:gd name="T35" fmla="*/ 14 h 20"/>
                  <a:gd name="T36" fmla="*/ 2 w 8"/>
                  <a:gd name="T37" fmla="*/ 14 h 20"/>
                  <a:gd name="T38" fmla="*/ 2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0 h 20"/>
                  <a:gd name="T60" fmla="*/ 0 w 8"/>
                  <a:gd name="T61" fmla="*/ 10 h 20"/>
                  <a:gd name="T62" fmla="*/ 2 w 8"/>
                  <a:gd name="T63" fmla="*/ 14 h 20"/>
                  <a:gd name="T64" fmla="*/ 2 w 8"/>
                  <a:gd name="T65" fmla="*/ 14 h 20"/>
                  <a:gd name="T66" fmla="*/ 0 w 8"/>
                  <a:gd name="T67" fmla="*/ 10 h 20"/>
                  <a:gd name="T68" fmla="*/ 0 w 8"/>
                  <a:gd name="T69" fmla="*/ 10 h 20"/>
                  <a:gd name="T70" fmla="*/ 4 w 8"/>
                  <a:gd name="T71" fmla="*/ 2 h 20"/>
                  <a:gd name="T72" fmla="*/ 4 w 8"/>
                  <a:gd name="T73" fmla="*/ 0 h 20"/>
                  <a:gd name="T74" fmla="*/ 4 w 8"/>
                  <a:gd name="T75" fmla="*/ 0 h 20"/>
                  <a:gd name="T76" fmla="*/ 4 w 8"/>
                  <a:gd name="T77" fmla="*/ 0 h 20"/>
                  <a:gd name="T78" fmla="*/ 4 w 8"/>
                  <a:gd name="T79" fmla="*/ 0 h 20"/>
                  <a:gd name="T80" fmla="*/ 4 w 8"/>
                  <a:gd name="T81" fmla="*/ 0 h 20"/>
                  <a:gd name="T82" fmla="*/ 4 w 8"/>
                  <a:gd name="T83" fmla="*/ 0 h 20"/>
                  <a:gd name="T84" fmla="*/ 4 w 8"/>
                  <a:gd name="T85" fmla="*/ 0 h 20"/>
                  <a:gd name="T86" fmla="*/ 4 w 8"/>
                  <a:gd name="T87" fmla="*/ 0 h 20"/>
                  <a:gd name="T88" fmla="*/ 4 w 8"/>
                  <a:gd name="T89" fmla="*/ 0 h 20"/>
                  <a:gd name="T90" fmla="*/ 4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2" y="18"/>
                    </a:moveTo>
                    <a:lnTo>
                      <a:pt x="2" y="18"/>
                    </a:lnTo>
                    <a:lnTo>
                      <a:pt x="2" y="18"/>
                    </a:lnTo>
                    <a:lnTo>
                      <a:pt x="2" y="18"/>
                    </a:lnTo>
                    <a:lnTo>
                      <a:pt x="4" y="20"/>
                    </a:lnTo>
                    <a:lnTo>
                      <a:pt x="4" y="20"/>
                    </a:lnTo>
                    <a:lnTo>
                      <a:pt x="6" y="18"/>
                    </a:lnTo>
                    <a:lnTo>
                      <a:pt x="6" y="18"/>
                    </a:lnTo>
                    <a:lnTo>
                      <a:pt x="4" y="20"/>
                    </a:lnTo>
                    <a:lnTo>
                      <a:pt x="4" y="20"/>
                    </a:lnTo>
                    <a:lnTo>
                      <a:pt x="2" y="18"/>
                    </a:lnTo>
                    <a:lnTo>
                      <a:pt x="2" y="18"/>
                    </a:lnTo>
                    <a:lnTo>
                      <a:pt x="2" y="18"/>
                    </a:lnTo>
                    <a:close/>
                    <a:moveTo>
                      <a:pt x="2" y="14"/>
                    </a:moveTo>
                    <a:lnTo>
                      <a:pt x="2" y="14"/>
                    </a:lnTo>
                    <a:lnTo>
                      <a:pt x="2" y="16"/>
                    </a:lnTo>
                    <a:lnTo>
                      <a:pt x="2" y="16"/>
                    </a:lnTo>
                    <a:lnTo>
                      <a:pt x="2" y="14"/>
                    </a:lnTo>
                    <a:lnTo>
                      <a:pt x="2" y="14"/>
                    </a:lnTo>
                    <a:lnTo>
                      <a:pt x="2" y="14"/>
                    </a:lnTo>
                    <a:close/>
                    <a:moveTo>
                      <a:pt x="8" y="14"/>
                    </a:moveTo>
                    <a:lnTo>
                      <a:pt x="8" y="14"/>
                    </a:lnTo>
                    <a:lnTo>
                      <a:pt x="6" y="16"/>
                    </a:lnTo>
                    <a:lnTo>
                      <a:pt x="6" y="16"/>
                    </a:lnTo>
                    <a:lnTo>
                      <a:pt x="8" y="14"/>
                    </a:lnTo>
                    <a:lnTo>
                      <a:pt x="8" y="14"/>
                    </a:lnTo>
                    <a:lnTo>
                      <a:pt x="8" y="14"/>
                    </a:lnTo>
                    <a:close/>
                    <a:moveTo>
                      <a:pt x="4" y="2"/>
                    </a:moveTo>
                    <a:lnTo>
                      <a:pt x="4" y="2"/>
                    </a:lnTo>
                    <a:lnTo>
                      <a:pt x="0" y="10"/>
                    </a:lnTo>
                    <a:lnTo>
                      <a:pt x="0" y="10"/>
                    </a:lnTo>
                    <a:lnTo>
                      <a:pt x="2" y="14"/>
                    </a:lnTo>
                    <a:lnTo>
                      <a:pt x="2" y="14"/>
                    </a:lnTo>
                    <a:lnTo>
                      <a:pt x="0" y="10"/>
                    </a:lnTo>
                    <a:lnTo>
                      <a:pt x="0" y="10"/>
                    </a:lnTo>
                    <a:lnTo>
                      <a:pt x="4" y="2"/>
                    </a:lnTo>
                    <a:close/>
                    <a:moveTo>
                      <a:pt x="4" y="0"/>
                    </a:moveTo>
                    <a:lnTo>
                      <a:pt x="4" y="0"/>
                    </a:lnTo>
                    <a:lnTo>
                      <a:pt x="4" y="0"/>
                    </a:lnTo>
                    <a:lnTo>
                      <a:pt x="4" y="0"/>
                    </a:lnTo>
                    <a:lnTo>
                      <a:pt x="4" y="0"/>
                    </a:lnTo>
                    <a:lnTo>
                      <a:pt x="4" y="0"/>
                    </a:lnTo>
                    <a:lnTo>
                      <a:pt x="4" y="0"/>
                    </a:lnTo>
                    <a:lnTo>
                      <a:pt x="4"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09" name="Freeform 723"/>
              <p:cNvSpPr>
                <a:spLocks/>
              </p:cNvSpPr>
              <p:nvPr/>
            </p:nvSpPr>
            <p:spPr bwMode="auto">
              <a:xfrm>
                <a:off x="2380" y="846"/>
                <a:ext cx="4" cy="2"/>
              </a:xfrm>
              <a:custGeom>
                <a:avLst/>
                <a:gdLst>
                  <a:gd name="T0" fmla="*/ 0 w 4"/>
                  <a:gd name="T1" fmla="*/ 0 h 2"/>
                  <a:gd name="T2" fmla="*/ 0 w 4"/>
                  <a:gd name="T3" fmla="*/ 0 h 2"/>
                  <a:gd name="T4" fmla="*/ 0 w 4"/>
                  <a:gd name="T5" fmla="*/ 0 h 2"/>
                  <a:gd name="T6" fmla="*/ 0 w 4"/>
                  <a:gd name="T7" fmla="*/ 0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0"/>
                    </a:lnTo>
                    <a:lnTo>
                      <a:pt x="0" y="0"/>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0" name="Freeform 724"/>
              <p:cNvSpPr>
                <a:spLocks/>
              </p:cNvSpPr>
              <p:nvPr/>
            </p:nvSpPr>
            <p:spPr bwMode="auto">
              <a:xfrm>
                <a:off x="2380" y="842"/>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1" name="Freeform 725"/>
              <p:cNvSpPr>
                <a:spLocks/>
              </p:cNvSpPr>
              <p:nvPr/>
            </p:nvSpPr>
            <p:spPr bwMode="auto">
              <a:xfrm>
                <a:off x="2384" y="8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2" name="Freeform 726"/>
              <p:cNvSpPr>
                <a:spLocks/>
              </p:cNvSpPr>
              <p:nvPr/>
            </p:nvSpPr>
            <p:spPr bwMode="auto">
              <a:xfrm>
                <a:off x="2378" y="830"/>
                <a:ext cx="4" cy="12"/>
              </a:xfrm>
              <a:custGeom>
                <a:avLst/>
                <a:gdLst>
                  <a:gd name="T0" fmla="*/ 4 w 4"/>
                  <a:gd name="T1" fmla="*/ 0 h 12"/>
                  <a:gd name="T2" fmla="*/ 4 w 4"/>
                  <a:gd name="T3" fmla="*/ 0 h 12"/>
                  <a:gd name="T4" fmla="*/ 0 w 4"/>
                  <a:gd name="T5" fmla="*/ 8 h 12"/>
                  <a:gd name="T6" fmla="*/ 0 w 4"/>
                  <a:gd name="T7" fmla="*/ 8 h 12"/>
                  <a:gd name="T8" fmla="*/ 2 w 4"/>
                  <a:gd name="T9" fmla="*/ 12 h 12"/>
                  <a:gd name="T10" fmla="*/ 2 w 4"/>
                  <a:gd name="T11" fmla="*/ 12 h 12"/>
                  <a:gd name="T12" fmla="*/ 0 w 4"/>
                  <a:gd name="T13" fmla="*/ 8 h 12"/>
                  <a:gd name="T14" fmla="*/ 0 w 4"/>
                  <a:gd name="T15" fmla="*/ 8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8"/>
                    </a:lnTo>
                    <a:lnTo>
                      <a:pt x="0" y="8"/>
                    </a:lnTo>
                    <a:lnTo>
                      <a:pt x="2" y="12"/>
                    </a:lnTo>
                    <a:lnTo>
                      <a:pt x="2" y="12"/>
                    </a:lnTo>
                    <a:lnTo>
                      <a:pt x="0" y="8"/>
                    </a:lnTo>
                    <a:lnTo>
                      <a:pt x="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3" name="Freeform 727"/>
              <p:cNvSpPr>
                <a:spLocks/>
              </p:cNvSpPr>
              <p:nvPr/>
            </p:nvSpPr>
            <p:spPr bwMode="auto">
              <a:xfrm>
                <a:off x="2382" y="82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4" name="Freeform 728"/>
              <p:cNvSpPr>
                <a:spLocks noEditPoints="1"/>
              </p:cNvSpPr>
              <p:nvPr/>
            </p:nvSpPr>
            <p:spPr bwMode="auto">
              <a:xfrm>
                <a:off x="2490" y="816"/>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0 h 14"/>
                  <a:gd name="T34" fmla="*/ 6 w 18"/>
                  <a:gd name="T35" fmla="*/ 10 h 14"/>
                  <a:gd name="T36" fmla="*/ 8 w 18"/>
                  <a:gd name="T37" fmla="*/ 8 h 14"/>
                  <a:gd name="T38" fmla="*/ 8 w 18"/>
                  <a:gd name="T39" fmla="*/ 8 h 14"/>
                  <a:gd name="T40" fmla="*/ 8 w 18"/>
                  <a:gd name="T41" fmla="*/ 8 h 14"/>
                  <a:gd name="T42" fmla="*/ 14 w 18"/>
                  <a:gd name="T43" fmla="*/ 0 h 14"/>
                  <a:gd name="T44" fmla="*/ 14 w 18"/>
                  <a:gd name="T45" fmla="*/ 0 h 14"/>
                  <a:gd name="T46" fmla="*/ 6 w 18"/>
                  <a:gd name="T47" fmla="*/ 4 h 14"/>
                  <a:gd name="T48" fmla="*/ 0 w 18"/>
                  <a:gd name="T49" fmla="*/ 10 h 14"/>
                  <a:gd name="T50" fmla="*/ 0 w 18"/>
                  <a:gd name="T51" fmla="*/ 10 h 14"/>
                  <a:gd name="T52" fmla="*/ 2 w 18"/>
                  <a:gd name="T53" fmla="*/ 8 h 14"/>
                  <a:gd name="T54" fmla="*/ 2 w 18"/>
                  <a:gd name="T55" fmla="*/ 8 h 14"/>
                  <a:gd name="T56" fmla="*/ 6 w 18"/>
                  <a:gd name="T57" fmla="*/ 14 h 14"/>
                  <a:gd name="T58" fmla="*/ 6 w 18"/>
                  <a:gd name="T59" fmla="*/ 14 h 14"/>
                  <a:gd name="T60" fmla="*/ 18 w 18"/>
                  <a:gd name="T61" fmla="*/ 6 h 14"/>
                  <a:gd name="T62" fmla="*/ 18 w 18"/>
                  <a:gd name="T63" fmla="*/ 6 h 14"/>
                  <a:gd name="T64" fmla="*/ 16 w 18"/>
                  <a:gd name="T65" fmla="*/ 6 h 14"/>
                  <a:gd name="T66" fmla="*/ 14 w 18"/>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0"/>
                    </a:lnTo>
                    <a:lnTo>
                      <a:pt x="6"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5" name="Freeform 729"/>
              <p:cNvSpPr>
                <a:spLocks/>
              </p:cNvSpPr>
              <p:nvPr/>
            </p:nvSpPr>
            <p:spPr bwMode="auto">
              <a:xfrm>
                <a:off x="2496" y="824"/>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0 h 4"/>
                  <a:gd name="T14" fmla="*/ 6 w 6"/>
                  <a:gd name="T15" fmla="*/ 0 h 4"/>
                  <a:gd name="T16" fmla="*/ 6 w 6"/>
                  <a:gd name="T17" fmla="*/ 0 h 4"/>
                  <a:gd name="T18" fmla="*/ 6 w 6"/>
                  <a:gd name="T19" fmla="*/ 0 h 4"/>
                  <a:gd name="T20" fmla="*/ 6 w 6"/>
                  <a:gd name="T21" fmla="*/ 0 h 4"/>
                  <a:gd name="T22" fmla="*/ 6 w 6"/>
                  <a:gd name="T23" fmla="*/ 0 h 4"/>
                  <a:gd name="T24" fmla="*/ 0 w 6"/>
                  <a:gd name="T25" fmla="*/ 4 h 4"/>
                  <a:gd name="T26" fmla="*/ 0 w 6"/>
                  <a:gd name="T27" fmla="*/ 4 h 4"/>
                  <a:gd name="T28" fmla="*/ 0 w 6"/>
                  <a:gd name="T29" fmla="*/ 4 h 4"/>
                  <a:gd name="T30" fmla="*/ 0 w 6"/>
                  <a:gd name="T31" fmla="*/ 4 h 4"/>
                  <a:gd name="T32" fmla="*/ 0 w 6"/>
                  <a:gd name="T33" fmla="*/ 2 h 4"/>
                  <a:gd name="T34" fmla="*/ 0 w 6"/>
                  <a:gd name="T35" fmla="*/ 2 h 4"/>
                  <a:gd name="T36" fmla="*/ 2 w 6"/>
                  <a:gd name="T37" fmla="*/ 0 h 4"/>
                  <a:gd name="T38" fmla="*/ 2 w 6"/>
                  <a:gd name="T39" fmla="*/ 0 h 4"/>
                  <a:gd name="T40" fmla="*/ 2 w 6"/>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0"/>
                    </a:moveTo>
                    <a:lnTo>
                      <a:pt x="2" y="0"/>
                    </a:lnTo>
                    <a:lnTo>
                      <a:pt x="2" y="0"/>
                    </a:lnTo>
                    <a:lnTo>
                      <a:pt x="2" y="0"/>
                    </a:lnTo>
                    <a:lnTo>
                      <a:pt x="4" y="0"/>
                    </a:lnTo>
                    <a:lnTo>
                      <a:pt x="4" y="0"/>
                    </a:lnTo>
                    <a:lnTo>
                      <a:pt x="6" y="0"/>
                    </a:lnTo>
                    <a:lnTo>
                      <a:pt x="6" y="0"/>
                    </a:lnTo>
                    <a:lnTo>
                      <a:pt x="6" y="0"/>
                    </a:lnTo>
                    <a:lnTo>
                      <a:pt x="6" y="0"/>
                    </a:lnTo>
                    <a:lnTo>
                      <a:pt x="6" y="0"/>
                    </a:lnTo>
                    <a:lnTo>
                      <a:pt x="6" y="0"/>
                    </a:lnTo>
                    <a:lnTo>
                      <a:pt x="0" y="4"/>
                    </a:lnTo>
                    <a:lnTo>
                      <a:pt x="0" y="4"/>
                    </a:lnTo>
                    <a:lnTo>
                      <a:pt x="0" y="4"/>
                    </a:lnTo>
                    <a:lnTo>
                      <a:pt x="0"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6" name="Freeform 730"/>
              <p:cNvSpPr>
                <a:spLocks/>
              </p:cNvSpPr>
              <p:nvPr/>
            </p:nvSpPr>
            <p:spPr bwMode="auto">
              <a:xfrm>
                <a:off x="2490" y="816"/>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6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7" name="Freeform 731"/>
              <p:cNvSpPr>
                <a:spLocks/>
              </p:cNvSpPr>
              <p:nvPr/>
            </p:nvSpPr>
            <p:spPr bwMode="auto">
              <a:xfrm>
                <a:off x="2444"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8" name="Freeform 732"/>
              <p:cNvSpPr>
                <a:spLocks/>
              </p:cNvSpPr>
              <p:nvPr/>
            </p:nvSpPr>
            <p:spPr bwMode="auto">
              <a:xfrm>
                <a:off x="2444" y="806"/>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19" name="Freeform 733"/>
              <p:cNvSpPr>
                <a:spLocks/>
              </p:cNvSpPr>
              <p:nvPr/>
            </p:nvSpPr>
            <p:spPr bwMode="auto">
              <a:xfrm>
                <a:off x="2540" y="808"/>
                <a:ext cx="10" cy="10"/>
              </a:xfrm>
              <a:custGeom>
                <a:avLst/>
                <a:gdLst>
                  <a:gd name="T0" fmla="*/ 10 w 10"/>
                  <a:gd name="T1" fmla="*/ 0 h 10"/>
                  <a:gd name="T2" fmla="*/ 10 w 10"/>
                  <a:gd name="T3" fmla="*/ 0 h 10"/>
                  <a:gd name="T4" fmla="*/ 0 w 10"/>
                  <a:gd name="T5" fmla="*/ 10 h 10"/>
                  <a:gd name="T6" fmla="*/ 0 w 10"/>
                  <a:gd name="T7" fmla="*/ 10 h 10"/>
                  <a:gd name="T8" fmla="*/ 0 w 10"/>
                  <a:gd name="T9" fmla="*/ 10 h 10"/>
                  <a:gd name="T10" fmla="*/ 0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0" y="10"/>
                    </a:lnTo>
                    <a:lnTo>
                      <a:pt x="0" y="10"/>
                    </a:lnTo>
                    <a:lnTo>
                      <a:pt x="6" y="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0" name="Freeform 734"/>
              <p:cNvSpPr>
                <a:spLocks/>
              </p:cNvSpPr>
              <p:nvPr/>
            </p:nvSpPr>
            <p:spPr bwMode="auto">
              <a:xfrm>
                <a:off x="2540" y="808"/>
                <a:ext cx="10" cy="10"/>
              </a:xfrm>
              <a:custGeom>
                <a:avLst/>
                <a:gdLst>
                  <a:gd name="T0" fmla="*/ 10 w 10"/>
                  <a:gd name="T1" fmla="*/ 0 h 10"/>
                  <a:gd name="T2" fmla="*/ 10 w 10"/>
                  <a:gd name="T3" fmla="*/ 0 h 10"/>
                  <a:gd name="T4" fmla="*/ 0 w 10"/>
                  <a:gd name="T5" fmla="*/ 10 h 10"/>
                  <a:gd name="T6" fmla="*/ 0 w 10"/>
                  <a:gd name="T7" fmla="*/ 10 h 10"/>
                  <a:gd name="T8" fmla="*/ 0 w 10"/>
                  <a:gd name="T9" fmla="*/ 10 h 10"/>
                  <a:gd name="T10" fmla="*/ 0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0" y="10"/>
                    </a:lnTo>
                    <a:lnTo>
                      <a:pt x="0"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1" name="Freeform 735"/>
              <p:cNvSpPr>
                <a:spLocks/>
              </p:cNvSpPr>
              <p:nvPr/>
            </p:nvSpPr>
            <p:spPr bwMode="auto">
              <a:xfrm>
                <a:off x="2484"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2" name="Freeform 736"/>
              <p:cNvSpPr>
                <a:spLocks/>
              </p:cNvSpPr>
              <p:nvPr/>
            </p:nvSpPr>
            <p:spPr bwMode="auto">
              <a:xfrm>
                <a:off x="2484" y="8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3" name="Freeform 737"/>
              <p:cNvSpPr>
                <a:spLocks/>
              </p:cNvSpPr>
              <p:nvPr/>
            </p:nvSpPr>
            <p:spPr bwMode="auto">
              <a:xfrm>
                <a:off x="2500" y="8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4" name="Freeform 738"/>
              <p:cNvSpPr>
                <a:spLocks/>
              </p:cNvSpPr>
              <p:nvPr/>
            </p:nvSpPr>
            <p:spPr bwMode="auto">
              <a:xfrm>
                <a:off x="2500" y="8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5" name="Freeform 739"/>
              <p:cNvSpPr>
                <a:spLocks/>
              </p:cNvSpPr>
              <p:nvPr/>
            </p:nvSpPr>
            <p:spPr bwMode="auto">
              <a:xfrm>
                <a:off x="2496"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0" y="4"/>
                    </a:lnTo>
                    <a:lnTo>
                      <a:pt x="0" y="4"/>
                    </a:lnTo>
                    <a:lnTo>
                      <a:pt x="0" y="4"/>
                    </a:lnTo>
                    <a:lnTo>
                      <a:pt x="0" y="4"/>
                    </a:lnTo>
                    <a:lnTo>
                      <a:pt x="6" y="0"/>
                    </a:lnTo>
                    <a:lnTo>
                      <a:pt x="6" y="0"/>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6" name="Freeform 740"/>
              <p:cNvSpPr>
                <a:spLocks/>
              </p:cNvSpPr>
              <p:nvPr/>
            </p:nvSpPr>
            <p:spPr bwMode="auto">
              <a:xfrm>
                <a:off x="2496" y="824"/>
                <a:ext cx="6" cy="4"/>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0" y="4"/>
                    </a:lnTo>
                    <a:lnTo>
                      <a:pt x="0" y="4"/>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7" name="Freeform 741"/>
              <p:cNvSpPr>
                <a:spLocks noEditPoints="1"/>
              </p:cNvSpPr>
              <p:nvPr/>
            </p:nvSpPr>
            <p:spPr bwMode="auto">
              <a:xfrm>
                <a:off x="2496"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6 w 6"/>
                  <a:gd name="T21" fmla="*/ 0 h 4"/>
                  <a:gd name="T22" fmla="*/ 2 w 6"/>
                  <a:gd name="T23" fmla="*/ 0 h 4"/>
                  <a:gd name="T24" fmla="*/ 2 w 6"/>
                  <a:gd name="T25" fmla="*/ 0 h 4"/>
                  <a:gd name="T26" fmla="*/ 2 w 6"/>
                  <a:gd name="T27" fmla="*/ 0 h 4"/>
                  <a:gd name="T28" fmla="*/ 2 w 6"/>
                  <a:gd name="T29" fmla="*/ 0 h 4"/>
                  <a:gd name="T30" fmla="*/ 4 w 6"/>
                  <a:gd name="T31" fmla="*/ 0 h 4"/>
                  <a:gd name="T32" fmla="*/ 4 w 6"/>
                  <a:gd name="T33" fmla="*/ 0 h 4"/>
                  <a:gd name="T34" fmla="*/ 2 w 6"/>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4">
                    <a:moveTo>
                      <a:pt x="6" y="0"/>
                    </a:moveTo>
                    <a:lnTo>
                      <a:pt x="6" y="0"/>
                    </a:lnTo>
                    <a:lnTo>
                      <a:pt x="0" y="4"/>
                    </a:lnTo>
                    <a:lnTo>
                      <a:pt x="0" y="4"/>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8" name="Freeform 742"/>
              <p:cNvSpPr>
                <a:spLocks/>
              </p:cNvSpPr>
              <p:nvPr/>
            </p:nvSpPr>
            <p:spPr bwMode="auto">
              <a:xfrm>
                <a:off x="2496" y="824"/>
                <a:ext cx="6" cy="4"/>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0 w 6"/>
                  <a:gd name="T13" fmla="*/ 4 h 4"/>
                  <a:gd name="T14" fmla="*/ 0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0" y="4"/>
                    </a:lnTo>
                    <a:lnTo>
                      <a:pt x="0" y="4"/>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29" name="Freeform 743"/>
              <p:cNvSpPr>
                <a:spLocks/>
              </p:cNvSpPr>
              <p:nvPr/>
            </p:nvSpPr>
            <p:spPr bwMode="auto">
              <a:xfrm>
                <a:off x="2498" y="82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0" name="Freeform 744"/>
              <p:cNvSpPr>
                <a:spLocks/>
              </p:cNvSpPr>
              <p:nvPr/>
            </p:nvSpPr>
            <p:spPr bwMode="auto">
              <a:xfrm>
                <a:off x="3020"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1" name="Freeform 745"/>
              <p:cNvSpPr>
                <a:spLocks/>
              </p:cNvSpPr>
              <p:nvPr/>
            </p:nvSpPr>
            <p:spPr bwMode="auto">
              <a:xfrm>
                <a:off x="325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2" name="Freeform 746"/>
              <p:cNvSpPr>
                <a:spLocks/>
              </p:cNvSpPr>
              <p:nvPr/>
            </p:nvSpPr>
            <p:spPr bwMode="auto">
              <a:xfrm>
                <a:off x="335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3" name="Freeform 747"/>
              <p:cNvSpPr>
                <a:spLocks/>
              </p:cNvSpPr>
              <p:nvPr/>
            </p:nvSpPr>
            <p:spPr bwMode="auto">
              <a:xfrm>
                <a:off x="344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4" name="Freeform 748"/>
              <p:cNvSpPr>
                <a:spLocks/>
              </p:cNvSpPr>
              <p:nvPr/>
            </p:nvSpPr>
            <p:spPr bwMode="auto">
              <a:xfrm>
                <a:off x="3110" y="780"/>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5" name="Freeform 749"/>
              <p:cNvSpPr>
                <a:spLocks/>
              </p:cNvSpPr>
              <p:nvPr/>
            </p:nvSpPr>
            <p:spPr bwMode="auto">
              <a:xfrm>
                <a:off x="3110" y="780"/>
                <a:ext cx="48" cy="146"/>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6" name="Freeform 750"/>
              <p:cNvSpPr>
                <a:spLocks/>
              </p:cNvSpPr>
              <p:nvPr/>
            </p:nvSpPr>
            <p:spPr bwMode="auto">
              <a:xfrm>
                <a:off x="3172"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7" name="Freeform 751"/>
              <p:cNvSpPr>
                <a:spLocks/>
              </p:cNvSpPr>
              <p:nvPr/>
            </p:nvSpPr>
            <p:spPr bwMode="auto">
              <a:xfrm>
                <a:off x="3172"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8" name="Freeform 752"/>
              <p:cNvSpPr>
                <a:spLocks noEditPoints="1"/>
              </p:cNvSpPr>
              <p:nvPr/>
            </p:nvSpPr>
            <p:spPr bwMode="auto">
              <a:xfrm>
                <a:off x="3532" y="776"/>
                <a:ext cx="98" cy="150"/>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39" name="Freeform 753"/>
              <p:cNvSpPr>
                <a:spLocks noEditPoints="1"/>
              </p:cNvSpPr>
              <p:nvPr/>
            </p:nvSpPr>
            <p:spPr bwMode="auto">
              <a:xfrm>
                <a:off x="3670"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0" name="Freeform 754"/>
              <p:cNvSpPr>
                <a:spLocks/>
              </p:cNvSpPr>
              <p:nvPr/>
            </p:nvSpPr>
            <p:spPr bwMode="auto">
              <a:xfrm>
                <a:off x="2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1" name="Freeform 755"/>
              <p:cNvSpPr>
                <a:spLocks/>
              </p:cNvSpPr>
              <p:nvPr/>
            </p:nvSpPr>
            <p:spPr bwMode="auto">
              <a:xfrm>
                <a:off x="12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2" name="Freeform 756"/>
              <p:cNvSpPr>
                <a:spLocks/>
              </p:cNvSpPr>
              <p:nvPr/>
            </p:nvSpPr>
            <p:spPr bwMode="auto">
              <a:xfrm>
                <a:off x="214"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3" name="Freeform 757"/>
              <p:cNvSpPr>
                <a:spLocks noEditPoints="1"/>
              </p:cNvSpPr>
              <p:nvPr/>
            </p:nvSpPr>
            <p:spPr bwMode="auto">
              <a:xfrm>
                <a:off x="306"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4" name="Freeform 758"/>
              <p:cNvSpPr>
                <a:spLocks noEditPoints="1"/>
              </p:cNvSpPr>
              <p:nvPr/>
            </p:nvSpPr>
            <p:spPr bwMode="auto">
              <a:xfrm>
                <a:off x="444" y="96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5" name="Freeform 759"/>
              <p:cNvSpPr>
                <a:spLocks noEditPoints="1"/>
              </p:cNvSpPr>
              <p:nvPr/>
            </p:nvSpPr>
            <p:spPr bwMode="auto">
              <a:xfrm>
                <a:off x="862" y="964"/>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6" name="Freeform 760"/>
              <p:cNvSpPr>
                <a:spLocks noEditPoints="1"/>
              </p:cNvSpPr>
              <p:nvPr/>
            </p:nvSpPr>
            <p:spPr bwMode="auto">
              <a:xfrm>
                <a:off x="1094" y="964"/>
                <a:ext cx="98" cy="150"/>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7" name="Freeform 761"/>
              <p:cNvSpPr>
                <a:spLocks/>
              </p:cNvSpPr>
              <p:nvPr/>
            </p:nvSpPr>
            <p:spPr bwMode="auto">
              <a:xfrm>
                <a:off x="100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8" name="Freeform 762"/>
              <p:cNvSpPr>
                <a:spLocks noEditPoints="1"/>
              </p:cNvSpPr>
              <p:nvPr/>
            </p:nvSpPr>
            <p:spPr bwMode="auto">
              <a:xfrm>
                <a:off x="1234"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49" name="Freeform 763"/>
              <p:cNvSpPr>
                <a:spLocks/>
              </p:cNvSpPr>
              <p:nvPr/>
            </p:nvSpPr>
            <p:spPr bwMode="auto">
              <a:xfrm>
                <a:off x="1372"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0" name="Freeform 764"/>
              <p:cNvSpPr>
                <a:spLocks/>
              </p:cNvSpPr>
              <p:nvPr/>
            </p:nvSpPr>
            <p:spPr bwMode="auto">
              <a:xfrm>
                <a:off x="1372"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1" name="Freeform 765"/>
              <p:cNvSpPr>
                <a:spLocks/>
              </p:cNvSpPr>
              <p:nvPr/>
            </p:nvSpPr>
            <p:spPr bwMode="auto">
              <a:xfrm>
                <a:off x="1432"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2" name="Freeform 766"/>
              <p:cNvSpPr>
                <a:spLocks/>
              </p:cNvSpPr>
              <p:nvPr/>
            </p:nvSpPr>
            <p:spPr bwMode="auto">
              <a:xfrm>
                <a:off x="1432"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3" name="Freeform 767"/>
              <p:cNvSpPr>
                <a:spLocks noEditPoints="1"/>
              </p:cNvSpPr>
              <p:nvPr/>
            </p:nvSpPr>
            <p:spPr bwMode="auto">
              <a:xfrm>
                <a:off x="1668" y="964"/>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4" name="Freeform 768"/>
              <p:cNvSpPr>
                <a:spLocks/>
              </p:cNvSpPr>
              <p:nvPr/>
            </p:nvSpPr>
            <p:spPr bwMode="auto">
              <a:xfrm>
                <a:off x="180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5" name="Freeform 769"/>
              <p:cNvSpPr>
                <a:spLocks noEditPoints="1"/>
              </p:cNvSpPr>
              <p:nvPr/>
            </p:nvSpPr>
            <p:spPr bwMode="auto">
              <a:xfrm>
                <a:off x="1520" y="972"/>
                <a:ext cx="108" cy="142"/>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6" name="Freeform 770"/>
              <p:cNvSpPr>
                <a:spLocks/>
              </p:cNvSpPr>
              <p:nvPr/>
            </p:nvSpPr>
            <p:spPr bwMode="auto">
              <a:xfrm>
                <a:off x="1564" y="1030"/>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7" name="Freeform 771"/>
              <p:cNvSpPr>
                <a:spLocks/>
              </p:cNvSpPr>
              <p:nvPr/>
            </p:nvSpPr>
            <p:spPr bwMode="auto">
              <a:xfrm>
                <a:off x="1520" y="972"/>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8" name="Freeform 772"/>
              <p:cNvSpPr>
                <a:spLocks/>
              </p:cNvSpPr>
              <p:nvPr/>
            </p:nvSpPr>
            <p:spPr bwMode="auto">
              <a:xfrm>
                <a:off x="58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59" name="Freeform 773"/>
              <p:cNvSpPr>
                <a:spLocks/>
              </p:cNvSpPr>
              <p:nvPr/>
            </p:nvSpPr>
            <p:spPr bwMode="auto">
              <a:xfrm>
                <a:off x="67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0" name="Freeform 774"/>
              <p:cNvSpPr>
                <a:spLocks/>
              </p:cNvSpPr>
              <p:nvPr/>
            </p:nvSpPr>
            <p:spPr bwMode="auto">
              <a:xfrm>
                <a:off x="772"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1" name="Freeform 775"/>
              <p:cNvSpPr>
                <a:spLocks/>
              </p:cNvSpPr>
              <p:nvPr/>
            </p:nvSpPr>
            <p:spPr bwMode="auto">
              <a:xfrm>
                <a:off x="117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2" name="Freeform 776"/>
              <p:cNvSpPr>
                <a:spLocks/>
              </p:cNvSpPr>
              <p:nvPr/>
            </p:nvSpPr>
            <p:spPr bwMode="auto">
              <a:xfrm>
                <a:off x="126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3" name="Freeform 777"/>
              <p:cNvSpPr>
                <a:spLocks/>
              </p:cNvSpPr>
              <p:nvPr/>
            </p:nvSpPr>
            <p:spPr bwMode="auto">
              <a:xfrm>
                <a:off x="1358"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4" name="Freeform 778"/>
              <p:cNvSpPr>
                <a:spLocks/>
              </p:cNvSpPr>
              <p:nvPr/>
            </p:nvSpPr>
            <p:spPr bwMode="auto">
              <a:xfrm>
                <a:off x="144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5" name="Freeform 779"/>
              <p:cNvSpPr>
                <a:spLocks/>
              </p:cNvSpPr>
              <p:nvPr/>
            </p:nvSpPr>
            <p:spPr bwMode="auto">
              <a:xfrm>
                <a:off x="168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6" name="Freeform 780"/>
              <p:cNvSpPr>
                <a:spLocks/>
              </p:cNvSpPr>
              <p:nvPr/>
            </p:nvSpPr>
            <p:spPr bwMode="auto">
              <a:xfrm>
                <a:off x="1778"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7" name="Freeform 781"/>
              <p:cNvSpPr>
                <a:spLocks/>
              </p:cNvSpPr>
              <p:nvPr/>
            </p:nvSpPr>
            <p:spPr bwMode="auto">
              <a:xfrm>
                <a:off x="1540" y="7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8" name="Freeform 782"/>
              <p:cNvSpPr>
                <a:spLocks/>
              </p:cNvSpPr>
              <p:nvPr/>
            </p:nvSpPr>
            <p:spPr bwMode="auto">
              <a:xfrm>
                <a:off x="1540" y="7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69" name="Freeform 783"/>
              <p:cNvSpPr>
                <a:spLocks/>
              </p:cNvSpPr>
              <p:nvPr/>
            </p:nvSpPr>
            <p:spPr bwMode="auto">
              <a:xfrm>
                <a:off x="1600" y="7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0" name="Freeform 784"/>
              <p:cNvSpPr>
                <a:spLocks/>
              </p:cNvSpPr>
              <p:nvPr/>
            </p:nvSpPr>
            <p:spPr bwMode="auto">
              <a:xfrm>
                <a:off x="1600" y="7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1" name="Freeform 785"/>
              <p:cNvSpPr>
                <a:spLocks noEditPoints="1"/>
              </p:cNvSpPr>
              <p:nvPr/>
            </p:nvSpPr>
            <p:spPr bwMode="auto">
              <a:xfrm>
                <a:off x="396" y="776"/>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2" name="Freeform 786"/>
              <p:cNvSpPr>
                <a:spLocks noEditPoints="1"/>
              </p:cNvSpPr>
              <p:nvPr/>
            </p:nvSpPr>
            <p:spPr bwMode="auto">
              <a:xfrm>
                <a:off x="534" y="776"/>
                <a:ext cx="100" cy="150"/>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3" name="Freeform 787"/>
              <p:cNvSpPr>
                <a:spLocks noEditPoints="1"/>
              </p:cNvSpPr>
              <p:nvPr/>
            </p:nvSpPr>
            <p:spPr bwMode="auto">
              <a:xfrm>
                <a:off x="946" y="776"/>
                <a:ext cx="98" cy="150"/>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4" name="Freeform 788"/>
              <p:cNvSpPr>
                <a:spLocks/>
              </p:cNvSpPr>
              <p:nvPr/>
            </p:nvSpPr>
            <p:spPr bwMode="auto">
              <a:xfrm>
                <a:off x="108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5" name="Freeform 789"/>
              <p:cNvSpPr>
                <a:spLocks/>
              </p:cNvSpPr>
              <p:nvPr/>
            </p:nvSpPr>
            <p:spPr bwMode="auto">
              <a:xfrm>
                <a:off x="67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6" name="Freeform 790"/>
              <p:cNvSpPr>
                <a:spLocks/>
              </p:cNvSpPr>
              <p:nvPr/>
            </p:nvSpPr>
            <p:spPr bwMode="auto">
              <a:xfrm>
                <a:off x="76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7" name="Freeform 791"/>
              <p:cNvSpPr>
                <a:spLocks/>
              </p:cNvSpPr>
              <p:nvPr/>
            </p:nvSpPr>
            <p:spPr bwMode="auto">
              <a:xfrm>
                <a:off x="856"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8" name="Freeform 792"/>
              <p:cNvSpPr>
                <a:spLocks noEditPoints="1"/>
              </p:cNvSpPr>
              <p:nvPr/>
            </p:nvSpPr>
            <p:spPr bwMode="auto">
              <a:xfrm>
                <a:off x="10"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79" name="Freeform 793"/>
              <p:cNvSpPr>
                <a:spLocks/>
              </p:cNvSpPr>
              <p:nvPr/>
            </p:nvSpPr>
            <p:spPr bwMode="auto">
              <a:xfrm>
                <a:off x="12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0" name="Freeform 794"/>
              <p:cNvSpPr>
                <a:spLocks/>
              </p:cNvSpPr>
              <p:nvPr/>
            </p:nvSpPr>
            <p:spPr bwMode="auto">
              <a:xfrm>
                <a:off x="21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1" name="Freeform 795"/>
              <p:cNvSpPr>
                <a:spLocks/>
              </p:cNvSpPr>
              <p:nvPr/>
            </p:nvSpPr>
            <p:spPr bwMode="auto">
              <a:xfrm>
                <a:off x="306"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2" name="Freeform 796"/>
              <p:cNvSpPr>
                <a:spLocks/>
              </p:cNvSpPr>
              <p:nvPr/>
            </p:nvSpPr>
            <p:spPr bwMode="auto">
              <a:xfrm>
                <a:off x="28" y="136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3" name="Freeform 797"/>
              <p:cNvSpPr>
                <a:spLocks/>
              </p:cNvSpPr>
              <p:nvPr/>
            </p:nvSpPr>
            <p:spPr bwMode="auto">
              <a:xfrm>
                <a:off x="32"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4" name="Freeform 798"/>
              <p:cNvSpPr>
                <a:spLocks noEditPoints="1"/>
              </p:cNvSpPr>
              <p:nvPr/>
            </p:nvSpPr>
            <p:spPr bwMode="auto">
              <a:xfrm>
                <a:off x="1884" y="598"/>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5" name="Freeform 799"/>
              <p:cNvSpPr>
                <a:spLocks/>
              </p:cNvSpPr>
              <p:nvPr/>
            </p:nvSpPr>
            <p:spPr bwMode="auto">
              <a:xfrm>
                <a:off x="202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6" name="Freeform 800"/>
              <p:cNvSpPr>
                <a:spLocks/>
              </p:cNvSpPr>
              <p:nvPr/>
            </p:nvSpPr>
            <p:spPr bwMode="auto">
              <a:xfrm>
                <a:off x="2118"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7" name="Freeform 801"/>
              <p:cNvSpPr>
                <a:spLocks/>
              </p:cNvSpPr>
              <p:nvPr/>
            </p:nvSpPr>
            <p:spPr bwMode="auto">
              <a:xfrm>
                <a:off x="2210"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8" name="Freeform 802"/>
              <p:cNvSpPr>
                <a:spLocks/>
              </p:cNvSpPr>
              <p:nvPr/>
            </p:nvSpPr>
            <p:spPr bwMode="auto">
              <a:xfrm>
                <a:off x="2300"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89" name="Freeform 803"/>
              <p:cNvSpPr>
                <a:spLocks/>
              </p:cNvSpPr>
              <p:nvPr/>
            </p:nvSpPr>
            <p:spPr bwMode="auto">
              <a:xfrm>
                <a:off x="2542"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0" name="Freeform 804"/>
              <p:cNvSpPr>
                <a:spLocks/>
              </p:cNvSpPr>
              <p:nvPr/>
            </p:nvSpPr>
            <p:spPr bwMode="auto">
              <a:xfrm>
                <a:off x="2636"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1" name="Freeform 805"/>
              <p:cNvSpPr>
                <a:spLocks/>
              </p:cNvSpPr>
              <p:nvPr/>
            </p:nvSpPr>
            <p:spPr bwMode="auto">
              <a:xfrm>
                <a:off x="272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2" name="Freeform 806"/>
              <p:cNvSpPr>
                <a:spLocks/>
              </p:cNvSpPr>
              <p:nvPr/>
            </p:nvSpPr>
            <p:spPr bwMode="auto">
              <a:xfrm>
                <a:off x="2822"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393" name="Freeform 807"/>
              <p:cNvSpPr>
                <a:spLocks/>
              </p:cNvSpPr>
              <p:nvPr/>
            </p:nvSpPr>
            <p:spPr bwMode="auto">
              <a:xfrm>
                <a:off x="2394"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7" name="Group 1009"/>
            <p:cNvGrpSpPr>
              <a:grpSpLocks/>
            </p:cNvGrpSpPr>
            <p:nvPr/>
          </p:nvGrpSpPr>
          <p:grpSpPr bwMode="auto">
            <a:xfrm>
              <a:off x="19050" y="0"/>
              <a:ext cx="5968978" cy="869950"/>
              <a:chOff x="12" y="200"/>
              <a:chExt cx="3760" cy="548"/>
            </a:xfrm>
          </p:grpSpPr>
          <p:sp>
            <p:nvSpPr>
              <p:cNvPr id="1994" name="Freeform 809"/>
              <p:cNvSpPr>
                <a:spLocks/>
              </p:cNvSpPr>
              <p:nvPr/>
            </p:nvSpPr>
            <p:spPr bwMode="auto">
              <a:xfrm>
                <a:off x="2394"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5" name="Freeform 810"/>
              <p:cNvSpPr>
                <a:spLocks/>
              </p:cNvSpPr>
              <p:nvPr/>
            </p:nvSpPr>
            <p:spPr bwMode="auto">
              <a:xfrm>
                <a:off x="2454"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6" name="Freeform 811"/>
              <p:cNvSpPr>
                <a:spLocks/>
              </p:cNvSpPr>
              <p:nvPr/>
            </p:nvSpPr>
            <p:spPr bwMode="auto">
              <a:xfrm>
                <a:off x="2454"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7" name="Freeform 812"/>
              <p:cNvSpPr>
                <a:spLocks/>
              </p:cNvSpPr>
              <p:nvPr/>
            </p:nvSpPr>
            <p:spPr bwMode="auto">
              <a:xfrm>
                <a:off x="3144"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8" name="Freeform 813"/>
              <p:cNvSpPr>
                <a:spLocks/>
              </p:cNvSpPr>
              <p:nvPr/>
            </p:nvSpPr>
            <p:spPr bwMode="auto">
              <a:xfrm>
                <a:off x="3144"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9" name="Freeform 814"/>
              <p:cNvSpPr>
                <a:spLocks/>
              </p:cNvSpPr>
              <p:nvPr/>
            </p:nvSpPr>
            <p:spPr bwMode="auto">
              <a:xfrm>
                <a:off x="3204"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0" name="Freeform 815"/>
              <p:cNvSpPr>
                <a:spLocks/>
              </p:cNvSpPr>
              <p:nvPr/>
            </p:nvSpPr>
            <p:spPr bwMode="auto">
              <a:xfrm>
                <a:off x="3204"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1" name="Freeform 816"/>
              <p:cNvSpPr>
                <a:spLocks/>
              </p:cNvSpPr>
              <p:nvPr/>
            </p:nvSpPr>
            <p:spPr bwMode="auto">
              <a:xfrm>
                <a:off x="329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2" name="Freeform 817"/>
              <p:cNvSpPr>
                <a:spLocks/>
              </p:cNvSpPr>
              <p:nvPr/>
            </p:nvSpPr>
            <p:spPr bwMode="auto">
              <a:xfrm>
                <a:off x="338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3" name="Freeform 818"/>
              <p:cNvSpPr>
                <a:spLocks/>
              </p:cNvSpPr>
              <p:nvPr/>
            </p:nvSpPr>
            <p:spPr bwMode="auto">
              <a:xfrm>
                <a:off x="347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4" name="Freeform 819"/>
              <p:cNvSpPr>
                <a:spLocks/>
              </p:cNvSpPr>
              <p:nvPr/>
            </p:nvSpPr>
            <p:spPr bwMode="auto">
              <a:xfrm>
                <a:off x="3716"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5" name="Freeform 820"/>
              <p:cNvSpPr>
                <a:spLocks/>
              </p:cNvSpPr>
              <p:nvPr/>
            </p:nvSpPr>
            <p:spPr bwMode="auto">
              <a:xfrm>
                <a:off x="3568"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6" name="Freeform 821"/>
              <p:cNvSpPr>
                <a:spLocks/>
              </p:cNvSpPr>
              <p:nvPr/>
            </p:nvSpPr>
            <p:spPr bwMode="auto">
              <a:xfrm>
                <a:off x="3568" y="602"/>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7" name="Freeform 822"/>
              <p:cNvSpPr>
                <a:spLocks/>
              </p:cNvSpPr>
              <p:nvPr/>
            </p:nvSpPr>
            <p:spPr bwMode="auto">
              <a:xfrm>
                <a:off x="3628"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8" name="Freeform 823"/>
              <p:cNvSpPr>
                <a:spLocks/>
              </p:cNvSpPr>
              <p:nvPr/>
            </p:nvSpPr>
            <p:spPr bwMode="auto">
              <a:xfrm>
                <a:off x="3628"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09" name="Freeform 824"/>
              <p:cNvSpPr>
                <a:spLocks noEditPoints="1"/>
              </p:cNvSpPr>
              <p:nvPr/>
            </p:nvSpPr>
            <p:spPr bwMode="auto">
              <a:xfrm>
                <a:off x="1876" y="412"/>
                <a:ext cx="188" cy="146"/>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0" name="Freeform 825"/>
              <p:cNvSpPr>
                <a:spLocks/>
              </p:cNvSpPr>
              <p:nvPr/>
            </p:nvSpPr>
            <p:spPr bwMode="auto">
              <a:xfrm>
                <a:off x="1978" y="516"/>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1" name="Freeform 826"/>
              <p:cNvSpPr>
                <a:spLocks/>
              </p:cNvSpPr>
              <p:nvPr/>
            </p:nvSpPr>
            <p:spPr bwMode="auto">
              <a:xfrm>
                <a:off x="1880" y="512"/>
                <a:ext cx="18" cy="22"/>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2" name="Freeform 827"/>
              <p:cNvSpPr>
                <a:spLocks/>
              </p:cNvSpPr>
              <p:nvPr/>
            </p:nvSpPr>
            <p:spPr bwMode="auto">
              <a:xfrm>
                <a:off x="1878" y="462"/>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3" name="Freeform 828"/>
              <p:cNvSpPr>
                <a:spLocks/>
              </p:cNvSpPr>
              <p:nvPr/>
            </p:nvSpPr>
            <p:spPr bwMode="auto">
              <a:xfrm>
                <a:off x="1890" y="41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4" name="Freeform 829"/>
              <p:cNvSpPr>
                <a:spLocks/>
              </p:cNvSpPr>
              <p:nvPr/>
            </p:nvSpPr>
            <p:spPr bwMode="auto">
              <a:xfrm>
                <a:off x="1876" y="412"/>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5" name="Freeform 830"/>
              <p:cNvSpPr>
                <a:spLocks/>
              </p:cNvSpPr>
              <p:nvPr/>
            </p:nvSpPr>
            <p:spPr bwMode="auto">
              <a:xfrm>
                <a:off x="1882" y="512"/>
                <a:ext cx="16" cy="22"/>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6" name="Freeform 831"/>
              <p:cNvSpPr>
                <a:spLocks/>
              </p:cNvSpPr>
              <p:nvPr/>
            </p:nvSpPr>
            <p:spPr bwMode="auto">
              <a:xfrm>
                <a:off x="1882" y="512"/>
                <a:ext cx="16" cy="22"/>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7" name="Freeform 832"/>
              <p:cNvSpPr>
                <a:spLocks/>
              </p:cNvSpPr>
              <p:nvPr/>
            </p:nvSpPr>
            <p:spPr bwMode="auto">
              <a:xfrm>
                <a:off x="1884" y="512"/>
                <a:ext cx="14" cy="22"/>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8" name="Freeform 833"/>
              <p:cNvSpPr>
                <a:spLocks/>
              </p:cNvSpPr>
              <p:nvPr/>
            </p:nvSpPr>
            <p:spPr bwMode="auto">
              <a:xfrm>
                <a:off x="1884" y="512"/>
                <a:ext cx="14" cy="22"/>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19" name="Freeform 834"/>
              <p:cNvSpPr>
                <a:spLocks/>
              </p:cNvSpPr>
              <p:nvPr/>
            </p:nvSpPr>
            <p:spPr bwMode="auto">
              <a:xfrm>
                <a:off x="1978" y="516"/>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0" name="Freeform 835"/>
              <p:cNvSpPr>
                <a:spLocks/>
              </p:cNvSpPr>
              <p:nvPr/>
            </p:nvSpPr>
            <p:spPr bwMode="auto">
              <a:xfrm>
                <a:off x="1978" y="516"/>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1" name="Freeform 836"/>
              <p:cNvSpPr>
                <a:spLocks noEditPoints="1"/>
              </p:cNvSpPr>
              <p:nvPr/>
            </p:nvSpPr>
            <p:spPr bwMode="auto">
              <a:xfrm>
                <a:off x="1978" y="516"/>
                <a:ext cx="14" cy="26"/>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2" name="Freeform 837"/>
              <p:cNvSpPr>
                <a:spLocks/>
              </p:cNvSpPr>
              <p:nvPr/>
            </p:nvSpPr>
            <p:spPr bwMode="auto">
              <a:xfrm>
                <a:off x="1986" y="542"/>
                <a:ext cx="4"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3" name="Freeform 838"/>
              <p:cNvSpPr>
                <a:spLocks/>
              </p:cNvSpPr>
              <p:nvPr/>
            </p:nvSpPr>
            <p:spPr bwMode="auto">
              <a:xfrm>
                <a:off x="1978" y="542"/>
                <a:ext cx="2"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4" name="Freeform 839"/>
              <p:cNvSpPr>
                <a:spLocks/>
              </p:cNvSpPr>
              <p:nvPr/>
            </p:nvSpPr>
            <p:spPr bwMode="auto">
              <a:xfrm>
                <a:off x="1990" y="516"/>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5" name="Freeform 840"/>
              <p:cNvSpPr>
                <a:spLocks/>
              </p:cNvSpPr>
              <p:nvPr/>
            </p:nvSpPr>
            <p:spPr bwMode="auto">
              <a:xfrm>
                <a:off x="1878" y="462"/>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6" name="Freeform 841"/>
              <p:cNvSpPr>
                <a:spLocks/>
              </p:cNvSpPr>
              <p:nvPr/>
            </p:nvSpPr>
            <p:spPr bwMode="auto">
              <a:xfrm>
                <a:off x="1878" y="462"/>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7" name="Freeform 842"/>
              <p:cNvSpPr>
                <a:spLocks noEditPoints="1"/>
              </p:cNvSpPr>
              <p:nvPr/>
            </p:nvSpPr>
            <p:spPr bwMode="auto">
              <a:xfrm>
                <a:off x="1880" y="462"/>
                <a:ext cx="8" cy="2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8" name="Freeform 843"/>
              <p:cNvSpPr>
                <a:spLocks/>
              </p:cNvSpPr>
              <p:nvPr/>
            </p:nvSpPr>
            <p:spPr bwMode="auto">
              <a:xfrm>
                <a:off x="1882" y="480"/>
                <a:ext cx="4" cy="2"/>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29" name="Freeform 844"/>
              <p:cNvSpPr>
                <a:spLocks/>
              </p:cNvSpPr>
              <p:nvPr/>
            </p:nvSpPr>
            <p:spPr bwMode="auto">
              <a:xfrm>
                <a:off x="1882" y="478"/>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0" name="Freeform 845"/>
              <p:cNvSpPr>
                <a:spLocks/>
              </p:cNvSpPr>
              <p:nvPr/>
            </p:nvSpPr>
            <p:spPr bwMode="auto">
              <a:xfrm>
                <a:off x="1886"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1" name="Freeform 846"/>
              <p:cNvSpPr>
                <a:spLocks/>
              </p:cNvSpPr>
              <p:nvPr/>
            </p:nvSpPr>
            <p:spPr bwMode="auto">
              <a:xfrm>
                <a:off x="1880" y="464"/>
                <a:ext cx="4" cy="12"/>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2" name="Freeform 847"/>
              <p:cNvSpPr>
                <a:spLocks/>
              </p:cNvSpPr>
              <p:nvPr/>
            </p:nvSpPr>
            <p:spPr bwMode="auto">
              <a:xfrm>
                <a:off x="1882" y="462"/>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3" name="Freeform 848"/>
              <p:cNvSpPr>
                <a:spLocks noEditPoints="1"/>
              </p:cNvSpPr>
              <p:nvPr/>
            </p:nvSpPr>
            <p:spPr bwMode="auto">
              <a:xfrm>
                <a:off x="1992" y="450"/>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4" name="Freeform 849"/>
              <p:cNvSpPr>
                <a:spLocks/>
              </p:cNvSpPr>
              <p:nvPr/>
            </p:nvSpPr>
            <p:spPr bwMode="auto">
              <a:xfrm>
                <a:off x="1996" y="458"/>
                <a:ext cx="6" cy="4"/>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5" name="Freeform 850"/>
              <p:cNvSpPr>
                <a:spLocks/>
              </p:cNvSpPr>
              <p:nvPr/>
            </p:nvSpPr>
            <p:spPr bwMode="auto">
              <a:xfrm>
                <a:off x="1992"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6" name="Freeform 851"/>
              <p:cNvSpPr>
                <a:spLocks/>
              </p:cNvSpPr>
              <p:nvPr/>
            </p:nvSpPr>
            <p:spPr bwMode="auto">
              <a:xfrm>
                <a:off x="1946"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7" name="Freeform 852"/>
              <p:cNvSpPr>
                <a:spLocks/>
              </p:cNvSpPr>
              <p:nvPr/>
            </p:nvSpPr>
            <p:spPr bwMode="auto">
              <a:xfrm>
                <a:off x="1946"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8" name="Freeform 853"/>
              <p:cNvSpPr>
                <a:spLocks/>
              </p:cNvSpPr>
              <p:nvPr/>
            </p:nvSpPr>
            <p:spPr bwMode="auto">
              <a:xfrm>
                <a:off x="2042"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39" name="Freeform 854"/>
              <p:cNvSpPr>
                <a:spLocks/>
              </p:cNvSpPr>
              <p:nvPr/>
            </p:nvSpPr>
            <p:spPr bwMode="auto">
              <a:xfrm>
                <a:off x="2042"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0" name="Freeform 855"/>
              <p:cNvSpPr>
                <a:spLocks/>
              </p:cNvSpPr>
              <p:nvPr/>
            </p:nvSpPr>
            <p:spPr bwMode="auto">
              <a:xfrm>
                <a:off x="1986"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1" name="Freeform 856"/>
              <p:cNvSpPr>
                <a:spLocks/>
              </p:cNvSpPr>
              <p:nvPr/>
            </p:nvSpPr>
            <p:spPr bwMode="auto">
              <a:xfrm>
                <a:off x="1986"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2" name="Freeform 857"/>
              <p:cNvSpPr>
                <a:spLocks/>
              </p:cNvSpPr>
              <p:nvPr/>
            </p:nvSpPr>
            <p:spPr bwMode="auto">
              <a:xfrm>
                <a:off x="2002"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3" name="Freeform 858"/>
              <p:cNvSpPr>
                <a:spLocks/>
              </p:cNvSpPr>
              <p:nvPr/>
            </p:nvSpPr>
            <p:spPr bwMode="auto">
              <a:xfrm>
                <a:off x="2002"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4" name="Freeform 859"/>
              <p:cNvSpPr>
                <a:spLocks/>
              </p:cNvSpPr>
              <p:nvPr/>
            </p:nvSpPr>
            <p:spPr bwMode="auto">
              <a:xfrm>
                <a:off x="1998"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5" name="Freeform 860"/>
              <p:cNvSpPr>
                <a:spLocks/>
              </p:cNvSpPr>
              <p:nvPr/>
            </p:nvSpPr>
            <p:spPr bwMode="auto">
              <a:xfrm>
                <a:off x="1998"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6" name="Freeform 861"/>
              <p:cNvSpPr>
                <a:spLocks noEditPoints="1"/>
              </p:cNvSpPr>
              <p:nvPr/>
            </p:nvSpPr>
            <p:spPr bwMode="auto">
              <a:xfrm>
                <a:off x="1998" y="458"/>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7" name="Freeform 862"/>
              <p:cNvSpPr>
                <a:spLocks/>
              </p:cNvSpPr>
              <p:nvPr/>
            </p:nvSpPr>
            <p:spPr bwMode="auto">
              <a:xfrm>
                <a:off x="1998" y="460"/>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8" name="Freeform 863"/>
              <p:cNvSpPr>
                <a:spLocks/>
              </p:cNvSpPr>
              <p:nvPr/>
            </p:nvSpPr>
            <p:spPr bwMode="auto">
              <a:xfrm>
                <a:off x="2000" y="458"/>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49" name="Freeform 864"/>
              <p:cNvSpPr>
                <a:spLocks noEditPoints="1"/>
              </p:cNvSpPr>
              <p:nvPr/>
            </p:nvSpPr>
            <p:spPr bwMode="auto">
              <a:xfrm>
                <a:off x="2914" y="600"/>
                <a:ext cx="188" cy="146"/>
              </a:xfrm>
              <a:custGeom>
                <a:avLst/>
                <a:gdLst>
                  <a:gd name="T0" fmla="*/ 118 w 188"/>
                  <a:gd name="T1" fmla="*/ 130 h 146"/>
                  <a:gd name="T2" fmla="*/ 104 w 188"/>
                  <a:gd name="T3" fmla="*/ 130 h 146"/>
                  <a:gd name="T4" fmla="*/ 118 w 188"/>
                  <a:gd name="T5" fmla="*/ 104 h 146"/>
                  <a:gd name="T6" fmla="*/ 20 w 188"/>
                  <a:gd name="T7" fmla="*/ 122 h 146"/>
                  <a:gd name="T8" fmla="*/ 6 w 188"/>
                  <a:gd name="T9" fmla="*/ 110 h 146"/>
                  <a:gd name="T10" fmla="*/ 8 w 188"/>
                  <a:gd name="T11" fmla="*/ 50 h 146"/>
                  <a:gd name="T12" fmla="*/ 6 w 188"/>
                  <a:gd name="T13" fmla="*/ 62 h 146"/>
                  <a:gd name="T14" fmla="*/ 6 w 188"/>
                  <a:gd name="T15" fmla="*/ 66 h 146"/>
                  <a:gd name="T16" fmla="*/ 14 w 188"/>
                  <a:gd name="T17" fmla="*/ 64 h 146"/>
                  <a:gd name="T18" fmla="*/ 6 w 188"/>
                  <a:gd name="T19" fmla="*/ 70 h 146"/>
                  <a:gd name="T20" fmla="*/ 8 w 188"/>
                  <a:gd name="T21" fmla="*/ 50 h 146"/>
                  <a:gd name="T22" fmla="*/ 114 w 188"/>
                  <a:gd name="T23" fmla="*/ 4 h 146"/>
                  <a:gd name="T24" fmla="*/ 150 w 188"/>
                  <a:gd name="T25" fmla="*/ 24 h 146"/>
                  <a:gd name="T26" fmla="*/ 156 w 188"/>
                  <a:gd name="T27" fmla="*/ 42 h 146"/>
                  <a:gd name="T28" fmla="*/ 148 w 188"/>
                  <a:gd name="T29" fmla="*/ 48 h 146"/>
                  <a:gd name="T30" fmla="*/ 158 w 188"/>
                  <a:gd name="T31" fmla="*/ 46 h 146"/>
                  <a:gd name="T32" fmla="*/ 162 w 188"/>
                  <a:gd name="T33" fmla="*/ 38 h 146"/>
                  <a:gd name="T34" fmla="*/ 180 w 188"/>
                  <a:gd name="T35" fmla="*/ 30 h 146"/>
                  <a:gd name="T36" fmla="*/ 166 w 188"/>
                  <a:gd name="T37" fmla="*/ 88 h 146"/>
                  <a:gd name="T38" fmla="*/ 130 w 188"/>
                  <a:gd name="T39" fmla="*/ 96 h 146"/>
                  <a:gd name="T40" fmla="*/ 142 w 188"/>
                  <a:gd name="T41" fmla="*/ 92 h 146"/>
                  <a:gd name="T42" fmla="*/ 134 w 188"/>
                  <a:gd name="T43" fmla="*/ 102 h 146"/>
                  <a:gd name="T44" fmla="*/ 112 w 188"/>
                  <a:gd name="T45" fmla="*/ 94 h 146"/>
                  <a:gd name="T46" fmla="*/ 86 w 188"/>
                  <a:gd name="T47" fmla="*/ 140 h 146"/>
                  <a:gd name="T48" fmla="*/ 68 w 188"/>
                  <a:gd name="T49" fmla="*/ 126 h 146"/>
                  <a:gd name="T50" fmla="*/ 70 w 188"/>
                  <a:gd name="T51" fmla="*/ 116 h 146"/>
                  <a:gd name="T52" fmla="*/ 54 w 188"/>
                  <a:gd name="T53" fmla="*/ 112 h 146"/>
                  <a:gd name="T54" fmla="*/ 48 w 188"/>
                  <a:gd name="T55" fmla="*/ 134 h 146"/>
                  <a:gd name="T56" fmla="*/ 24 w 188"/>
                  <a:gd name="T57" fmla="*/ 130 h 146"/>
                  <a:gd name="T58" fmla="*/ 16 w 188"/>
                  <a:gd name="T59" fmla="*/ 98 h 146"/>
                  <a:gd name="T60" fmla="*/ 42 w 188"/>
                  <a:gd name="T61" fmla="*/ 40 h 146"/>
                  <a:gd name="T62" fmla="*/ 42 w 188"/>
                  <a:gd name="T63" fmla="*/ 60 h 146"/>
                  <a:gd name="T64" fmla="*/ 48 w 188"/>
                  <a:gd name="T65" fmla="*/ 90 h 146"/>
                  <a:gd name="T66" fmla="*/ 82 w 188"/>
                  <a:gd name="T67" fmla="*/ 92 h 146"/>
                  <a:gd name="T68" fmla="*/ 92 w 188"/>
                  <a:gd name="T69" fmla="*/ 44 h 146"/>
                  <a:gd name="T70" fmla="*/ 80 w 188"/>
                  <a:gd name="T71" fmla="*/ 90 h 146"/>
                  <a:gd name="T72" fmla="*/ 52 w 188"/>
                  <a:gd name="T73" fmla="*/ 84 h 146"/>
                  <a:gd name="T74" fmla="*/ 44 w 188"/>
                  <a:gd name="T75" fmla="*/ 66 h 146"/>
                  <a:gd name="T76" fmla="*/ 80 w 188"/>
                  <a:gd name="T77" fmla="*/ 22 h 146"/>
                  <a:gd name="T78" fmla="*/ 98 w 188"/>
                  <a:gd name="T79" fmla="*/ 4 h 146"/>
                  <a:gd name="T80" fmla="*/ 70 w 188"/>
                  <a:gd name="T81" fmla="*/ 24 h 146"/>
                  <a:gd name="T82" fmla="*/ 12 w 188"/>
                  <a:gd name="T83" fmla="*/ 62 h 146"/>
                  <a:gd name="T84" fmla="*/ 12 w 188"/>
                  <a:gd name="T85" fmla="*/ 50 h 146"/>
                  <a:gd name="T86" fmla="*/ 4 w 188"/>
                  <a:gd name="T87" fmla="*/ 68 h 146"/>
                  <a:gd name="T88" fmla="*/ 6 w 188"/>
                  <a:gd name="T89" fmla="*/ 102 h 146"/>
                  <a:gd name="T90" fmla="*/ 22 w 188"/>
                  <a:gd name="T91" fmla="*/ 128 h 146"/>
                  <a:gd name="T92" fmla="*/ 42 w 188"/>
                  <a:gd name="T93" fmla="*/ 144 h 146"/>
                  <a:gd name="T94" fmla="*/ 52 w 188"/>
                  <a:gd name="T95" fmla="*/ 132 h 146"/>
                  <a:gd name="T96" fmla="*/ 74 w 188"/>
                  <a:gd name="T97" fmla="*/ 144 h 146"/>
                  <a:gd name="T98" fmla="*/ 100 w 188"/>
                  <a:gd name="T99" fmla="*/ 132 h 146"/>
                  <a:gd name="T100" fmla="*/ 122 w 188"/>
                  <a:gd name="T101" fmla="*/ 114 h 146"/>
                  <a:gd name="T102" fmla="*/ 124 w 188"/>
                  <a:gd name="T103" fmla="*/ 102 h 146"/>
                  <a:gd name="T104" fmla="*/ 152 w 188"/>
                  <a:gd name="T105" fmla="*/ 92 h 146"/>
                  <a:gd name="T106" fmla="*/ 186 w 188"/>
                  <a:gd name="T107" fmla="*/ 72 h 146"/>
                  <a:gd name="T108" fmla="*/ 178 w 188"/>
                  <a:gd name="T109" fmla="*/ 24 h 146"/>
                  <a:gd name="T110" fmla="*/ 160 w 188"/>
                  <a:gd name="T111" fmla="*/ 30 h 146"/>
                  <a:gd name="T112" fmla="*/ 112 w 188"/>
                  <a:gd name="T11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18" y="130"/>
                    </a:lnTo>
                    <a:lnTo>
                      <a:pt x="118" y="130"/>
                    </a:lnTo>
                    <a:lnTo>
                      <a:pt x="114" y="130"/>
                    </a:lnTo>
                    <a:lnTo>
                      <a:pt x="114" y="130"/>
                    </a:lnTo>
                    <a:lnTo>
                      <a:pt x="114" y="130"/>
                    </a:lnTo>
                    <a:lnTo>
                      <a:pt x="114" y="130"/>
                    </a:lnTo>
                    <a:lnTo>
                      <a:pt x="110" y="130"/>
                    </a:lnTo>
                    <a:lnTo>
                      <a:pt x="110" y="130"/>
                    </a:lnTo>
                    <a:lnTo>
                      <a:pt x="104" y="130"/>
                    </a:lnTo>
                    <a:lnTo>
                      <a:pt x="104" y="130"/>
                    </a:lnTo>
                    <a:lnTo>
                      <a:pt x="104" y="130"/>
                    </a:lnTo>
                    <a:lnTo>
                      <a:pt x="104" y="130"/>
                    </a:lnTo>
                    <a:lnTo>
                      <a:pt x="104" y="130"/>
                    </a:lnTo>
                    <a:lnTo>
                      <a:pt x="104" y="130"/>
                    </a:lnTo>
                    <a:lnTo>
                      <a:pt x="104" y="130"/>
                    </a:lnTo>
                    <a:lnTo>
                      <a:pt x="114" y="110"/>
                    </a:lnTo>
                    <a:lnTo>
                      <a:pt x="114" y="110"/>
                    </a:lnTo>
                    <a:lnTo>
                      <a:pt x="118" y="104"/>
                    </a:lnTo>
                    <a:lnTo>
                      <a:pt x="118" y="104"/>
                    </a:lnTo>
                    <a:lnTo>
                      <a:pt x="118" y="104"/>
                    </a:lnTo>
                    <a:close/>
                    <a:moveTo>
                      <a:pt x="8" y="104"/>
                    </a:moveTo>
                    <a:lnTo>
                      <a:pt x="8" y="104"/>
                    </a:lnTo>
                    <a:lnTo>
                      <a:pt x="14" y="100"/>
                    </a:lnTo>
                    <a:lnTo>
                      <a:pt x="14" y="100"/>
                    </a:lnTo>
                    <a:lnTo>
                      <a:pt x="24" y="118"/>
                    </a:lnTo>
                    <a:lnTo>
                      <a:pt x="24" y="118"/>
                    </a:lnTo>
                    <a:lnTo>
                      <a:pt x="24" y="122"/>
                    </a:lnTo>
                    <a:lnTo>
                      <a:pt x="20" y="122"/>
                    </a:lnTo>
                    <a:lnTo>
                      <a:pt x="20" y="122"/>
                    </a:lnTo>
                    <a:lnTo>
                      <a:pt x="20" y="122"/>
                    </a:lnTo>
                    <a:lnTo>
                      <a:pt x="20" y="122"/>
                    </a:lnTo>
                    <a:lnTo>
                      <a:pt x="18" y="122"/>
                    </a:lnTo>
                    <a:lnTo>
                      <a:pt x="18" y="122"/>
                    </a:lnTo>
                    <a:lnTo>
                      <a:pt x="14" y="122"/>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8" y="50"/>
                    </a:lnTo>
                    <a:lnTo>
                      <a:pt x="8" y="50"/>
                    </a:lnTo>
                    <a:lnTo>
                      <a:pt x="10" y="50"/>
                    </a:lnTo>
                    <a:lnTo>
                      <a:pt x="10" y="50"/>
                    </a:lnTo>
                    <a:lnTo>
                      <a:pt x="10" y="50"/>
                    </a:lnTo>
                    <a:lnTo>
                      <a:pt x="10" y="50"/>
                    </a:lnTo>
                    <a:lnTo>
                      <a:pt x="8" y="52"/>
                    </a:lnTo>
                    <a:lnTo>
                      <a:pt x="8" y="52"/>
                    </a:lnTo>
                    <a:lnTo>
                      <a:pt x="6" y="62"/>
                    </a:lnTo>
                    <a:lnTo>
                      <a:pt x="6" y="62"/>
                    </a:lnTo>
                    <a:lnTo>
                      <a:pt x="6" y="66"/>
                    </a:lnTo>
                    <a:lnTo>
                      <a:pt x="6" y="66"/>
                    </a:lnTo>
                    <a:lnTo>
                      <a:pt x="6" y="66"/>
                    </a:lnTo>
                    <a:lnTo>
                      <a:pt x="6" y="66"/>
                    </a:lnTo>
                    <a:lnTo>
                      <a:pt x="6" y="66"/>
                    </a:lnTo>
                    <a:lnTo>
                      <a:pt x="6" y="66"/>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12" y="68"/>
                    </a:lnTo>
                    <a:lnTo>
                      <a:pt x="8" y="70"/>
                    </a:lnTo>
                    <a:lnTo>
                      <a:pt x="8" y="70"/>
                    </a:lnTo>
                    <a:lnTo>
                      <a:pt x="6" y="70"/>
                    </a:lnTo>
                    <a:lnTo>
                      <a:pt x="6" y="70"/>
                    </a:lnTo>
                    <a:lnTo>
                      <a:pt x="6" y="68"/>
                    </a:lnTo>
                    <a:lnTo>
                      <a:pt x="6" y="68"/>
                    </a:lnTo>
                    <a:lnTo>
                      <a:pt x="2" y="62"/>
                    </a:lnTo>
                    <a:lnTo>
                      <a:pt x="2" y="56"/>
                    </a:lnTo>
                    <a:lnTo>
                      <a:pt x="2" y="56"/>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4"/>
                    </a:lnTo>
                    <a:lnTo>
                      <a:pt x="154" y="26"/>
                    </a:lnTo>
                    <a:lnTo>
                      <a:pt x="158" y="32"/>
                    </a:lnTo>
                    <a:lnTo>
                      <a:pt x="158" y="32"/>
                    </a:lnTo>
                    <a:lnTo>
                      <a:pt x="148" y="34"/>
                    </a:lnTo>
                    <a:lnTo>
                      <a:pt x="148" y="34"/>
                    </a:lnTo>
                    <a:lnTo>
                      <a:pt x="150" y="40"/>
                    </a:lnTo>
                    <a:lnTo>
                      <a:pt x="154" y="42"/>
                    </a:lnTo>
                    <a:lnTo>
                      <a:pt x="154" y="42"/>
                    </a:lnTo>
                    <a:lnTo>
                      <a:pt x="156" y="42"/>
                    </a:lnTo>
                    <a:lnTo>
                      <a:pt x="156" y="42"/>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2"/>
                    </a:lnTo>
                    <a:lnTo>
                      <a:pt x="162" y="42"/>
                    </a:lnTo>
                    <a:lnTo>
                      <a:pt x="162" y="42"/>
                    </a:lnTo>
                    <a:lnTo>
                      <a:pt x="162" y="38"/>
                    </a:lnTo>
                    <a:lnTo>
                      <a:pt x="164" y="38"/>
                    </a:lnTo>
                    <a:lnTo>
                      <a:pt x="164" y="38"/>
                    </a:lnTo>
                    <a:lnTo>
                      <a:pt x="168" y="34"/>
                    </a:lnTo>
                    <a:lnTo>
                      <a:pt x="174" y="30"/>
                    </a:lnTo>
                    <a:lnTo>
                      <a:pt x="174" y="30"/>
                    </a:lnTo>
                    <a:lnTo>
                      <a:pt x="176" y="28"/>
                    </a:lnTo>
                    <a:lnTo>
                      <a:pt x="176" y="28"/>
                    </a:lnTo>
                    <a:lnTo>
                      <a:pt x="180" y="30"/>
                    </a:lnTo>
                    <a:lnTo>
                      <a:pt x="180" y="30"/>
                    </a:lnTo>
                    <a:lnTo>
                      <a:pt x="184" y="42"/>
                    </a:lnTo>
                    <a:lnTo>
                      <a:pt x="184" y="42"/>
                    </a:lnTo>
                    <a:lnTo>
                      <a:pt x="186"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4"/>
                    </a:lnTo>
                    <a:lnTo>
                      <a:pt x="132" y="84"/>
                    </a:lnTo>
                    <a:lnTo>
                      <a:pt x="130" y="96"/>
                    </a:lnTo>
                    <a:lnTo>
                      <a:pt x="130" y="96"/>
                    </a:lnTo>
                    <a:lnTo>
                      <a:pt x="130" y="98"/>
                    </a:lnTo>
                    <a:lnTo>
                      <a:pt x="132" y="100"/>
                    </a:lnTo>
                    <a:lnTo>
                      <a:pt x="132" y="100"/>
                    </a:lnTo>
                    <a:lnTo>
                      <a:pt x="134" y="100"/>
                    </a:lnTo>
                    <a:lnTo>
                      <a:pt x="134" y="100"/>
                    </a:lnTo>
                    <a:lnTo>
                      <a:pt x="138" y="98"/>
                    </a:lnTo>
                    <a:lnTo>
                      <a:pt x="138" y="98"/>
                    </a:lnTo>
                    <a:lnTo>
                      <a:pt x="140" y="96"/>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2"/>
                    </a:lnTo>
                    <a:lnTo>
                      <a:pt x="126" y="98"/>
                    </a:lnTo>
                    <a:lnTo>
                      <a:pt x="126" y="98"/>
                    </a:lnTo>
                    <a:lnTo>
                      <a:pt x="116" y="92"/>
                    </a:lnTo>
                    <a:lnTo>
                      <a:pt x="106" y="88"/>
                    </a:lnTo>
                    <a:lnTo>
                      <a:pt x="106" y="88"/>
                    </a:lnTo>
                    <a:lnTo>
                      <a:pt x="112" y="94"/>
                    </a:lnTo>
                    <a:lnTo>
                      <a:pt x="112" y="94"/>
                    </a:lnTo>
                    <a:lnTo>
                      <a:pt x="114" y="96"/>
                    </a:lnTo>
                    <a:lnTo>
                      <a:pt x="114"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8" y="114"/>
                    </a:lnTo>
                    <a:lnTo>
                      <a:pt x="76" y="116"/>
                    </a:lnTo>
                    <a:lnTo>
                      <a:pt x="70" y="116"/>
                    </a:lnTo>
                    <a:lnTo>
                      <a:pt x="70" y="116"/>
                    </a:lnTo>
                    <a:lnTo>
                      <a:pt x="66" y="116"/>
                    </a:lnTo>
                    <a:lnTo>
                      <a:pt x="66" y="116"/>
                    </a:lnTo>
                    <a:lnTo>
                      <a:pt x="60" y="116"/>
                    </a:lnTo>
                    <a:lnTo>
                      <a:pt x="60" y="116"/>
                    </a:lnTo>
                    <a:lnTo>
                      <a:pt x="56" y="116"/>
                    </a:lnTo>
                    <a:lnTo>
                      <a:pt x="54" y="114"/>
                    </a:lnTo>
                    <a:lnTo>
                      <a:pt x="54" y="112"/>
                    </a:lnTo>
                    <a:lnTo>
                      <a:pt x="54" y="112"/>
                    </a:lnTo>
                    <a:lnTo>
                      <a:pt x="54" y="112"/>
                    </a:lnTo>
                    <a:lnTo>
                      <a:pt x="54" y="112"/>
                    </a:lnTo>
                    <a:lnTo>
                      <a:pt x="54" y="114"/>
                    </a:lnTo>
                    <a:lnTo>
                      <a:pt x="54" y="114"/>
                    </a:lnTo>
                    <a:lnTo>
                      <a:pt x="52" y="122"/>
                    </a:lnTo>
                    <a:lnTo>
                      <a:pt x="52" y="126"/>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8"/>
                    </a:lnTo>
                    <a:lnTo>
                      <a:pt x="14" y="88"/>
                    </a:lnTo>
                    <a:lnTo>
                      <a:pt x="14" y="78"/>
                    </a:lnTo>
                    <a:lnTo>
                      <a:pt x="14" y="78"/>
                    </a:lnTo>
                    <a:lnTo>
                      <a:pt x="16" y="70"/>
                    </a:lnTo>
                    <a:lnTo>
                      <a:pt x="20"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4" y="100"/>
                    </a:lnTo>
                    <a:lnTo>
                      <a:pt x="64"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8" y="86"/>
                    </a:lnTo>
                    <a:lnTo>
                      <a:pt x="88" y="86"/>
                    </a:lnTo>
                    <a:lnTo>
                      <a:pt x="80" y="90"/>
                    </a:lnTo>
                    <a:lnTo>
                      <a:pt x="72" y="94"/>
                    </a:lnTo>
                    <a:lnTo>
                      <a:pt x="72" y="94"/>
                    </a:lnTo>
                    <a:lnTo>
                      <a:pt x="62" y="96"/>
                    </a:lnTo>
                    <a:lnTo>
                      <a:pt x="62" y="96"/>
                    </a:lnTo>
                    <a:lnTo>
                      <a:pt x="58" y="94"/>
                    </a:lnTo>
                    <a:lnTo>
                      <a:pt x="54" y="90"/>
                    </a:lnTo>
                    <a:lnTo>
                      <a:pt x="54" y="90"/>
                    </a:lnTo>
                    <a:lnTo>
                      <a:pt x="52" y="88"/>
                    </a:lnTo>
                    <a:lnTo>
                      <a:pt x="52" y="84"/>
                    </a:lnTo>
                    <a:lnTo>
                      <a:pt x="52" y="84"/>
                    </a:lnTo>
                    <a:lnTo>
                      <a:pt x="56" y="76"/>
                    </a:lnTo>
                    <a:lnTo>
                      <a:pt x="56" y="76"/>
                    </a:lnTo>
                    <a:lnTo>
                      <a:pt x="60" y="70"/>
                    </a:lnTo>
                    <a:lnTo>
                      <a:pt x="60" y="70"/>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8"/>
                    </a:lnTo>
                    <a:lnTo>
                      <a:pt x="2" y="112"/>
                    </a:lnTo>
                    <a:lnTo>
                      <a:pt x="2" y="112"/>
                    </a:lnTo>
                    <a:lnTo>
                      <a:pt x="6" y="118"/>
                    </a:lnTo>
                    <a:lnTo>
                      <a:pt x="10" y="122"/>
                    </a:lnTo>
                    <a:lnTo>
                      <a:pt x="10" y="122"/>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6"/>
                    </a:lnTo>
                    <a:lnTo>
                      <a:pt x="88" y="142"/>
                    </a:lnTo>
                    <a:lnTo>
                      <a:pt x="88" y="142"/>
                    </a:lnTo>
                    <a:lnTo>
                      <a:pt x="98" y="134"/>
                    </a:lnTo>
                    <a:lnTo>
                      <a:pt x="98"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4" y="86"/>
                    </a:lnTo>
                    <a:lnTo>
                      <a:pt x="180" y="80"/>
                    </a:lnTo>
                    <a:lnTo>
                      <a:pt x="186" y="72"/>
                    </a:lnTo>
                    <a:lnTo>
                      <a:pt x="186" y="72"/>
                    </a:lnTo>
                    <a:lnTo>
                      <a:pt x="188" y="60"/>
                    </a:lnTo>
                    <a:lnTo>
                      <a:pt x="188" y="46"/>
                    </a:lnTo>
                    <a:lnTo>
                      <a:pt x="188" y="46"/>
                    </a:lnTo>
                    <a:lnTo>
                      <a:pt x="186" y="38"/>
                    </a:lnTo>
                    <a:lnTo>
                      <a:pt x="182" y="28"/>
                    </a:lnTo>
                    <a:lnTo>
                      <a:pt x="182" y="28"/>
                    </a:lnTo>
                    <a:lnTo>
                      <a:pt x="180" y="26"/>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0" name="Freeform 865"/>
              <p:cNvSpPr>
                <a:spLocks/>
              </p:cNvSpPr>
              <p:nvPr/>
            </p:nvSpPr>
            <p:spPr bwMode="auto">
              <a:xfrm>
                <a:off x="3018" y="704"/>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4 w 16"/>
                  <a:gd name="T17" fmla="*/ 26 h 26"/>
                  <a:gd name="T18" fmla="*/ 14 w 16"/>
                  <a:gd name="T19" fmla="*/ 26 h 26"/>
                  <a:gd name="T20" fmla="*/ 10 w 16"/>
                  <a:gd name="T21" fmla="*/ 26 h 26"/>
                  <a:gd name="T22" fmla="*/ 10 w 16"/>
                  <a:gd name="T23" fmla="*/ 26 h 26"/>
                  <a:gd name="T24" fmla="*/ 10 w 16"/>
                  <a:gd name="T25" fmla="*/ 26 h 26"/>
                  <a:gd name="T26" fmla="*/ 10 w 16"/>
                  <a:gd name="T27" fmla="*/ 26 h 26"/>
                  <a:gd name="T28" fmla="*/ 6 w 16"/>
                  <a:gd name="T29" fmla="*/ 26 h 26"/>
                  <a:gd name="T30" fmla="*/ 6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6 h 26"/>
                  <a:gd name="T48" fmla="*/ 10 w 16"/>
                  <a:gd name="T49" fmla="*/ 6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4"/>
                    </a:lnTo>
                    <a:lnTo>
                      <a:pt x="16" y="24"/>
                    </a:lnTo>
                    <a:lnTo>
                      <a:pt x="14" y="26"/>
                    </a:lnTo>
                    <a:lnTo>
                      <a:pt x="14" y="26"/>
                    </a:lnTo>
                    <a:lnTo>
                      <a:pt x="10" y="26"/>
                    </a:lnTo>
                    <a:lnTo>
                      <a:pt x="10" y="26"/>
                    </a:lnTo>
                    <a:lnTo>
                      <a:pt x="10" y="26"/>
                    </a:lnTo>
                    <a:lnTo>
                      <a:pt x="10" y="26"/>
                    </a:lnTo>
                    <a:lnTo>
                      <a:pt x="6" y="26"/>
                    </a:lnTo>
                    <a:lnTo>
                      <a:pt x="6" y="26"/>
                    </a:lnTo>
                    <a:lnTo>
                      <a:pt x="0" y="26"/>
                    </a:lnTo>
                    <a:lnTo>
                      <a:pt x="0" y="26"/>
                    </a:lnTo>
                    <a:lnTo>
                      <a:pt x="0" y="26"/>
                    </a:lnTo>
                    <a:lnTo>
                      <a:pt x="0" y="26"/>
                    </a:lnTo>
                    <a:lnTo>
                      <a:pt x="0" y="26"/>
                    </a:lnTo>
                    <a:lnTo>
                      <a:pt x="0" y="26"/>
                    </a:lnTo>
                    <a:lnTo>
                      <a:pt x="0" y="26"/>
                    </a:lnTo>
                    <a:lnTo>
                      <a:pt x="10" y="6"/>
                    </a:lnTo>
                    <a:lnTo>
                      <a:pt x="10"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1" name="Freeform 866"/>
              <p:cNvSpPr>
                <a:spLocks/>
              </p:cNvSpPr>
              <p:nvPr/>
            </p:nvSpPr>
            <p:spPr bwMode="auto">
              <a:xfrm>
                <a:off x="2920" y="700"/>
                <a:ext cx="18" cy="22"/>
              </a:xfrm>
              <a:custGeom>
                <a:avLst/>
                <a:gdLst>
                  <a:gd name="T0" fmla="*/ 2 w 18"/>
                  <a:gd name="T1" fmla="*/ 4 h 22"/>
                  <a:gd name="T2" fmla="*/ 2 w 18"/>
                  <a:gd name="T3" fmla="*/ 4 h 22"/>
                  <a:gd name="T4" fmla="*/ 8 w 18"/>
                  <a:gd name="T5" fmla="*/ 0 h 22"/>
                  <a:gd name="T6" fmla="*/ 8 w 18"/>
                  <a:gd name="T7" fmla="*/ 0 h 22"/>
                  <a:gd name="T8" fmla="*/ 18 w 18"/>
                  <a:gd name="T9" fmla="*/ 18 h 22"/>
                  <a:gd name="T10" fmla="*/ 18 w 18"/>
                  <a:gd name="T11" fmla="*/ 18 h 22"/>
                  <a:gd name="T12" fmla="*/ 18 w 18"/>
                  <a:gd name="T13" fmla="*/ 22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2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8"/>
                    </a:lnTo>
                    <a:lnTo>
                      <a:pt x="18" y="18"/>
                    </a:lnTo>
                    <a:lnTo>
                      <a:pt x="18" y="22"/>
                    </a:lnTo>
                    <a:lnTo>
                      <a:pt x="14" y="22"/>
                    </a:lnTo>
                    <a:lnTo>
                      <a:pt x="14" y="22"/>
                    </a:lnTo>
                    <a:lnTo>
                      <a:pt x="14" y="22"/>
                    </a:lnTo>
                    <a:lnTo>
                      <a:pt x="14" y="22"/>
                    </a:lnTo>
                    <a:lnTo>
                      <a:pt x="12" y="22"/>
                    </a:lnTo>
                    <a:lnTo>
                      <a:pt x="12" y="22"/>
                    </a:lnTo>
                    <a:lnTo>
                      <a:pt x="8" y="22"/>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2" name="Freeform 867"/>
              <p:cNvSpPr>
                <a:spLocks/>
              </p:cNvSpPr>
              <p:nvPr/>
            </p:nvSpPr>
            <p:spPr bwMode="auto">
              <a:xfrm>
                <a:off x="2916" y="650"/>
                <a:ext cx="12" cy="20"/>
              </a:xfrm>
              <a:custGeom>
                <a:avLst/>
                <a:gdLst>
                  <a:gd name="T0" fmla="*/ 8 w 12"/>
                  <a:gd name="T1" fmla="*/ 0 h 20"/>
                  <a:gd name="T2" fmla="*/ 8 w 12"/>
                  <a:gd name="T3" fmla="*/ 0 h 20"/>
                  <a:gd name="T4" fmla="*/ 8 w 12"/>
                  <a:gd name="T5" fmla="*/ 0 h 20"/>
                  <a:gd name="T6" fmla="*/ 8 w 12"/>
                  <a:gd name="T7" fmla="*/ 0 h 20"/>
                  <a:gd name="T8" fmla="*/ 6 w 12"/>
                  <a:gd name="T9" fmla="*/ 0 h 20"/>
                  <a:gd name="T10" fmla="*/ 6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4 w 12"/>
                  <a:gd name="T37" fmla="*/ 16 h 20"/>
                  <a:gd name="T38" fmla="*/ 4 w 12"/>
                  <a:gd name="T39" fmla="*/ 16 h 20"/>
                  <a:gd name="T40" fmla="*/ 4 w 12"/>
                  <a:gd name="T41" fmla="*/ 16 h 20"/>
                  <a:gd name="T42" fmla="*/ 4 w 12"/>
                  <a:gd name="T43" fmla="*/ 16 h 20"/>
                  <a:gd name="T44" fmla="*/ 4 w 12"/>
                  <a:gd name="T45" fmla="*/ 16 h 20"/>
                  <a:gd name="T46" fmla="*/ 4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0 w 12"/>
                  <a:gd name="T69" fmla="*/ 18 h 20"/>
                  <a:gd name="T70" fmla="*/ 10 w 12"/>
                  <a:gd name="T71" fmla="*/ 18 h 20"/>
                  <a:gd name="T72" fmla="*/ 10 w 12"/>
                  <a:gd name="T73" fmla="*/ 18 h 20"/>
                  <a:gd name="T74" fmla="*/ 6 w 12"/>
                  <a:gd name="T75" fmla="*/ 20 h 20"/>
                  <a:gd name="T76" fmla="*/ 6 w 12"/>
                  <a:gd name="T77" fmla="*/ 20 h 20"/>
                  <a:gd name="T78" fmla="*/ 4 w 12"/>
                  <a:gd name="T79" fmla="*/ 20 h 20"/>
                  <a:gd name="T80" fmla="*/ 4 w 12"/>
                  <a:gd name="T81" fmla="*/ 20 h 20"/>
                  <a:gd name="T82" fmla="*/ 4 w 12"/>
                  <a:gd name="T83" fmla="*/ 18 h 20"/>
                  <a:gd name="T84" fmla="*/ 4 w 12"/>
                  <a:gd name="T85" fmla="*/ 18 h 20"/>
                  <a:gd name="T86" fmla="*/ 0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6" y="0"/>
                    </a:lnTo>
                    <a:lnTo>
                      <a:pt x="6" y="0"/>
                    </a:lnTo>
                    <a:lnTo>
                      <a:pt x="8" y="0"/>
                    </a:lnTo>
                    <a:lnTo>
                      <a:pt x="8" y="0"/>
                    </a:lnTo>
                    <a:lnTo>
                      <a:pt x="8" y="0"/>
                    </a:lnTo>
                    <a:lnTo>
                      <a:pt x="8" y="0"/>
                    </a:lnTo>
                    <a:lnTo>
                      <a:pt x="6" y="2"/>
                    </a:lnTo>
                    <a:lnTo>
                      <a:pt x="6" y="2"/>
                    </a:lnTo>
                    <a:lnTo>
                      <a:pt x="4" y="12"/>
                    </a:lnTo>
                    <a:lnTo>
                      <a:pt x="4" y="12"/>
                    </a:lnTo>
                    <a:lnTo>
                      <a:pt x="4" y="16"/>
                    </a:lnTo>
                    <a:lnTo>
                      <a:pt x="4" y="16"/>
                    </a:lnTo>
                    <a:lnTo>
                      <a:pt x="4" y="16"/>
                    </a:lnTo>
                    <a:lnTo>
                      <a:pt x="4" y="16"/>
                    </a:lnTo>
                    <a:lnTo>
                      <a:pt x="4" y="16"/>
                    </a:lnTo>
                    <a:lnTo>
                      <a:pt x="4" y="16"/>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10" y="18"/>
                    </a:lnTo>
                    <a:lnTo>
                      <a:pt x="6" y="20"/>
                    </a:lnTo>
                    <a:lnTo>
                      <a:pt x="6" y="20"/>
                    </a:lnTo>
                    <a:lnTo>
                      <a:pt x="4" y="20"/>
                    </a:lnTo>
                    <a:lnTo>
                      <a:pt x="4" y="20"/>
                    </a:lnTo>
                    <a:lnTo>
                      <a:pt x="4" y="18"/>
                    </a:lnTo>
                    <a:lnTo>
                      <a:pt x="4" y="18"/>
                    </a:lnTo>
                    <a:lnTo>
                      <a:pt x="0"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3" name="Freeform 868"/>
              <p:cNvSpPr>
                <a:spLocks/>
              </p:cNvSpPr>
              <p:nvPr/>
            </p:nvSpPr>
            <p:spPr bwMode="auto">
              <a:xfrm>
                <a:off x="2928" y="604"/>
                <a:ext cx="172" cy="138"/>
              </a:xfrm>
              <a:custGeom>
                <a:avLst/>
                <a:gdLst>
                  <a:gd name="T0" fmla="*/ 74 w 172"/>
                  <a:gd name="T1" fmla="*/ 8 h 138"/>
                  <a:gd name="T2" fmla="*/ 100 w 172"/>
                  <a:gd name="T3" fmla="*/ 0 h 138"/>
                  <a:gd name="T4" fmla="*/ 130 w 172"/>
                  <a:gd name="T5" fmla="*/ 16 h 138"/>
                  <a:gd name="T6" fmla="*/ 136 w 172"/>
                  <a:gd name="T7" fmla="*/ 20 h 138"/>
                  <a:gd name="T8" fmla="*/ 134 w 172"/>
                  <a:gd name="T9" fmla="*/ 30 h 138"/>
                  <a:gd name="T10" fmla="*/ 140 w 172"/>
                  <a:gd name="T11" fmla="*/ 38 h 138"/>
                  <a:gd name="T12" fmla="*/ 144 w 172"/>
                  <a:gd name="T13" fmla="*/ 40 h 138"/>
                  <a:gd name="T14" fmla="*/ 132 w 172"/>
                  <a:gd name="T15" fmla="*/ 48 h 138"/>
                  <a:gd name="T16" fmla="*/ 138 w 172"/>
                  <a:gd name="T17" fmla="*/ 40 h 138"/>
                  <a:gd name="T18" fmla="*/ 138 w 172"/>
                  <a:gd name="T19" fmla="*/ 52 h 138"/>
                  <a:gd name="T20" fmla="*/ 144 w 172"/>
                  <a:gd name="T21" fmla="*/ 42 h 138"/>
                  <a:gd name="T22" fmla="*/ 144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80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0 w 172"/>
                  <a:gd name="T53" fmla="*/ 92 h 138"/>
                  <a:gd name="T54" fmla="*/ 86 w 172"/>
                  <a:gd name="T55" fmla="*/ 124 h 138"/>
                  <a:gd name="T56" fmla="*/ 72 w 172"/>
                  <a:gd name="T57" fmla="*/ 136 h 138"/>
                  <a:gd name="T58" fmla="*/ 62 w 172"/>
                  <a:gd name="T59" fmla="*/ 138 h 138"/>
                  <a:gd name="T60" fmla="*/ 54 w 172"/>
                  <a:gd name="T61" fmla="*/ 122 h 138"/>
                  <a:gd name="T62" fmla="*/ 64 w 172"/>
                  <a:gd name="T63" fmla="*/ 114 h 138"/>
                  <a:gd name="T64" fmla="*/ 62 w 172"/>
                  <a:gd name="T65" fmla="*/ 112 h 138"/>
                  <a:gd name="T66" fmla="*/ 52 w 172"/>
                  <a:gd name="T67" fmla="*/ 112 h 138"/>
                  <a:gd name="T68" fmla="*/ 40 w 172"/>
                  <a:gd name="T69" fmla="*/ 110 h 138"/>
                  <a:gd name="T70" fmla="*/ 40 w 172"/>
                  <a:gd name="T71" fmla="*/ 108 h 138"/>
                  <a:gd name="T72" fmla="*/ 38 w 172"/>
                  <a:gd name="T73" fmla="*/ 122 h 138"/>
                  <a:gd name="T74" fmla="*/ 32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2 w 172"/>
                  <a:gd name="T91" fmla="*/ 46 h 138"/>
                  <a:gd name="T92" fmla="*/ 26 w 172"/>
                  <a:gd name="T93" fmla="*/ 60 h 138"/>
                  <a:gd name="T94" fmla="*/ 34 w 172"/>
                  <a:gd name="T95" fmla="*/ 76 h 138"/>
                  <a:gd name="T96" fmla="*/ 34 w 172"/>
                  <a:gd name="T97" fmla="*/ 86 h 138"/>
                  <a:gd name="T98" fmla="*/ 50 w 172"/>
                  <a:gd name="T99" fmla="*/ 96 h 138"/>
                  <a:gd name="T100" fmla="*/ 58 w 172"/>
                  <a:gd name="T101" fmla="*/ 92 h 138"/>
                  <a:gd name="T102" fmla="*/ 80 w 172"/>
                  <a:gd name="T103" fmla="*/ 82 h 138"/>
                  <a:gd name="T104" fmla="*/ 82 w 172"/>
                  <a:gd name="T105" fmla="*/ 54 h 138"/>
                  <a:gd name="T106" fmla="*/ 78 w 172"/>
                  <a:gd name="T107" fmla="*/ 58 h 138"/>
                  <a:gd name="T108" fmla="*/ 76 w 172"/>
                  <a:gd name="T109" fmla="*/ 80 h 138"/>
                  <a:gd name="T110" fmla="*/ 58 w 172"/>
                  <a:gd name="T111" fmla="*/ 90 h 138"/>
                  <a:gd name="T112" fmla="*/ 44 w 172"/>
                  <a:gd name="T113" fmla="*/ 90 h 138"/>
                  <a:gd name="T114" fmla="*/ 38 w 172"/>
                  <a:gd name="T115" fmla="*/ 80 h 138"/>
                  <a:gd name="T116" fmla="*/ 46 w 172"/>
                  <a:gd name="T117" fmla="*/ 66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20"/>
                    </a:lnTo>
                    <a:lnTo>
                      <a:pt x="140" y="22"/>
                    </a:lnTo>
                    <a:lnTo>
                      <a:pt x="144" y="28"/>
                    </a:lnTo>
                    <a:lnTo>
                      <a:pt x="144" y="28"/>
                    </a:lnTo>
                    <a:lnTo>
                      <a:pt x="134" y="30"/>
                    </a:lnTo>
                    <a:lnTo>
                      <a:pt x="134" y="30"/>
                    </a:lnTo>
                    <a:lnTo>
                      <a:pt x="136" y="36"/>
                    </a:lnTo>
                    <a:lnTo>
                      <a:pt x="140" y="38"/>
                    </a:lnTo>
                    <a:lnTo>
                      <a:pt x="140" y="38"/>
                    </a:lnTo>
                    <a:lnTo>
                      <a:pt x="142" y="38"/>
                    </a:lnTo>
                    <a:lnTo>
                      <a:pt x="142" y="38"/>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8"/>
                    </a:lnTo>
                    <a:lnTo>
                      <a:pt x="148" y="38"/>
                    </a:lnTo>
                    <a:lnTo>
                      <a:pt x="148" y="38"/>
                    </a:lnTo>
                    <a:lnTo>
                      <a:pt x="148" y="34"/>
                    </a:lnTo>
                    <a:lnTo>
                      <a:pt x="150" y="34"/>
                    </a:lnTo>
                    <a:lnTo>
                      <a:pt x="150" y="34"/>
                    </a:lnTo>
                    <a:lnTo>
                      <a:pt x="154" y="30"/>
                    </a:lnTo>
                    <a:lnTo>
                      <a:pt x="160" y="26"/>
                    </a:lnTo>
                    <a:lnTo>
                      <a:pt x="160" y="26"/>
                    </a:lnTo>
                    <a:lnTo>
                      <a:pt x="162" y="24"/>
                    </a:lnTo>
                    <a:lnTo>
                      <a:pt x="162" y="24"/>
                    </a:lnTo>
                    <a:lnTo>
                      <a:pt x="166" y="26"/>
                    </a:lnTo>
                    <a:lnTo>
                      <a:pt x="166" y="26"/>
                    </a:lnTo>
                    <a:lnTo>
                      <a:pt x="170" y="38"/>
                    </a:lnTo>
                    <a:lnTo>
                      <a:pt x="170" y="38"/>
                    </a:lnTo>
                    <a:lnTo>
                      <a:pt x="172"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80"/>
                    </a:lnTo>
                    <a:lnTo>
                      <a:pt x="118" y="80"/>
                    </a:lnTo>
                    <a:lnTo>
                      <a:pt x="116" y="92"/>
                    </a:lnTo>
                    <a:lnTo>
                      <a:pt x="116" y="92"/>
                    </a:lnTo>
                    <a:lnTo>
                      <a:pt x="116" y="94"/>
                    </a:lnTo>
                    <a:lnTo>
                      <a:pt x="118" y="96"/>
                    </a:lnTo>
                    <a:lnTo>
                      <a:pt x="118" y="96"/>
                    </a:lnTo>
                    <a:lnTo>
                      <a:pt x="120" y="96"/>
                    </a:lnTo>
                    <a:lnTo>
                      <a:pt x="120" y="96"/>
                    </a:lnTo>
                    <a:lnTo>
                      <a:pt x="124" y="94"/>
                    </a:lnTo>
                    <a:lnTo>
                      <a:pt x="124" y="94"/>
                    </a:lnTo>
                    <a:lnTo>
                      <a:pt x="126" y="92"/>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8"/>
                    </a:lnTo>
                    <a:lnTo>
                      <a:pt x="112" y="94"/>
                    </a:lnTo>
                    <a:lnTo>
                      <a:pt x="112" y="94"/>
                    </a:lnTo>
                    <a:lnTo>
                      <a:pt x="102" y="88"/>
                    </a:lnTo>
                    <a:lnTo>
                      <a:pt x="92" y="84"/>
                    </a:lnTo>
                    <a:lnTo>
                      <a:pt x="92" y="84"/>
                    </a:lnTo>
                    <a:lnTo>
                      <a:pt x="98" y="90"/>
                    </a:lnTo>
                    <a:lnTo>
                      <a:pt x="98" y="90"/>
                    </a:lnTo>
                    <a:lnTo>
                      <a:pt x="100" y="92"/>
                    </a:lnTo>
                    <a:lnTo>
                      <a:pt x="100" y="92"/>
                    </a:lnTo>
                    <a:lnTo>
                      <a:pt x="96" y="110"/>
                    </a:lnTo>
                    <a:lnTo>
                      <a:pt x="92" y="118"/>
                    </a:lnTo>
                    <a:lnTo>
                      <a:pt x="86" y="124"/>
                    </a:lnTo>
                    <a:lnTo>
                      <a:pt x="86" y="124"/>
                    </a:lnTo>
                    <a:lnTo>
                      <a:pt x="76" y="132"/>
                    </a:lnTo>
                    <a:lnTo>
                      <a:pt x="76" y="132"/>
                    </a:lnTo>
                    <a:lnTo>
                      <a:pt x="72" y="136"/>
                    </a:lnTo>
                    <a:lnTo>
                      <a:pt x="72" y="136"/>
                    </a:lnTo>
                    <a:lnTo>
                      <a:pt x="70"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4" y="110"/>
                    </a:lnTo>
                    <a:lnTo>
                      <a:pt x="62" y="112"/>
                    </a:lnTo>
                    <a:lnTo>
                      <a:pt x="56" y="112"/>
                    </a:lnTo>
                    <a:lnTo>
                      <a:pt x="56" y="112"/>
                    </a:lnTo>
                    <a:lnTo>
                      <a:pt x="52" y="112"/>
                    </a:lnTo>
                    <a:lnTo>
                      <a:pt x="52" y="112"/>
                    </a:lnTo>
                    <a:lnTo>
                      <a:pt x="46" y="112"/>
                    </a:lnTo>
                    <a:lnTo>
                      <a:pt x="46" y="112"/>
                    </a:lnTo>
                    <a:lnTo>
                      <a:pt x="42" y="112"/>
                    </a:lnTo>
                    <a:lnTo>
                      <a:pt x="40" y="110"/>
                    </a:lnTo>
                    <a:lnTo>
                      <a:pt x="40" y="108"/>
                    </a:lnTo>
                    <a:lnTo>
                      <a:pt x="40" y="108"/>
                    </a:lnTo>
                    <a:lnTo>
                      <a:pt x="40" y="108"/>
                    </a:lnTo>
                    <a:lnTo>
                      <a:pt x="40" y="108"/>
                    </a:lnTo>
                    <a:lnTo>
                      <a:pt x="40" y="110"/>
                    </a:lnTo>
                    <a:lnTo>
                      <a:pt x="40" y="110"/>
                    </a:lnTo>
                    <a:lnTo>
                      <a:pt x="38" y="118"/>
                    </a:lnTo>
                    <a:lnTo>
                      <a:pt x="38" y="122"/>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4"/>
                    </a:lnTo>
                    <a:lnTo>
                      <a:pt x="0" y="84"/>
                    </a:lnTo>
                    <a:lnTo>
                      <a:pt x="0" y="74"/>
                    </a:lnTo>
                    <a:lnTo>
                      <a:pt x="0" y="74"/>
                    </a:lnTo>
                    <a:lnTo>
                      <a:pt x="2" y="66"/>
                    </a:lnTo>
                    <a:lnTo>
                      <a:pt x="6"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50" y="96"/>
                    </a:lnTo>
                    <a:lnTo>
                      <a:pt x="50"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4" y="82"/>
                    </a:lnTo>
                    <a:lnTo>
                      <a:pt x="74" y="82"/>
                    </a:lnTo>
                    <a:lnTo>
                      <a:pt x="66" y="86"/>
                    </a:lnTo>
                    <a:lnTo>
                      <a:pt x="58" y="90"/>
                    </a:lnTo>
                    <a:lnTo>
                      <a:pt x="58" y="90"/>
                    </a:lnTo>
                    <a:lnTo>
                      <a:pt x="48" y="92"/>
                    </a:lnTo>
                    <a:lnTo>
                      <a:pt x="48" y="92"/>
                    </a:lnTo>
                    <a:lnTo>
                      <a:pt x="44" y="90"/>
                    </a:lnTo>
                    <a:lnTo>
                      <a:pt x="40" y="86"/>
                    </a:lnTo>
                    <a:lnTo>
                      <a:pt x="40" y="86"/>
                    </a:lnTo>
                    <a:lnTo>
                      <a:pt x="38" y="84"/>
                    </a:lnTo>
                    <a:lnTo>
                      <a:pt x="38" y="80"/>
                    </a:lnTo>
                    <a:lnTo>
                      <a:pt x="38" y="80"/>
                    </a:lnTo>
                    <a:lnTo>
                      <a:pt x="42" y="72"/>
                    </a:lnTo>
                    <a:lnTo>
                      <a:pt x="42" y="72"/>
                    </a:lnTo>
                    <a:lnTo>
                      <a:pt x="46" y="66"/>
                    </a:lnTo>
                    <a:lnTo>
                      <a:pt x="46" y="66"/>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4" name="Freeform 869"/>
              <p:cNvSpPr>
                <a:spLocks/>
              </p:cNvSpPr>
              <p:nvPr/>
            </p:nvSpPr>
            <p:spPr bwMode="auto">
              <a:xfrm>
                <a:off x="2914" y="600"/>
                <a:ext cx="188" cy="146"/>
              </a:xfrm>
              <a:custGeom>
                <a:avLst/>
                <a:gdLst>
                  <a:gd name="T0" fmla="*/ 106 w 188"/>
                  <a:gd name="T1" fmla="*/ 2 h 146"/>
                  <a:gd name="T2" fmla="*/ 84 w 188"/>
                  <a:gd name="T3" fmla="*/ 12 h 146"/>
                  <a:gd name="T4" fmla="*/ 76 w 188"/>
                  <a:gd name="T5" fmla="*/ 20 h 146"/>
                  <a:gd name="T6" fmla="*/ 70 w 188"/>
                  <a:gd name="T7" fmla="*/ 24 h 146"/>
                  <a:gd name="T8" fmla="*/ 54 w 188"/>
                  <a:gd name="T9" fmla="*/ 32 h 146"/>
                  <a:gd name="T10" fmla="*/ 32 w 188"/>
                  <a:gd name="T11" fmla="*/ 40 h 146"/>
                  <a:gd name="T12" fmla="*/ 18 w 188"/>
                  <a:gd name="T13" fmla="*/ 56 h 146"/>
                  <a:gd name="T14" fmla="*/ 8 w 188"/>
                  <a:gd name="T15" fmla="*/ 64 h 146"/>
                  <a:gd name="T16" fmla="*/ 10 w 188"/>
                  <a:gd name="T17" fmla="*/ 56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8 h 146"/>
                  <a:gd name="T34" fmla="*/ 6 w 188"/>
                  <a:gd name="T35" fmla="*/ 118 h 146"/>
                  <a:gd name="T36" fmla="*/ 16 w 188"/>
                  <a:gd name="T37" fmla="*/ 124 h 146"/>
                  <a:gd name="T38" fmla="*/ 20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2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6 h 146"/>
                  <a:gd name="T92" fmla="*/ 174 w 188"/>
                  <a:gd name="T93" fmla="*/ 24 h 146"/>
                  <a:gd name="T94" fmla="*/ 166 w 188"/>
                  <a:gd name="T95" fmla="*/ 32 h 146"/>
                  <a:gd name="T96" fmla="*/ 164 w 188"/>
                  <a:gd name="T97" fmla="*/ 34 h 146"/>
                  <a:gd name="T98" fmla="*/ 156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2"/>
                    </a:lnTo>
                    <a:lnTo>
                      <a:pt x="98" y="4"/>
                    </a:lnTo>
                    <a:lnTo>
                      <a:pt x="90" y="8"/>
                    </a:lnTo>
                    <a:lnTo>
                      <a:pt x="84" y="12"/>
                    </a:lnTo>
                    <a:lnTo>
                      <a:pt x="84" y="12"/>
                    </a:lnTo>
                    <a:lnTo>
                      <a:pt x="80" y="18"/>
                    </a:lnTo>
                    <a:lnTo>
                      <a:pt x="76" y="20"/>
                    </a:lnTo>
                    <a:lnTo>
                      <a:pt x="72" y="22"/>
                    </a:lnTo>
                    <a:lnTo>
                      <a:pt x="72" y="22"/>
                    </a:lnTo>
                    <a:lnTo>
                      <a:pt x="70" y="24"/>
                    </a:lnTo>
                    <a:lnTo>
                      <a:pt x="70" y="24"/>
                    </a:lnTo>
                    <a:lnTo>
                      <a:pt x="62" y="30"/>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8"/>
                    </a:lnTo>
                    <a:lnTo>
                      <a:pt x="2" y="112"/>
                    </a:lnTo>
                    <a:lnTo>
                      <a:pt x="2" y="112"/>
                    </a:lnTo>
                    <a:lnTo>
                      <a:pt x="6" y="118"/>
                    </a:lnTo>
                    <a:lnTo>
                      <a:pt x="10" y="122"/>
                    </a:lnTo>
                    <a:lnTo>
                      <a:pt x="10" y="122"/>
                    </a:lnTo>
                    <a:lnTo>
                      <a:pt x="16" y="124"/>
                    </a:lnTo>
                    <a:lnTo>
                      <a:pt x="22" y="128"/>
                    </a:lnTo>
                    <a:lnTo>
                      <a:pt x="22" y="128"/>
                    </a:lnTo>
                    <a:lnTo>
                      <a:pt x="20" y="132"/>
                    </a:lnTo>
                    <a:lnTo>
                      <a:pt x="20" y="132"/>
                    </a:lnTo>
                    <a:lnTo>
                      <a:pt x="20" y="136"/>
                    </a:lnTo>
                    <a:lnTo>
                      <a:pt x="22" y="138"/>
                    </a:lnTo>
                    <a:lnTo>
                      <a:pt x="24" y="138"/>
                    </a:lnTo>
                    <a:lnTo>
                      <a:pt x="24" y="138"/>
                    </a:lnTo>
                    <a:lnTo>
                      <a:pt x="34" y="142"/>
                    </a:lnTo>
                    <a:lnTo>
                      <a:pt x="42" y="144"/>
                    </a:lnTo>
                    <a:lnTo>
                      <a:pt x="42" y="144"/>
                    </a:lnTo>
                    <a:lnTo>
                      <a:pt x="44" y="144"/>
                    </a:lnTo>
                    <a:lnTo>
                      <a:pt x="44" y="144"/>
                    </a:lnTo>
                    <a:lnTo>
                      <a:pt x="48" y="144"/>
                    </a:lnTo>
                    <a:lnTo>
                      <a:pt x="50"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6"/>
                    </a:lnTo>
                    <a:lnTo>
                      <a:pt x="88" y="142"/>
                    </a:lnTo>
                    <a:lnTo>
                      <a:pt x="88" y="142"/>
                    </a:lnTo>
                    <a:lnTo>
                      <a:pt x="98" y="134"/>
                    </a:lnTo>
                    <a:lnTo>
                      <a:pt x="98" y="134"/>
                    </a:lnTo>
                    <a:lnTo>
                      <a:pt x="100" y="132"/>
                    </a:lnTo>
                    <a:lnTo>
                      <a:pt x="100" y="132"/>
                    </a:lnTo>
                    <a:lnTo>
                      <a:pt x="116" y="134"/>
                    </a:lnTo>
                    <a:lnTo>
                      <a:pt x="116" y="134"/>
                    </a:lnTo>
                    <a:lnTo>
                      <a:pt x="120" y="132"/>
                    </a:lnTo>
                    <a:lnTo>
                      <a:pt x="122" y="132"/>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4" y="86"/>
                    </a:lnTo>
                    <a:lnTo>
                      <a:pt x="180" y="80"/>
                    </a:lnTo>
                    <a:lnTo>
                      <a:pt x="186" y="72"/>
                    </a:lnTo>
                    <a:lnTo>
                      <a:pt x="186" y="72"/>
                    </a:lnTo>
                    <a:lnTo>
                      <a:pt x="188" y="60"/>
                    </a:lnTo>
                    <a:lnTo>
                      <a:pt x="188" y="46"/>
                    </a:lnTo>
                    <a:lnTo>
                      <a:pt x="188" y="46"/>
                    </a:lnTo>
                    <a:lnTo>
                      <a:pt x="186" y="38"/>
                    </a:lnTo>
                    <a:lnTo>
                      <a:pt x="182" y="28"/>
                    </a:lnTo>
                    <a:lnTo>
                      <a:pt x="182" y="28"/>
                    </a:lnTo>
                    <a:lnTo>
                      <a:pt x="180" y="26"/>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5" name="Freeform 870"/>
              <p:cNvSpPr>
                <a:spLocks/>
              </p:cNvSpPr>
              <p:nvPr/>
            </p:nvSpPr>
            <p:spPr bwMode="auto">
              <a:xfrm>
                <a:off x="2920" y="700"/>
                <a:ext cx="18" cy="22"/>
              </a:xfrm>
              <a:custGeom>
                <a:avLst/>
                <a:gdLst>
                  <a:gd name="T0" fmla="*/ 8 w 18"/>
                  <a:gd name="T1" fmla="*/ 0 h 22"/>
                  <a:gd name="T2" fmla="*/ 8 w 18"/>
                  <a:gd name="T3" fmla="*/ 0 h 22"/>
                  <a:gd name="T4" fmla="*/ 2 w 18"/>
                  <a:gd name="T5" fmla="*/ 4 h 22"/>
                  <a:gd name="T6" fmla="*/ 2 w 18"/>
                  <a:gd name="T7" fmla="*/ 4 h 22"/>
                  <a:gd name="T8" fmla="*/ 2 w 18"/>
                  <a:gd name="T9" fmla="*/ 6 h 22"/>
                  <a:gd name="T10" fmla="*/ 2 w 18"/>
                  <a:gd name="T11" fmla="*/ 6 h 22"/>
                  <a:gd name="T12" fmla="*/ 0 w 18"/>
                  <a:gd name="T13" fmla="*/ 10 h 22"/>
                  <a:gd name="T14" fmla="*/ 0 w 18"/>
                  <a:gd name="T15" fmla="*/ 10 h 22"/>
                  <a:gd name="T16" fmla="*/ 0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2 h 22"/>
                  <a:gd name="T36" fmla="*/ 16 w 18"/>
                  <a:gd name="T37" fmla="*/ 18 h 22"/>
                  <a:gd name="T38" fmla="*/ 16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6"/>
                    </a:lnTo>
                    <a:lnTo>
                      <a:pt x="2" y="6"/>
                    </a:lnTo>
                    <a:lnTo>
                      <a:pt x="0" y="10"/>
                    </a:lnTo>
                    <a:lnTo>
                      <a:pt x="0" y="10"/>
                    </a:lnTo>
                    <a:lnTo>
                      <a:pt x="0" y="14"/>
                    </a:lnTo>
                    <a:lnTo>
                      <a:pt x="4" y="18"/>
                    </a:lnTo>
                    <a:lnTo>
                      <a:pt x="8" y="20"/>
                    </a:lnTo>
                    <a:lnTo>
                      <a:pt x="12" y="22"/>
                    </a:lnTo>
                    <a:lnTo>
                      <a:pt x="12" y="22"/>
                    </a:lnTo>
                    <a:lnTo>
                      <a:pt x="14" y="22"/>
                    </a:lnTo>
                    <a:lnTo>
                      <a:pt x="14" y="22"/>
                    </a:lnTo>
                    <a:lnTo>
                      <a:pt x="14" y="22"/>
                    </a:lnTo>
                    <a:lnTo>
                      <a:pt x="14" y="22"/>
                    </a:lnTo>
                    <a:lnTo>
                      <a:pt x="18" y="22"/>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6" name="Freeform 871"/>
              <p:cNvSpPr>
                <a:spLocks/>
              </p:cNvSpPr>
              <p:nvPr/>
            </p:nvSpPr>
            <p:spPr bwMode="auto">
              <a:xfrm>
                <a:off x="2920" y="700"/>
                <a:ext cx="18" cy="22"/>
              </a:xfrm>
              <a:custGeom>
                <a:avLst/>
                <a:gdLst>
                  <a:gd name="T0" fmla="*/ 8 w 18"/>
                  <a:gd name="T1" fmla="*/ 0 h 22"/>
                  <a:gd name="T2" fmla="*/ 8 w 18"/>
                  <a:gd name="T3" fmla="*/ 0 h 22"/>
                  <a:gd name="T4" fmla="*/ 2 w 18"/>
                  <a:gd name="T5" fmla="*/ 4 h 22"/>
                  <a:gd name="T6" fmla="*/ 2 w 18"/>
                  <a:gd name="T7" fmla="*/ 4 h 22"/>
                  <a:gd name="T8" fmla="*/ 2 w 18"/>
                  <a:gd name="T9" fmla="*/ 6 h 22"/>
                  <a:gd name="T10" fmla="*/ 2 w 18"/>
                  <a:gd name="T11" fmla="*/ 6 h 22"/>
                  <a:gd name="T12" fmla="*/ 0 w 18"/>
                  <a:gd name="T13" fmla="*/ 10 h 22"/>
                  <a:gd name="T14" fmla="*/ 0 w 18"/>
                  <a:gd name="T15" fmla="*/ 10 h 22"/>
                  <a:gd name="T16" fmla="*/ 0 w 18"/>
                  <a:gd name="T17" fmla="*/ 14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2 h 22"/>
                  <a:gd name="T36" fmla="*/ 16 w 18"/>
                  <a:gd name="T37" fmla="*/ 18 h 22"/>
                  <a:gd name="T38" fmla="*/ 16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6"/>
                    </a:lnTo>
                    <a:lnTo>
                      <a:pt x="2" y="6"/>
                    </a:lnTo>
                    <a:lnTo>
                      <a:pt x="0" y="10"/>
                    </a:lnTo>
                    <a:lnTo>
                      <a:pt x="0" y="10"/>
                    </a:lnTo>
                    <a:lnTo>
                      <a:pt x="0" y="14"/>
                    </a:lnTo>
                    <a:lnTo>
                      <a:pt x="4" y="18"/>
                    </a:lnTo>
                    <a:lnTo>
                      <a:pt x="8" y="20"/>
                    </a:lnTo>
                    <a:lnTo>
                      <a:pt x="12" y="22"/>
                    </a:lnTo>
                    <a:lnTo>
                      <a:pt x="12" y="22"/>
                    </a:lnTo>
                    <a:lnTo>
                      <a:pt x="14" y="22"/>
                    </a:lnTo>
                    <a:lnTo>
                      <a:pt x="14" y="22"/>
                    </a:lnTo>
                    <a:lnTo>
                      <a:pt x="14" y="22"/>
                    </a:lnTo>
                    <a:lnTo>
                      <a:pt x="14" y="22"/>
                    </a:lnTo>
                    <a:lnTo>
                      <a:pt x="18" y="22"/>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7" name="Freeform 872"/>
              <p:cNvSpPr>
                <a:spLocks/>
              </p:cNvSpPr>
              <p:nvPr/>
            </p:nvSpPr>
            <p:spPr bwMode="auto">
              <a:xfrm>
                <a:off x="2922" y="700"/>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8 h 22"/>
                  <a:gd name="T14" fmla="*/ 14 w 16"/>
                  <a:gd name="T15" fmla="*/ 18 h 22"/>
                  <a:gd name="T16" fmla="*/ 16 w 16"/>
                  <a:gd name="T17" fmla="*/ 22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2 h 22"/>
                  <a:gd name="T40" fmla="*/ 16 w 16"/>
                  <a:gd name="T41" fmla="*/ 18 h 22"/>
                  <a:gd name="T42" fmla="*/ 16 w 16"/>
                  <a:gd name="T43" fmla="*/ 18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8"/>
                    </a:lnTo>
                    <a:lnTo>
                      <a:pt x="14" y="18"/>
                    </a:lnTo>
                    <a:lnTo>
                      <a:pt x="16" y="22"/>
                    </a:lnTo>
                    <a:lnTo>
                      <a:pt x="12" y="22"/>
                    </a:lnTo>
                    <a:lnTo>
                      <a:pt x="12" y="22"/>
                    </a:lnTo>
                    <a:lnTo>
                      <a:pt x="12" y="22"/>
                    </a:lnTo>
                    <a:lnTo>
                      <a:pt x="12" y="22"/>
                    </a:lnTo>
                    <a:lnTo>
                      <a:pt x="10" y="22"/>
                    </a:lnTo>
                    <a:lnTo>
                      <a:pt x="10" y="22"/>
                    </a:lnTo>
                    <a:lnTo>
                      <a:pt x="12" y="22"/>
                    </a:lnTo>
                    <a:lnTo>
                      <a:pt x="12" y="22"/>
                    </a:lnTo>
                    <a:lnTo>
                      <a:pt x="12" y="22"/>
                    </a:lnTo>
                    <a:lnTo>
                      <a:pt x="12" y="22"/>
                    </a:lnTo>
                    <a:lnTo>
                      <a:pt x="16" y="22"/>
                    </a:lnTo>
                    <a:lnTo>
                      <a:pt x="16" y="18"/>
                    </a:lnTo>
                    <a:lnTo>
                      <a:pt x="16"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8" name="Freeform 873"/>
              <p:cNvSpPr>
                <a:spLocks/>
              </p:cNvSpPr>
              <p:nvPr/>
            </p:nvSpPr>
            <p:spPr bwMode="auto">
              <a:xfrm>
                <a:off x="2922" y="700"/>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8 h 22"/>
                  <a:gd name="T14" fmla="*/ 14 w 16"/>
                  <a:gd name="T15" fmla="*/ 18 h 22"/>
                  <a:gd name="T16" fmla="*/ 16 w 16"/>
                  <a:gd name="T17" fmla="*/ 22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2 h 22"/>
                  <a:gd name="T40" fmla="*/ 16 w 16"/>
                  <a:gd name="T41" fmla="*/ 18 h 22"/>
                  <a:gd name="T42" fmla="*/ 16 w 16"/>
                  <a:gd name="T43" fmla="*/ 18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8"/>
                    </a:lnTo>
                    <a:lnTo>
                      <a:pt x="14" y="18"/>
                    </a:lnTo>
                    <a:lnTo>
                      <a:pt x="16" y="22"/>
                    </a:lnTo>
                    <a:lnTo>
                      <a:pt x="12" y="22"/>
                    </a:lnTo>
                    <a:lnTo>
                      <a:pt x="12" y="22"/>
                    </a:lnTo>
                    <a:lnTo>
                      <a:pt x="12" y="22"/>
                    </a:lnTo>
                    <a:lnTo>
                      <a:pt x="12" y="22"/>
                    </a:lnTo>
                    <a:lnTo>
                      <a:pt x="10" y="22"/>
                    </a:lnTo>
                    <a:lnTo>
                      <a:pt x="10" y="22"/>
                    </a:lnTo>
                    <a:lnTo>
                      <a:pt x="12" y="22"/>
                    </a:lnTo>
                    <a:lnTo>
                      <a:pt x="12" y="22"/>
                    </a:lnTo>
                    <a:lnTo>
                      <a:pt x="12" y="22"/>
                    </a:lnTo>
                    <a:lnTo>
                      <a:pt x="12" y="22"/>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59" name="Freeform 874"/>
              <p:cNvSpPr>
                <a:spLocks/>
              </p:cNvSpPr>
              <p:nvPr/>
            </p:nvSpPr>
            <p:spPr bwMode="auto">
              <a:xfrm>
                <a:off x="3018" y="704"/>
                <a:ext cx="16" cy="26"/>
              </a:xfrm>
              <a:custGeom>
                <a:avLst/>
                <a:gdLst>
                  <a:gd name="T0" fmla="*/ 14 w 16"/>
                  <a:gd name="T1" fmla="*/ 0 h 26"/>
                  <a:gd name="T2" fmla="*/ 14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6"/>
                    </a:lnTo>
                    <a:lnTo>
                      <a:pt x="10" y="6"/>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0" name="Freeform 875"/>
              <p:cNvSpPr>
                <a:spLocks/>
              </p:cNvSpPr>
              <p:nvPr/>
            </p:nvSpPr>
            <p:spPr bwMode="auto">
              <a:xfrm>
                <a:off x="3018" y="704"/>
                <a:ext cx="16" cy="26"/>
              </a:xfrm>
              <a:custGeom>
                <a:avLst/>
                <a:gdLst>
                  <a:gd name="T0" fmla="*/ 14 w 16"/>
                  <a:gd name="T1" fmla="*/ 0 h 26"/>
                  <a:gd name="T2" fmla="*/ 14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6"/>
                    </a:lnTo>
                    <a:lnTo>
                      <a:pt x="10" y="6"/>
                    </a:lnTo>
                    <a:lnTo>
                      <a:pt x="0" y="26"/>
                    </a:lnTo>
                    <a:lnTo>
                      <a:pt x="0" y="26"/>
                    </a:lnTo>
                    <a:lnTo>
                      <a:pt x="0" y="26"/>
                    </a:lnTo>
                    <a:lnTo>
                      <a:pt x="0" y="26"/>
                    </a:lnTo>
                    <a:lnTo>
                      <a:pt x="6" y="26"/>
                    </a:lnTo>
                    <a:lnTo>
                      <a:pt x="6" y="26"/>
                    </a:lnTo>
                    <a:lnTo>
                      <a:pt x="10" y="26"/>
                    </a:lnTo>
                    <a:lnTo>
                      <a:pt x="1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1" name="Freeform 876"/>
              <p:cNvSpPr>
                <a:spLocks noEditPoints="1"/>
              </p:cNvSpPr>
              <p:nvPr/>
            </p:nvSpPr>
            <p:spPr bwMode="auto">
              <a:xfrm>
                <a:off x="3018" y="704"/>
                <a:ext cx="14" cy="26"/>
              </a:xfrm>
              <a:custGeom>
                <a:avLst/>
                <a:gdLst>
                  <a:gd name="T0" fmla="*/ 6 w 14"/>
                  <a:gd name="T1" fmla="*/ 26 h 26"/>
                  <a:gd name="T2" fmla="*/ 6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6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6 h 26"/>
                  <a:gd name="T36" fmla="*/ 10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6" y="26"/>
                    </a:moveTo>
                    <a:lnTo>
                      <a:pt x="6" y="26"/>
                    </a:lnTo>
                    <a:lnTo>
                      <a:pt x="10" y="26"/>
                    </a:lnTo>
                    <a:lnTo>
                      <a:pt x="10" y="26"/>
                    </a:lnTo>
                    <a:lnTo>
                      <a:pt x="10" y="26"/>
                    </a:lnTo>
                    <a:lnTo>
                      <a:pt x="10" y="26"/>
                    </a:lnTo>
                    <a:lnTo>
                      <a:pt x="10" y="26"/>
                    </a:lnTo>
                    <a:lnTo>
                      <a:pt x="10" y="26"/>
                    </a:lnTo>
                    <a:lnTo>
                      <a:pt x="6" y="26"/>
                    </a:lnTo>
                    <a:close/>
                    <a:moveTo>
                      <a:pt x="0" y="26"/>
                    </a:moveTo>
                    <a:lnTo>
                      <a:pt x="0" y="26"/>
                    </a:lnTo>
                    <a:lnTo>
                      <a:pt x="0" y="26"/>
                    </a:lnTo>
                    <a:lnTo>
                      <a:pt x="0" y="26"/>
                    </a:lnTo>
                    <a:lnTo>
                      <a:pt x="0" y="26"/>
                    </a:lnTo>
                    <a:lnTo>
                      <a:pt x="0" y="26"/>
                    </a:lnTo>
                    <a:close/>
                    <a:moveTo>
                      <a:pt x="14" y="0"/>
                    </a:moveTo>
                    <a:lnTo>
                      <a:pt x="14" y="0"/>
                    </a:lnTo>
                    <a:lnTo>
                      <a:pt x="10" y="6"/>
                    </a:lnTo>
                    <a:lnTo>
                      <a:pt x="10" y="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2" name="Freeform 877"/>
              <p:cNvSpPr>
                <a:spLocks/>
              </p:cNvSpPr>
              <p:nvPr/>
            </p:nvSpPr>
            <p:spPr bwMode="auto">
              <a:xfrm>
                <a:off x="3024" y="730"/>
                <a:ext cx="4" cy="0"/>
              </a:xfrm>
              <a:custGeom>
                <a:avLst/>
                <a:gdLst>
                  <a:gd name="T0" fmla="*/ 0 w 4"/>
                  <a:gd name="T1" fmla="*/ 0 w 4"/>
                  <a:gd name="T2" fmla="*/ 4 w 4"/>
                  <a:gd name="T3" fmla="*/ 4 w 4"/>
                  <a:gd name="T4" fmla="*/ 4 w 4"/>
                  <a:gd name="T5" fmla="*/ 4 w 4"/>
                  <a:gd name="T6" fmla="*/ 4 w 4"/>
                  <a:gd name="T7" fmla="*/ 4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3" name="Freeform 878"/>
              <p:cNvSpPr>
                <a:spLocks/>
              </p:cNvSpPr>
              <p:nvPr/>
            </p:nvSpPr>
            <p:spPr bwMode="auto">
              <a:xfrm>
                <a:off x="3018" y="73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4" name="Freeform 879"/>
              <p:cNvSpPr>
                <a:spLocks/>
              </p:cNvSpPr>
              <p:nvPr/>
            </p:nvSpPr>
            <p:spPr bwMode="auto">
              <a:xfrm>
                <a:off x="3028" y="704"/>
                <a:ext cx="4" cy="6"/>
              </a:xfrm>
              <a:custGeom>
                <a:avLst/>
                <a:gdLst>
                  <a:gd name="T0" fmla="*/ 4 w 4"/>
                  <a:gd name="T1" fmla="*/ 0 h 6"/>
                  <a:gd name="T2" fmla="*/ 4 w 4"/>
                  <a:gd name="T3" fmla="*/ 0 h 6"/>
                  <a:gd name="T4" fmla="*/ 0 w 4"/>
                  <a:gd name="T5" fmla="*/ 6 h 6"/>
                  <a:gd name="T6" fmla="*/ 0 w 4"/>
                  <a:gd name="T7" fmla="*/ 6 h 6"/>
                  <a:gd name="T8" fmla="*/ 4 w 4"/>
                  <a:gd name="T9" fmla="*/ 0 h 6"/>
                  <a:gd name="T10" fmla="*/ 4 w 4"/>
                  <a:gd name="T11" fmla="*/ 0 h 6"/>
                  <a:gd name="T12" fmla="*/ 4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0"/>
                    </a:moveTo>
                    <a:lnTo>
                      <a:pt x="4" y="0"/>
                    </a:lnTo>
                    <a:lnTo>
                      <a:pt x="0" y="6"/>
                    </a:lnTo>
                    <a:lnTo>
                      <a:pt x="0" y="6"/>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5" name="Freeform 880"/>
              <p:cNvSpPr>
                <a:spLocks/>
              </p:cNvSpPr>
              <p:nvPr/>
            </p:nvSpPr>
            <p:spPr bwMode="auto">
              <a:xfrm>
                <a:off x="2916"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18 h 20"/>
                  <a:gd name="T16" fmla="*/ 4 w 12"/>
                  <a:gd name="T17" fmla="*/ 18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0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4 w 12"/>
                  <a:gd name="T45" fmla="*/ 16 h 20"/>
                  <a:gd name="T46" fmla="*/ 4 w 12"/>
                  <a:gd name="T47" fmla="*/ 16 h 20"/>
                  <a:gd name="T48" fmla="*/ 4 w 12"/>
                  <a:gd name="T49" fmla="*/ 16 h 20"/>
                  <a:gd name="T50" fmla="*/ 4 w 12"/>
                  <a:gd name="T51" fmla="*/ 16 h 20"/>
                  <a:gd name="T52" fmla="*/ 4 w 12"/>
                  <a:gd name="T53" fmla="*/ 16 h 20"/>
                  <a:gd name="T54" fmla="*/ 4 w 12"/>
                  <a:gd name="T55" fmla="*/ 16 h 20"/>
                  <a:gd name="T56" fmla="*/ 4 w 12"/>
                  <a:gd name="T57" fmla="*/ 12 h 20"/>
                  <a:gd name="T58" fmla="*/ 4 w 12"/>
                  <a:gd name="T59" fmla="*/ 12 h 20"/>
                  <a:gd name="T60" fmla="*/ 6 w 12"/>
                  <a:gd name="T61" fmla="*/ 2 h 20"/>
                  <a:gd name="T62" fmla="*/ 6 w 12"/>
                  <a:gd name="T63" fmla="*/ 2 h 20"/>
                  <a:gd name="T64" fmla="*/ 6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6" y="0"/>
                    </a:moveTo>
                    <a:lnTo>
                      <a:pt x="6" y="0"/>
                    </a:lnTo>
                    <a:lnTo>
                      <a:pt x="6" y="0"/>
                    </a:lnTo>
                    <a:lnTo>
                      <a:pt x="6" y="0"/>
                    </a:lnTo>
                    <a:lnTo>
                      <a:pt x="0" y="6"/>
                    </a:lnTo>
                    <a:lnTo>
                      <a:pt x="0" y="6"/>
                    </a:lnTo>
                    <a:lnTo>
                      <a:pt x="0" y="12"/>
                    </a:lnTo>
                    <a:lnTo>
                      <a:pt x="4" y="18"/>
                    </a:lnTo>
                    <a:lnTo>
                      <a:pt x="4" y="18"/>
                    </a:lnTo>
                    <a:lnTo>
                      <a:pt x="4" y="20"/>
                    </a:lnTo>
                    <a:lnTo>
                      <a:pt x="4" y="20"/>
                    </a:lnTo>
                    <a:lnTo>
                      <a:pt x="6" y="20"/>
                    </a:lnTo>
                    <a:lnTo>
                      <a:pt x="6" y="20"/>
                    </a:lnTo>
                    <a:lnTo>
                      <a:pt x="10" y="18"/>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6"/>
                    </a:lnTo>
                    <a:lnTo>
                      <a:pt x="4" y="16"/>
                    </a:lnTo>
                    <a:lnTo>
                      <a:pt x="4" y="12"/>
                    </a:lnTo>
                    <a:lnTo>
                      <a:pt x="4"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6" name="Freeform 881"/>
              <p:cNvSpPr>
                <a:spLocks/>
              </p:cNvSpPr>
              <p:nvPr/>
            </p:nvSpPr>
            <p:spPr bwMode="auto">
              <a:xfrm>
                <a:off x="2916"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18 h 20"/>
                  <a:gd name="T16" fmla="*/ 4 w 12"/>
                  <a:gd name="T17" fmla="*/ 18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0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4 w 12"/>
                  <a:gd name="T45" fmla="*/ 16 h 20"/>
                  <a:gd name="T46" fmla="*/ 4 w 12"/>
                  <a:gd name="T47" fmla="*/ 16 h 20"/>
                  <a:gd name="T48" fmla="*/ 4 w 12"/>
                  <a:gd name="T49" fmla="*/ 16 h 20"/>
                  <a:gd name="T50" fmla="*/ 4 w 12"/>
                  <a:gd name="T51" fmla="*/ 16 h 20"/>
                  <a:gd name="T52" fmla="*/ 4 w 12"/>
                  <a:gd name="T53" fmla="*/ 16 h 20"/>
                  <a:gd name="T54" fmla="*/ 4 w 12"/>
                  <a:gd name="T55" fmla="*/ 16 h 20"/>
                  <a:gd name="T56" fmla="*/ 4 w 12"/>
                  <a:gd name="T57" fmla="*/ 12 h 20"/>
                  <a:gd name="T58" fmla="*/ 4 w 12"/>
                  <a:gd name="T59" fmla="*/ 12 h 20"/>
                  <a:gd name="T60" fmla="*/ 6 w 12"/>
                  <a:gd name="T61" fmla="*/ 2 h 20"/>
                  <a:gd name="T62" fmla="*/ 6 w 12"/>
                  <a:gd name="T63" fmla="*/ 2 h 20"/>
                  <a:gd name="T64" fmla="*/ 6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6" y="0"/>
                    </a:moveTo>
                    <a:lnTo>
                      <a:pt x="6" y="0"/>
                    </a:lnTo>
                    <a:lnTo>
                      <a:pt x="6" y="0"/>
                    </a:lnTo>
                    <a:lnTo>
                      <a:pt x="6" y="0"/>
                    </a:lnTo>
                    <a:lnTo>
                      <a:pt x="0" y="6"/>
                    </a:lnTo>
                    <a:lnTo>
                      <a:pt x="0" y="6"/>
                    </a:lnTo>
                    <a:lnTo>
                      <a:pt x="0" y="12"/>
                    </a:lnTo>
                    <a:lnTo>
                      <a:pt x="4" y="18"/>
                    </a:lnTo>
                    <a:lnTo>
                      <a:pt x="4" y="18"/>
                    </a:lnTo>
                    <a:lnTo>
                      <a:pt x="4" y="20"/>
                    </a:lnTo>
                    <a:lnTo>
                      <a:pt x="4" y="20"/>
                    </a:lnTo>
                    <a:lnTo>
                      <a:pt x="6" y="20"/>
                    </a:lnTo>
                    <a:lnTo>
                      <a:pt x="6" y="20"/>
                    </a:lnTo>
                    <a:lnTo>
                      <a:pt x="10" y="18"/>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4" y="16"/>
                    </a:lnTo>
                    <a:lnTo>
                      <a:pt x="4" y="16"/>
                    </a:lnTo>
                    <a:lnTo>
                      <a:pt x="4" y="12"/>
                    </a:lnTo>
                    <a:lnTo>
                      <a:pt x="4"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7" name="Freeform 882"/>
              <p:cNvSpPr>
                <a:spLocks noEditPoints="1"/>
              </p:cNvSpPr>
              <p:nvPr/>
            </p:nvSpPr>
            <p:spPr bwMode="auto">
              <a:xfrm>
                <a:off x="2920" y="650"/>
                <a:ext cx="8" cy="20"/>
              </a:xfrm>
              <a:custGeom>
                <a:avLst/>
                <a:gdLst>
                  <a:gd name="T0" fmla="*/ 0 w 8"/>
                  <a:gd name="T1" fmla="*/ 18 h 20"/>
                  <a:gd name="T2" fmla="*/ 0 w 8"/>
                  <a:gd name="T3" fmla="*/ 18 h 20"/>
                  <a:gd name="T4" fmla="*/ 0 w 8"/>
                  <a:gd name="T5" fmla="*/ 20 h 20"/>
                  <a:gd name="T6" fmla="*/ 0 w 8"/>
                  <a:gd name="T7" fmla="*/ 20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20 h 20"/>
                  <a:gd name="T22" fmla="*/ 0 w 8"/>
                  <a:gd name="T23" fmla="*/ 20 h 20"/>
                  <a:gd name="T24" fmla="*/ 0 w 8"/>
                  <a:gd name="T25" fmla="*/ 18 h 20"/>
                  <a:gd name="T26" fmla="*/ 0 w 8"/>
                  <a:gd name="T27" fmla="*/ 16 h 20"/>
                  <a:gd name="T28" fmla="*/ 0 w 8"/>
                  <a:gd name="T29" fmla="*/ 16 h 20"/>
                  <a:gd name="T30" fmla="*/ 0 w 8"/>
                  <a:gd name="T31" fmla="*/ 16 h 20"/>
                  <a:gd name="T32" fmla="*/ 0 w 8"/>
                  <a:gd name="T33" fmla="*/ 16 h 20"/>
                  <a:gd name="T34" fmla="*/ 0 w 8"/>
                  <a:gd name="T35" fmla="*/ 16 h 20"/>
                  <a:gd name="T36" fmla="*/ 0 w 8"/>
                  <a:gd name="T37" fmla="*/ 16 h 20"/>
                  <a:gd name="T38" fmla="*/ 0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0 w 8"/>
                  <a:gd name="T63" fmla="*/ 16 h 20"/>
                  <a:gd name="T64" fmla="*/ 0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0" y="20"/>
                    </a:lnTo>
                    <a:lnTo>
                      <a:pt x="0" y="20"/>
                    </a:lnTo>
                    <a:lnTo>
                      <a:pt x="2" y="20"/>
                    </a:lnTo>
                    <a:lnTo>
                      <a:pt x="2" y="20"/>
                    </a:lnTo>
                    <a:lnTo>
                      <a:pt x="6" y="18"/>
                    </a:lnTo>
                    <a:lnTo>
                      <a:pt x="6" y="18"/>
                    </a:lnTo>
                    <a:lnTo>
                      <a:pt x="2" y="20"/>
                    </a:lnTo>
                    <a:lnTo>
                      <a:pt x="2" y="20"/>
                    </a:lnTo>
                    <a:lnTo>
                      <a:pt x="0" y="20"/>
                    </a:lnTo>
                    <a:lnTo>
                      <a:pt x="0" y="20"/>
                    </a:lnTo>
                    <a:lnTo>
                      <a:pt x="0" y="18"/>
                    </a:lnTo>
                    <a:close/>
                    <a:moveTo>
                      <a:pt x="0" y="16"/>
                    </a:moveTo>
                    <a:lnTo>
                      <a:pt x="0" y="16"/>
                    </a:lnTo>
                    <a:lnTo>
                      <a:pt x="0" y="16"/>
                    </a:lnTo>
                    <a:lnTo>
                      <a:pt x="0" y="16"/>
                    </a:lnTo>
                    <a:lnTo>
                      <a:pt x="0" y="16"/>
                    </a:lnTo>
                    <a:lnTo>
                      <a:pt x="0" y="16"/>
                    </a:lnTo>
                    <a:lnTo>
                      <a:pt x="0"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0" y="16"/>
                    </a:lnTo>
                    <a:lnTo>
                      <a:pt x="0" y="16"/>
                    </a:lnTo>
                    <a:lnTo>
                      <a:pt x="0" y="12"/>
                    </a:lnTo>
                    <a:lnTo>
                      <a:pt x="0" y="12"/>
                    </a:lnTo>
                    <a:lnTo>
                      <a:pt x="2" y="2"/>
                    </a:lnTo>
                    <a:close/>
                    <a:moveTo>
                      <a:pt x="4" y="0"/>
                    </a:moveTo>
                    <a:lnTo>
                      <a:pt x="4" y="0"/>
                    </a:lnTo>
                    <a:lnTo>
                      <a:pt x="2" y="0"/>
                    </a:lnTo>
                    <a:lnTo>
                      <a:pt x="2" y="0"/>
                    </a:lnTo>
                    <a:lnTo>
                      <a:pt x="2" y="0"/>
                    </a:lnTo>
                    <a:lnTo>
                      <a:pt x="2" y="0"/>
                    </a:lnTo>
                    <a:lnTo>
                      <a:pt x="2" y="0"/>
                    </a:lnTo>
                    <a:lnTo>
                      <a:pt x="2"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8" name="Freeform 883"/>
              <p:cNvSpPr>
                <a:spLocks/>
              </p:cNvSpPr>
              <p:nvPr/>
            </p:nvSpPr>
            <p:spPr bwMode="auto">
              <a:xfrm>
                <a:off x="2920" y="668"/>
                <a:ext cx="6" cy="2"/>
              </a:xfrm>
              <a:custGeom>
                <a:avLst/>
                <a:gdLst>
                  <a:gd name="T0" fmla="*/ 0 w 6"/>
                  <a:gd name="T1" fmla="*/ 0 h 2"/>
                  <a:gd name="T2" fmla="*/ 0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2 h 2"/>
                  <a:gd name="T22" fmla="*/ 0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2"/>
                    </a:lnTo>
                    <a:lnTo>
                      <a:pt x="0" y="2"/>
                    </a:lnTo>
                    <a:lnTo>
                      <a:pt x="2" y="2"/>
                    </a:lnTo>
                    <a:lnTo>
                      <a:pt x="2" y="2"/>
                    </a:lnTo>
                    <a:lnTo>
                      <a:pt x="6" y="0"/>
                    </a:lnTo>
                    <a:lnTo>
                      <a:pt x="6" y="0"/>
                    </a:lnTo>
                    <a:lnTo>
                      <a:pt x="2" y="2"/>
                    </a:lnTo>
                    <a:lnTo>
                      <a:pt x="2"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69" name="Freeform 884"/>
              <p:cNvSpPr>
                <a:spLocks/>
              </p:cNvSpPr>
              <p:nvPr/>
            </p:nvSpPr>
            <p:spPr bwMode="auto">
              <a:xfrm>
                <a:off x="2920" y="66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0" name="Freeform 885"/>
              <p:cNvSpPr>
                <a:spLocks/>
              </p:cNvSpPr>
              <p:nvPr/>
            </p:nvSpPr>
            <p:spPr bwMode="auto">
              <a:xfrm>
                <a:off x="2926" y="664"/>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1" name="Freeform 886"/>
              <p:cNvSpPr>
                <a:spLocks/>
              </p:cNvSpPr>
              <p:nvPr/>
            </p:nvSpPr>
            <p:spPr bwMode="auto">
              <a:xfrm>
                <a:off x="2920" y="652"/>
                <a:ext cx="2" cy="14"/>
              </a:xfrm>
              <a:custGeom>
                <a:avLst/>
                <a:gdLst>
                  <a:gd name="T0" fmla="*/ 2 w 2"/>
                  <a:gd name="T1" fmla="*/ 0 h 14"/>
                  <a:gd name="T2" fmla="*/ 2 w 2"/>
                  <a:gd name="T3" fmla="*/ 0 h 14"/>
                  <a:gd name="T4" fmla="*/ 0 w 2"/>
                  <a:gd name="T5" fmla="*/ 10 h 14"/>
                  <a:gd name="T6" fmla="*/ 0 w 2"/>
                  <a:gd name="T7" fmla="*/ 10 h 14"/>
                  <a:gd name="T8" fmla="*/ 0 w 2"/>
                  <a:gd name="T9" fmla="*/ 14 h 14"/>
                  <a:gd name="T10" fmla="*/ 0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0" y="14"/>
                    </a:lnTo>
                    <a:lnTo>
                      <a:pt x="0"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2" name="Freeform 887"/>
              <p:cNvSpPr>
                <a:spLocks/>
              </p:cNvSpPr>
              <p:nvPr/>
            </p:nvSpPr>
            <p:spPr bwMode="auto">
              <a:xfrm>
                <a:off x="2922" y="650"/>
                <a:ext cx="2" cy="0"/>
              </a:xfrm>
              <a:custGeom>
                <a:avLst/>
                <a:gdLst>
                  <a:gd name="T0" fmla="*/ 2 w 2"/>
                  <a:gd name="T1" fmla="*/ 2 w 2"/>
                  <a:gd name="T2" fmla="*/ 0 w 2"/>
                  <a:gd name="T3" fmla="*/ 0 w 2"/>
                  <a:gd name="T4" fmla="*/ 0 w 2"/>
                  <a:gd name="T5" fmla="*/ 0 w 2"/>
                  <a:gd name="T6" fmla="*/ 0 w 2"/>
                  <a:gd name="T7" fmla="*/ 0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3" name="Freeform 888"/>
              <p:cNvSpPr>
                <a:spLocks noEditPoints="1"/>
              </p:cNvSpPr>
              <p:nvPr/>
            </p:nvSpPr>
            <p:spPr bwMode="auto">
              <a:xfrm>
                <a:off x="3030" y="640"/>
                <a:ext cx="20" cy="12"/>
              </a:xfrm>
              <a:custGeom>
                <a:avLst/>
                <a:gdLst>
                  <a:gd name="T0" fmla="*/ 8 w 20"/>
                  <a:gd name="T1" fmla="*/ 6 h 12"/>
                  <a:gd name="T2" fmla="*/ 8 w 20"/>
                  <a:gd name="T3" fmla="*/ 6 h 12"/>
                  <a:gd name="T4" fmla="*/ 8 w 20"/>
                  <a:gd name="T5" fmla="*/ 6 h 12"/>
                  <a:gd name="T6" fmla="*/ 8 w 20"/>
                  <a:gd name="T7" fmla="*/ 6 h 12"/>
                  <a:gd name="T8" fmla="*/ 10 w 20"/>
                  <a:gd name="T9" fmla="*/ 6 h 12"/>
                  <a:gd name="T10" fmla="*/ 10 w 20"/>
                  <a:gd name="T11" fmla="*/ 6 h 12"/>
                  <a:gd name="T12" fmla="*/ 12 w 20"/>
                  <a:gd name="T13" fmla="*/ 8 h 12"/>
                  <a:gd name="T14" fmla="*/ 12 w 20"/>
                  <a:gd name="T15" fmla="*/ 8 h 12"/>
                  <a:gd name="T16" fmla="*/ 12 w 20"/>
                  <a:gd name="T17" fmla="*/ 8 h 12"/>
                  <a:gd name="T18" fmla="*/ 12 w 20"/>
                  <a:gd name="T19" fmla="*/ 8 h 12"/>
                  <a:gd name="T20" fmla="*/ 12 w 20"/>
                  <a:gd name="T21" fmla="*/ 8 h 12"/>
                  <a:gd name="T22" fmla="*/ 12 w 20"/>
                  <a:gd name="T23" fmla="*/ 8 h 12"/>
                  <a:gd name="T24" fmla="*/ 8 w 20"/>
                  <a:gd name="T25" fmla="*/ 10 h 12"/>
                  <a:gd name="T26" fmla="*/ 8 w 20"/>
                  <a:gd name="T27" fmla="*/ 10 h 12"/>
                  <a:gd name="T28" fmla="*/ 8 w 20"/>
                  <a:gd name="T29" fmla="*/ 10 h 12"/>
                  <a:gd name="T30" fmla="*/ 8 w 20"/>
                  <a:gd name="T31" fmla="*/ 10 h 12"/>
                  <a:gd name="T32" fmla="*/ 8 w 20"/>
                  <a:gd name="T33" fmla="*/ 10 h 12"/>
                  <a:gd name="T34" fmla="*/ 6 w 20"/>
                  <a:gd name="T35" fmla="*/ 8 h 12"/>
                  <a:gd name="T36" fmla="*/ 6 w 20"/>
                  <a:gd name="T37" fmla="*/ 8 h 12"/>
                  <a:gd name="T38" fmla="*/ 8 w 20"/>
                  <a:gd name="T39" fmla="*/ 6 h 12"/>
                  <a:gd name="T40" fmla="*/ 8 w 20"/>
                  <a:gd name="T41" fmla="*/ 6 h 12"/>
                  <a:gd name="T42" fmla="*/ 8 w 20"/>
                  <a:gd name="T43" fmla="*/ 6 h 12"/>
                  <a:gd name="T44" fmla="*/ 14 w 20"/>
                  <a:gd name="T45" fmla="*/ 0 h 12"/>
                  <a:gd name="T46" fmla="*/ 14 w 20"/>
                  <a:gd name="T47" fmla="*/ 0 h 12"/>
                  <a:gd name="T48" fmla="*/ 6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6"/>
                    </a:move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lnTo>
                      <a:pt x="8" y="10"/>
                    </a:lnTo>
                    <a:lnTo>
                      <a:pt x="6" y="8"/>
                    </a:lnTo>
                    <a:lnTo>
                      <a:pt x="6" y="8"/>
                    </a:lnTo>
                    <a:lnTo>
                      <a:pt x="8" y="6"/>
                    </a:lnTo>
                    <a:lnTo>
                      <a:pt x="8" y="6"/>
                    </a:lnTo>
                    <a:lnTo>
                      <a:pt x="8" y="6"/>
                    </a:lnTo>
                    <a:close/>
                    <a:moveTo>
                      <a:pt x="14" y="0"/>
                    </a:moveTo>
                    <a:lnTo>
                      <a:pt x="14" y="0"/>
                    </a:lnTo>
                    <a:lnTo>
                      <a:pt x="6"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4" name="Freeform 889"/>
              <p:cNvSpPr>
                <a:spLocks/>
              </p:cNvSpPr>
              <p:nvPr/>
            </p:nvSpPr>
            <p:spPr bwMode="auto">
              <a:xfrm>
                <a:off x="3036" y="646"/>
                <a:ext cx="6" cy="4"/>
              </a:xfrm>
              <a:custGeom>
                <a:avLst/>
                <a:gdLst>
                  <a:gd name="T0" fmla="*/ 2 w 6"/>
                  <a:gd name="T1" fmla="*/ 0 h 4"/>
                  <a:gd name="T2" fmla="*/ 2 w 6"/>
                  <a:gd name="T3" fmla="*/ 0 h 4"/>
                  <a:gd name="T4" fmla="*/ 2 w 6"/>
                  <a:gd name="T5" fmla="*/ 0 h 4"/>
                  <a:gd name="T6" fmla="*/ 2 w 6"/>
                  <a:gd name="T7" fmla="*/ 0 h 4"/>
                  <a:gd name="T8" fmla="*/ 4 w 6"/>
                  <a:gd name="T9" fmla="*/ 0 h 4"/>
                  <a:gd name="T10" fmla="*/ 4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2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0"/>
                    </a:move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5" name="Freeform 890"/>
              <p:cNvSpPr>
                <a:spLocks/>
              </p:cNvSpPr>
              <p:nvPr/>
            </p:nvSpPr>
            <p:spPr bwMode="auto">
              <a:xfrm>
                <a:off x="3030" y="640"/>
                <a:ext cx="20" cy="12"/>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6" name="Freeform 891"/>
              <p:cNvSpPr>
                <a:spLocks/>
              </p:cNvSpPr>
              <p:nvPr/>
            </p:nvSpPr>
            <p:spPr bwMode="auto">
              <a:xfrm>
                <a:off x="2984" y="628"/>
                <a:ext cx="22" cy="20"/>
              </a:xfrm>
              <a:custGeom>
                <a:avLst/>
                <a:gdLst>
                  <a:gd name="T0" fmla="*/ 16 w 22"/>
                  <a:gd name="T1" fmla="*/ 0 h 20"/>
                  <a:gd name="T2" fmla="*/ 16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2 h 20"/>
                  <a:gd name="T30" fmla="*/ 22 w 22"/>
                  <a:gd name="T31" fmla="*/ 2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6"/>
                    </a:lnTo>
                    <a:lnTo>
                      <a:pt x="2" y="10"/>
                    </a:lnTo>
                    <a:lnTo>
                      <a:pt x="0" y="20"/>
                    </a:lnTo>
                    <a:lnTo>
                      <a:pt x="0" y="20"/>
                    </a:lnTo>
                    <a:lnTo>
                      <a:pt x="8" y="6"/>
                    </a:lnTo>
                    <a:lnTo>
                      <a:pt x="8" y="6"/>
                    </a:lnTo>
                    <a:lnTo>
                      <a:pt x="8" y="6"/>
                    </a:lnTo>
                    <a:lnTo>
                      <a:pt x="8" y="12"/>
                    </a:lnTo>
                    <a:lnTo>
                      <a:pt x="8" y="12"/>
                    </a:lnTo>
                    <a:lnTo>
                      <a:pt x="14" y="4"/>
                    </a:lnTo>
                    <a:lnTo>
                      <a:pt x="16" y="2"/>
                    </a:lnTo>
                    <a:lnTo>
                      <a:pt x="22" y="2"/>
                    </a:lnTo>
                    <a:lnTo>
                      <a:pt x="22" y="2"/>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7" name="Freeform 892"/>
              <p:cNvSpPr>
                <a:spLocks/>
              </p:cNvSpPr>
              <p:nvPr/>
            </p:nvSpPr>
            <p:spPr bwMode="auto">
              <a:xfrm>
                <a:off x="2984" y="628"/>
                <a:ext cx="22" cy="20"/>
              </a:xfrm>
              <a:custGeom>
                <a:avLst/>
                <a:gdLst>
                  <a:gd name="T0" fmla="*/ 16 w 22"/>
                  <a:gd name="T1" fmla="*/ 0 h 20"/>
                  <a:gd name="T2" fmla="*/ 16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2 h 20"/>
                  <a:gd name="T30" fmla="*/ 22 w 22"/>
                  <a:gd name="T31" fmla="*/ 2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6"/>
                    </a:lnTo>
                    <a:lnTo>
                      <a:pt x="2" y="10"/>
                    </a:lnTo>
                    <a:lnTo>
                      <a:pt x="0" y="20"/>
                    </a:lnTo>
                    <a:lnTo>
                      <a:pt x="0" y="20"/>
                    </a:lnTo>
                    <a:lnTo>
                      <a:pt x="8" y="6"/>
                    </a:lnTo>
                    <a:lnTo>
                      <a:pt x="8" y="6"/>
                    </a:lnTo>
                    <a:lnTo>
                      <a:pt x="8" y="6"/>
                    </a:lnTo>
                    <a:lnTo>
                      <a:pt x="8" y="12"/>
                    </a:lnTo>
                    <a:lnTo>
                      <a:pt x="8" y="12"/>
                    </a:lnTo>
                    <a:lnTo>
                      <a:pt x="14" y="4"/>
                    </a:lnTo>
                    <a:lnTo>
                      <a:pt x="16" y="2"/>
                    </a:lnTo>
                    <a:lnTo>
                      <a:pt x="22" y="2"/>
                    </a:lnTo>
                    <a:lnTo>
                      <a:pt x="22" y="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8" name="Freeform 893"/>
              <p:cNvSpPr>
                <a:spLocks/>
              </p:cNvSpPr>
              <p:nvPr/>
            </p:nvSpPr>
            <p:spPr bwMode="auto">
              <a:xfrm>
                <a:off x="3080" y="632"/>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79" name="Freeform 894"/>
              <p:cNvSpPr>
                <a:spLocks/>
              </p:cNvSpPr>
              <p:nvPr/>
            </p:nvSpPr>
            <p:spPr bwMode="auto">
              <a:xfrm>
                <a:off x="3080" y="632"/>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0" name="Freeform 895"/>
              <p:cNvSpPr>
                <a:spLocks/>
              </p:cNvSpPr>
              <p:nvPr/>
            </p:nvSpPr>
            <p:spPr bwMode="auto">
              <a:xfrm>
                <a:off x="3026"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1" name="Freeform 896"/>
              <p:cNvSpPr>
                <a:spLocks/>
              </p:cNvSpPr>
              <p:nvPr/>
            </p:nvSpPr>
            <p:spPr bwMode="auto">
              <a:xfrm>
                <a:off x="3026"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2" name="Freeform 897"/>
              <p:cNvSpPr>
                <a:spLocks/>
              </p:cNvSpPr>
              <p:nvPr/>
            </p:nvSpPr>
            <p:spPr bwMode="auto">
              <a:xfrm>
                <a:off x="3040" y="678"/>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3" name="Freeform 898"/>
              <p:cNvSpPr>
                <a:spLocks/>
              </p:cNvSpPr>
              <p:nvPr/>
            </p:nvSpPr>
            <p:spPr bwMode="auto">
              <a:xfrm>
                <a:off x="3040" y="678"/>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4" name="Freeform 899"/>
              <p:cNvSpPr>
                <a:spLocks/>
              </p:cNvSpPr>
              <p:nvPr/>
            </p:nvSpPr>
            <p:spPr bwMode="auto">
              <a:xfrm>
                <a:off x="3036"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5" name="Freeform 900"/>
              <p:cNvSpPr>
                <a:spLocks/>
              </p:cNvSpPr>
              <p:nvPr/>
            </p:nvSpPr>
            <p:spPr bwMode="auto">
              <a:xfrm>
                <a:off x="3036"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6" name="Freeform 901"/>
              <p:cNvSpPr>
                <a:spLocks noEditPoints="1"/>
              </p:cNvSpPr>
              <p:nvPr/>
            </p:nvSpPr>
            <p:spPr bwMode="auto">
              <a:xfrm>
                <a:off x="3038" y="646"/>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7" name="Freeform 902"/>
              <p:cNvSpPr>
                <a:spLocks/>
              </p:cNvSpPr>
              <p:nvPr/>
            </p:nvSpPr>
            <p:spPr bwMode="auto">
              <a:xfrm>
                <a:off x="3038" y="648"/>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8" name="Freeform 903"/>
              <p:cNvSpPr>
                <a:spLocks/>
              </p:cNvSpPr>
              <p:nvPr/>
            </p:nvSpPr>
            <p:spPr bwMode="auto">
              <a:xfrm>
                <a:off x="3038" y="646"/>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89" name="Freeform 904"/>
              <p:cNvSpPr>
                <a:spLocks/>
              </p:cNvSpPr>
              <p:nvPr/>
            </p:nvSpPr>
            <p:spPr bwMode="auto">
              <a:xfrm>
                <a:off x="210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0" name="Freeform 905"/>
              <p:cNvSpPr>
                <a:spLocks/>
              </p:cNvSpPr>
              <p:nvPr/>
            </p:nvSpPr>
            <p:spPr bwMode="auto">
              <a:xfrm>
                <a:off x="2194"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1" name="Freeform 906"/>
              <p:cNvSpPr>
                <a:spLocks/>
              </p:cNvSpPr>
              <p:nvPr/>
            </p:nvSpPr>
            <p:spPr bwMode="auto">
              <a:xfrm>
                <a:off x="2288"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2" name="Freeform 907"/>
              <p:cNvSpPr>
                <a:spLocks/>
              </p:cNvSpPr>
              <p:nvPr/>
            </p:nvSpPr>
            <p:spPr bwMode="auto">
              <a:xfrm>
                <a:off x="2604" y="414"/>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3" name="Freeform 908"/>
              <p:cNvSpPr>
                <a:spLocks/>
              </p:cNvSpPr>
              <p:nvPr/>
            </p:nvSpPr>
            <p:spPr bwMode="auto">
              <a:xfrm>
                <a:off x="2604" y="414"/>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4" name="Freeform 909"/>
              <p:cNvSpPr>
                <a:spLocks/>
              </p:cNvSpPr>
              <p:nvPr/>
            </p:nvSpPr>
            <p:spPr bwMode="auto">
              <a:xfrm>
                <a:off x="2666" y="414"/>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5" name="Freeform 910"/>
              <p:cNvSpPr>
                <a:spLocks/>
              </p:cNvSpPr>
              <p:nvPr/>
            </p:nvSpPr>
            <p:spPr bwMode="auto">
              <a:xfrm>
                <a:off x="2666" y="414"/>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6" name="Freeform 911"/>
              <p:cNvSpPr>
                <a:spLocks/>
              </p:cNvSpPr>
              <p:nvPr/>
            </p:nvSpPr>
            <p:spPr bwMode="auto">
              <a:xfrm>
                <a:off x="275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7" name="Freeform 912"/>
              <p:cNvSpPr>
                <a:spLocks/>
              </p:cNvSpPr>
              <p:nvPr/>
            </p:nvSpPr>
            <p:spPr bwMode="auto">
              <a:xfrm>
                <a:off x="284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8" name="Freeform 913"/>
              <p:cNvSpPr>
                <a:spLocks/>
              </p:cNvSpPr>
              <p:nvPr/>
            </p:nvSpPr>
            <p:spPr bwMode="auto">
              <a:xfrm>
                <a:off x="2936"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099" name="Freeform 914"/>
              <p:cNvSpPr>
                <a:spLocks noEditPoints="1"/>
              </p:cNvSpPr>
              <p:nvPr/>
            </p:nvSpPr>
            <p:spPr bwMode="auto">
              <a:xfrm>
                <a:off x="2378" y="412"/>
                <a:ext cx="188" cy="146"/>
              </a:xfrm>
              <a:custGeom>
                <a:avLst/>
                <a:gdLst>
                  <a:gd name="T0" fmla="*/ 120 w 188"/>
                  <a:gd name="T1" fmla="*/ 128 h 146"/>
                  <a:gd name="T2" fmla="*/ 110 w 188"/>
                  <a:gd name="T3" fmla="*/ 130 h 146"/>
                  <a:gd name="T4" fmla="*/ 114 w 188"/>
                  <a:gd name="T5" fmla="*/ 110 h 146"/>
                  <a:gd name="T6" fmla="*/ 14 w 188"/>
                  <a:gd name="T7" fmla="*/ 100 h 146"/>
                  <a:gd name="T8" fmla="*/ 18 w 188"/>
                  <a:gd name="T9" fmla="*/ 122 h 146"/>
                  <a:gd name="T10" fmla="*/ 6 w 188"/>
                  <a:gd name="T11" fmla="*/ 106 h 146"/>
                  <a:gd name="T12" fmla="*/ 6 w 188"/>
                  <a:gd name="T13" fmla="*/ 66 h 146"/>
                  <a:gd name="T14" fmla="*/ 14 w 188"/>
                  <a:gd name="T15" fmla="*/ 64 h 146"/>
                  <a:gd name="T16" fmla="*/ 8 w 188"/>
                  <a:gd name="T17" fmla="*/ 70 h 146"/>
                  <a:gd name="T18" fmla="*/ 6 w 188"/>
                  <a:gd name="T19" fmla="*/ 50 h 146"/>
                  <a:gd name="T20" fmla="*/ 82 w 188"/>
                  <a:gd name="T21" fmla="*/ 20 h 146"/>
                  <a:gd name="T22" fmla="*/ 128 w 188"/>
                  <a:gd name="T23" fmla="*/ 8 h 146"/>
                  <a:gd name="T24" fmla="*/ 158 w 188"/>
                  <a:gd name="T25" fmla="*/ 32 h 146"/>
                  <a:gd name="T26" fmla="*/ 156 w 188"/>
                  <a:gd name="T27" fmla="*/ 40 h 146"/>
                  <a:gd name="T28" fmla="*/ 148 w 188"/>
                  <a:gd name="T29" fmla="*/ 48 h 146"/>
                  <a:gd name="T30" fmla="*/ 156 w 188"/>
                  <a:gd name="T31" fmla="*/ 48 h 146"/>
                  <a:gd name="T32" fmla="*/ 160 w 188"/>
                  <a:gd name="T33" fmla="*/ 42 h 146"/>
                  <a:gd name="T34" fmla="*/ 176 w 188"/>
                  <a:gd name="T35" fmla="*/ 28 h 146"/>
                  <a:gd name="T36" fmla="*/ 182 w 188"/>
                  <a:gd name="T37" fmla="*/ 70 h 146"/>
                  <a:gd name="T38" fmla="*/ 150 w 188"/>
                  <a:gd name="T39" fmla="*/ 88 h 146"/>
                  <a:gd name="T40" fmla="*/ 132 w 188"/>
                  <a:gd name="T41" fmla="*/ 100 h 146"/>
                  <a:gd name="T42" fmla="*/ 144 w 188"/>
                  <a:gd name="T43" fmla="*/ 90 h 146"/>
                  <a:gd name="T44" fmla="*/ 132 w 188"/>
                  <a:gd name="T45" fmla="*/ 102 h 146"/>
                  <a:gd name="T46" fmla="*/ 112 w 188"/>
                  <a:gd name="T47" fmla="*/ 92 h 146"/>
                  <a:gd name="T48" fmla="*/ 90 w 188"/>
                  <a:gd name="T49" fmla="*/ 136 h 146"/>
                  <a:gd name="T50" fmla="*/ 68 w 188"/>
                  <a:gd name="T51" fmla="*/ 128 h 146"/>
                  <a:gd name="T52" fmla="*/ 78 w 188"/>
                  <a:gd name="T53" fmla="*/ 110 h 146"/>
                  <a:gd name="T54" fmla="*/ 60 w 188"/>
                  <a:gd name="T55" fmla="*/ 116 h 146"/>
                  <a:gd name="T56" fmla="*/ 52 w 188"/>
                  <a:gd name="T57" fmla="*/ 114 h 146"/>
                  <a:gd name="T58" fmla="*/ 44 w 188"/>
                  <a:gd name="T59" fmla="*/ 140 h 146"/>
                  <a:gd name="T60" fmla="*/ 26 w 188"/>
                  <a:gd name="T61" fmla="*/ 122 h 146"/>
                  <a:gd name="T62" fmla="*/ 14 w 188"/>
                  <a:gd name="T63" fmla="*/ 78 h 146"/>
                  <a:gd name="T64" fmla="*/ 56 w 188"/>
                  <a:gd name="T65" fmla="*/ 34 h 146"/>
                  <a:gd name="T66" fmla="*/ 40 w 188"/>
                  <a:gd name="T67" fmla="*/ 60 h 146"/>
                  <a:gd name="T68" fmla="*/ 48 w 188"/>
                  <a:gd name="T69" fmla="*/ 86 h 146"/>
                  <a:gd name="T70" fmla="*/ 72 w 188"/>
                  <a:gd name="T71" fmla="*/ 96 h 146"/>
                  <a:gd name="T72" fmla="*/ 96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4 h 146"/>
                  <a:gd name="T88" fmla="*/ 16 w 188"/>
                  <a:gd name="T89" fmla="*/ 56 h 146"/>
                  <a:gd name="T90" fmla="*/ 14 w 188"/>
                  <a:gd name="T91" fmla="*/ 56 h 146"/>
                  <a:gd name="T92" fmla="*/ 0 w 188"/>
                  <a:gd name="T93" fmla="*/ 58 h 146"/>
                  <a:gd name="T94" fmla="*/ 10 w 188"/>
                  <a:gd name="T95" fmla="*/ 84 h 146"/>
                  <a:gd name="T96" fmla="*/ 2 w 188"/>
                  <a:gd name="T97" fmla="*/ 112 h 146"/>
                  <a:gd name="T98" fmla="*/ 20 w 188"/>
                  <a:gd name="T99" fmla="*/ 132 h 146"/>
                  <a:gd name="T100" fmla="*/ 42 w 188"/>
                  <a:gd name="T101" fmla="*/ 144 h 146"/>
                  <a:gd name="T102" fmla="*/ 50 w 188"/>
                  <a:gd name="T103" fmla="*/ 132 h 146"/>
                  <a:gd name="T104" fmla="*/ 74 w 188"/>
                  <a:gd name="T105" fmla="*/ 144 h 146"/>
                  <a:gd name="T106" fmla="*/ 96 w 188"/>
                  <a:gd name="T107" fmla="*/ 134 h 146"/>
                  <a:gd name="T108" fmla="*/ 124 w 188"/>
                  <a:gd name="T109" fmla="*/ 128 h 146"/>
                  <a:gd name="T110" fmla="*/ 116 w 188"/>
                  <a:gd name="T111" fmla="*/ 96 h 146"/>
                  <a:gd name="T112" fmla="*/ 140 w 188"/>
                  <a:gd name="T113" fmla="*/ 102 h 146"/>
                  <a:gd name="T114" fmla="*/ 154 w 188"/>
                  <a:gd name="T115" fmla="*/ 92 h 146"/>
                  <a:gd name="T116" fmla="*/ 188 w 188"/>
                  <a:gd name="T117" fmla="*/ 60 h 146"/>
                  <a:gd name="T118" fmla="*/ 176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4" y="130"/>
                    </a:lnTo>
                    <a:lnTo>
                      <a:pt x="104" y="130"/>
                    </a:lnTo>
                    <a:lnTo>
                      <a:pt x="104"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6" y="62"/>
                    </a:lnTo>
                    <a:lnTo>
                      <a:pt x="6" y="62"/>
                    </a:lnTo>
                    <a:lnTo>
                      <a:pt x="6" y="66"/>
                    </a:lnTo>
                    <a:lnTo>
                      <a:pt x="6" y="66"/>
                    </a:lnTo>
                    <a:lnTo>
                      <a:pt x="8" y="66"/>
                    </a:lnTo>
                    <a:lnTo>
                      <a:pt x="8" y="66"/>
                    </a:lnTo>
                    <a:lnTo>
                      <a:pt x="10" y="66"/>
                    </a:lnTo>
                    <a:lnTo>
                      <a:pt x="10" y="66"/>
                    </a:lnTo>
                    <a:lnTo>
                      <a:pt x="14" y="64"/>
                    </a:lnTo>
                    <a:lnTo>
                      <a:pt x="14" y="64"/>
                    </a:lnTo>
                    <a:lnTo>
                      <a:pt x="14" y="64"/>
                    </a:lnTo>
                    <a:lnTo>
                      <a:pt x="14" y="64"/>
                    </a:lnTo>
                    <a:lnTo>
                      <a:pt x="14" y="64"/>
                    </a:lnTo>
                    <a:lnTo>
                      <a:pt x="14" y="64"/>
                    </a:lnTo>
                    <a:lnTo>
                      <a:pt x="12" y="68"/>
                    </a:lnTo>
                    <a:lnTo>
                      <a:pt x="8" y="70"/>
                    </a:lnTo>
                    <a:lnTo>
                      <a:pt x="8" y="70"/>
                    </a:lnTo>
                    <a:lnTo>
                      <a:pt x="8" y="70"/>
                    </a:lnTo>
                    <a:lnTo>
                      <a:pt x="8" y="70"/>
                    </a:lnTo>
                    <a:lnTo>
                      <a:pt x="6" y="68"/>
                    </a:lnTo>
                    <a:lnTo>
                      <a:pt x="6" y="68"/>
                    </a:lnTo>
                    <a:lnTo>
                      <a:pt x="4" y="66"/>
                    </a:lnTo>
                    <a:lnTo>
                      <a:pt x="2" y="62"/>
                    </a:lnTo>
                    <a:lnTo>
                      <a:pt x="2" y="58"/>
                    </a:lnTo>
                    <a:lnTo>
                      <a:pt x="2" y="54"/>
                    </a:lnTo>
                    <a:lnTo>
                      <a:pt x="2" y="54"/>
                    </a:lnTo>
                    <a:lnTo>
                      <a:pt x="6" y="50"/>
                    </a:lnTo>
                    <a:lnTo>
                      <a:pt x="6" y="50"/>
                    </a:lnTo>
                    <a:lnTo>
                      <a:pt x="8" y="50"/>
                    </a:lnTo>
                    <a:lnTo>
                      <a:pt x="8" y="50"/>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4"/>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6"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0" name="Freeform 915"/>
              <p:cNvSpPr>
                <a:spLocks/>
              </p:cNvSpPr>
              <p:nvPr/>
            </p:nvSpPr>
            <p:spPr bwMode="auto">
              <a:xfrm>
                <a:off x="2480" y="516"/>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2 w 18"/>
                  <a:gd name="T37" fmla="*/ 26 h 26"/>
                  <a:gd name="T38" fmla="*/ 2 w 18"/>
                  <a:gd name="T39" fmla="*/ 26 h 26"/>
                  <a:gd name="T40" fmla="*/ 2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2" y="26"/>
                    </a:lnTo>
                    <a:lnTo>
                      <a:pt x="2" y="26"/>
                    </a:lnTo>
                    <a:lnTo>
                      <a:pt x="2"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1" name="Freeform 916"/>
              <p:cNvSpPr>
                <a:spLocks/>
              </p:cNvSpPr>
              <p:nvPr/>
            </p:nvSpPr>
            <p:spPr bwMode="auto">
              <a:xfrm>
                <a:off x="2382" y="512"/>
                <a:ext cx="18" cy="22"/>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2" name="Freeform 917"/>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4 w 12"/>
                  <a:gd name="T9" fmla="*/ 12 h 20"/>
                  <a:gd name="T10" fmla="*/ 4 w 12"/>
                  <a:gd name="T11" fmla="*/ 12 h 20"/>
                  <a:gd name="T12" fmla="*/ 4 w 12"/>
                  <a:gd name="T13" fmla="*/ 16 h 20"/>
                  <a:gd name="T14" fmla="*/ 4 w 12"/>
                  <a:gd name="T15" fmla="*/ 16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6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6" y="0"/>
                    </a:moveTo>
                    <a:lnTo>
                      <a:pt x="6" y="0"/>
                    </a:lnTo>
                    <a:lnTo>
                      <a:pt x="6" y="0"/>
                    </a:lnTo>
                    <a:lnTo>
                      <a:pt x="6" y="0"/>
                    </a:lnTo>
                    <a:lnTo>
                      <a:pt x="4" y="12"/>
                    </a:lnTo>
                    <a:lnTo>
                      <a:pt x="4" y="12"/>
                    </a:lnTo>
                    <a:lnTo>
                      <a:pt x="4" y="16"/>
                    </a:lnTo>
                    <a:lnTo>
                      <a:pt x="4" y="16"/>
                    </a:lnTo>
                    <a:lnTo>
                      <a:pt x="6" y="16"/>
                    </a:lnTo>
                    <a:lnTo>
                      <a:pt x="6" y="16"/>
                    </a:lnTo>
                    <a:lnTo>
                      <a:pt x="8" y="16"/>
                    </a:lnTo>
                    <a:lnTo>
                      <a:pt x="8" y="16"/>
                    </a:lnTo>
                    <a:lnTo>
                      <a:pt x="12" y="14"/>
                    </a:lnTo>
                    <a:lnTo>
                      <a:pt x="12" y="14"/>
                    </a:lnTo>
                    <a:lnTo>
                      <a:pt x="12" y="14"/>
                    </a:lnTo>
                    <a:lnTo>
                      <a:pt x="12" y="14"/>
                    </a:lnTo>
                    <a:lnTo>
                      <a:pt x="12" y="14"/>
                    </a:lnTo>
                    <a:lnTo>
                      <a:pt x="12" y="14"/>
                    </a:lnTo>
                    <a:lnTo>
                      <a:pt x="10" y="18"/>
                    </a:lnTo>
                    <a:lnTo>
                      <a:pt x="6" y="20"/>
                    </a:lnTo>
                    <a:lnTo>
                      <a:pt x="6" y="20"/>
                    </a:lnTo>
                    <a:lnTo>
                      <a:pt x="6" y="20"/>
                    </a:lnTo>
                    <a:lnTo>
                      <a:pt x="6" y="20"/>
                    </a:lnTo>
                    <a:lnTo>
                      <a:pt x="4" y="18"/>
                    </a:lnTo>
                    <a:lnTo>
                      <a:pt x="4" y="18"/>
                    </a:lnTo>
                    <a:lnTo>
                      <a:pt x="2" y="16"/>
                    </a:lnTo>
                    <a:lnTo>
                      <a:pt x="0" y="12"/>
                    </a:lnTo>
                    <a:lnTo>
                      <a:pt x="0" y="8"/>
                    </a:lnTo>
                    <a:lnTo>
                      <a:pt x="0" y="4"/>
                    </a:lnTo>
                    <a:lnTo>
                      <a:pt x="0" y="4"/>
                    </a:lnTo>
                    <a:lnTo>
                      <a:pt x="4" y="0"/>
                    </a:lnTo>
                    <a:lnTo>
                      <a:pt x="4"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3" name="Freeform 918"/>
              <p:cNvSpPr>
                <a:spLocks/>
              </p:cNvSpPr>
              <p:nvPr/>
            </p:nvSpPr>
            <p:spPr bwMode="auto">
              <a:xfrm>
                <a:off x="2392" y="41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4" name="Freeform 919"/>
              <p:cNvSpPr>
                <a:spLocks/>
              </p:cNvSpPr>
              <p:nvPr/>
            </p:nvSpPr>
            <p:spPr bwMode="auto">
              <a:xfrm>
                <a:off x="2378" y="412"/>
                <a:ext cx="188" cy="146"/>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8 h 146"/>
                  <a:gd name="T34" fmla="*/ 6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4"/>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6"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5" name="Freeform 920"/>
              <p:cNvSpPr>
                <a:spLocks/>
              </p:cNvSpPr>
              <p:nvPr/>
            </p:nvSpPr>
            <p:spPr bwMode="auto">
              <a:xfrm>
                <a:off x="2384" y="512"/>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6" name="Freeform 921"/>
              <p:cNvSpPr>
                <a:spLocks/>
              </p:cNvSpPr>
              <p:nvPr/>
            </p:nvSpPr>
            <p:spPr bwMode="auto">
              <a:xfrm>
                <a:off x="2384" y="512"/>
                <a:ext cx="16" cy="22"/>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7" name="Freeform 922"/>
              <p:cNvSpPr>
                <a:spLocks/>
              </p:cNvSpPr>
              <p:nvPr/>
            </p:nvSpPr>
            <p:spPr bwMode="auto">
              <a:xfrm>
                <a:off x="2386" y="512"/>
                <a:ext cx="14" cy="22"/>
              </a:xfrm>
              <a:custGeom>
                <a:avLst/>
                <a:gdLst>
                  <a:gd name="T0" fmla="*/ 6 w 14"/>
                  <a:gd name="T1" fmla="*/ 0 h 22"/>
                  <a:gd name="T2" fmla="*/ 6 w 14"/>
                  <a:gd name="T3" fmla="*/ 0 h 22"/>
                  <a:gd name="T4" fmla="*/ 0 w 14"/>
                  <a:gd name="T5" fmla="*/ 4 h 22"/>
                  <a:gd name="T6" fmla="*/ 0 w 14"/>
                  <a:gd name="T7" fmla="*/ 4 h 22"/>
                  <a:gd name="T8" fmla="*/ 6 w 14"/>
                  <a:gd name="T9" fmla="*/ 0 h 22"/>
                  <a:gd name="T10" fmla="*/ 6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6" y="0"/>
                    </a:lnTo>
                    <a:lnTo>
                      <a:pt x="6"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8" name="Freeform 923"/>
              <p:cNvSpPr>
                <a:spLocks/>
              </p:cNvSpPr>
              <p:nvPr/>
            </p:nvSpPr>
            <p:spPr bwMode="auto">
              <a:xfrm>
                <a:off x="2386" y="512"/>
                <a:ext cx="14" cy="22"/>
              </a:xfrm>
              <a:custGeom>
                <a:avLst/>
                <a:gdLst>
                  <a:gd name="T0" fmla="*/ 6 w 14"/>
                  <a:gd name="T1" fmla="*/ 0 h 22"/>
                  <a:gd name="T2" fmla="*/ 6 w 14"/>
                  <a:gd name="T3" fmla="*/ 0 h 22"/>
                  <a:gd name="T4" fmla="*/ 0 w 14"/>
                  <a:gd name="T5" fmla="*/ 4 h 22"/>
                  <a:gd name="T6" fmla="*/ 0 w 14"/>
                  <a:gd name="T7" fmla="*/ 4 h 22"/>
                  <a:gd name="T8" fmla="*/ 6 w 14"/>
                  <a:gd name="T9" fmla="*/ 0 h 22"/>
                  <a:gd name="T10" fmla="*/ 6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6" y="0"/>
                    </a:lnTo>
                    <a:lnTo>
                      <a:pt x="6"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09" name="Freeform 924"/>
              <p:cNvSpPr>
                <a:spLocks/>
              </p:cNvSpPr>
              <p:nvPr/>
            </p:nvSpPr>
            <p:spPr bwMode="auto">
              <a:xfrm>
                <a:off x="2482" y="516"/>
                <a:ext cx="16" cy="26"/>
              </a:xfrm>
              <a:custGeom>
                <a:avLst/>
                <a:gdLst>
                  <a:gd name="T0" fmla="*/ 12 w 16"/>
                  <a:gd name="T1" fmla="*/ 0 h 26"/>
                  <a:gd name="T2" fmla="*/ 12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8 w 16"/>
                  <a:gd name="T21" fmla="*/ 26 h 26"/>
                  <a:gd name="T22" fmla="*/ 8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6"/>
                    </a:lnTo>
                    <a:lnTo>
                      <a:pt x="10" y="6"/>
                    </a:lnTo>
                    <a:lnTo>
                      <a:pt x="0" y="26"/>
                    </a:lnTo>
                    <a:lnTo>
                      <a:pt x="0" y="26"/>
                    </a:lnTo>
                    <a:lnTo>
                      <a:pt x="0" y="26"/>
                    </a:lnTo>
                    <a:lnTo>
                      <a:pt x="0" y="26"/>
                    </a:lnTo>
                    <a:lnTo>
                      <a:pt x="6" y="26"/>
                    </a:lnTo>
                    <a:lnTo>
                      <a:pt x="6" y="26"/>
                    </a:lnTo>
                    <a:lnTo>
                      <a:pt x="8" y="26"/>
                    </a:lnTo>
                    <a:lnTo>
                      <a:pt x="8" y="26"/>
                    </a:lnTo>
                    <a:lnTo>
                      <a:pt x="10" y="26"/>
                    </a:lnTo>
                    <a:lnTo>
                      <a:pt x="10" y="26"/>
                    </a:lnTo>
                    <a:lnTo>
                      <a:pt x="14" y="26"/>
                    </a:lnTo>
                    <a:lnTo>
                      <a:pt x="14" y="26"/>
                    </a:lnTo>
                    <a:lnTo>
                      <a:pt x="16" y="24"/>
                    </a:lnTo>
                    <a:lnTo>
                      <a:pt x="16" y="24"/>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0" name="Freeform 925"/>
              <p:cNvSpPr>
                <a:spLocks/>
              </p:cNvSpPr>
              <p:nvPr/>
            </p:nvSpPr>
            <p:spPr bwMode="auto">
              <a:xfrm>
                <a:off x="2482" y="516"/>
                <a:ext cx="16" cy="26"/>
              </a:xfrm>
              <a:custGeom>
                <a:avLst/>
                <a:gdLst>
                  <a:gd name="T0" fmla="*/ 12 w 16"/>
                  <a:gd name="T1" fmla="*/ 0 h 26"/>
                  <a:gd name="T2" fmla="*/ 12 w 16"/>
                  <a:gd name="T3" fmla="*/ 0 h 26"/>
                  <a:gd name="T4" fmla="*/ 10 w 16"/>
                  <a:gd name="T5" fmla="*/ 6 h 26"/>
                  <a:gd name="T6" fmla="*/ 10 w 16"/>
                  <a:gd name="T7" fmla="*/ 6 h 26"/>
                  <a:gd name="T8" fmla="*/ 0 w 16"/>
                  <a:gd name="T9" fmla="*/ 26 h 26"/>
                  <a:gd name="T10" fmla="*/ 0 w 16"/>
                  <a:gd name="T11" fmla="*/ 26 h 26"/>
                  <a:gd name="T12" fmla="*/ 0 w 16"/>
                  <a:gd name="T13" fmla="*/ 26 h 26"/>
                  <a:gd name="T14" fmla="*/ 0 w 16"/>
                  <a:gd name="T15" fmla="*/ 26 h 26"/>
                  <a:gd name="T16" fmla="*/ 6 w 16"/>
                  <a:gd name="T17" fmla="*/ 26 h 26"/>
                  <a:gd name="T18" fmla="*/ 6 w 16"/>
                  <a:gd name="T19" fmla="*/ 26 h 26"/>
                  <a:gd name="T20" fmla="*/ 8 w 16"/>
                  <a:gd name="T21" fmla="*/ 26 h 26"/>
                  <a:gd name="T22" fmla="*/ 8 w 16"/>
                  <a:gd name="T23" fmla="*/ 26 h 26"/>
                  <a:gd name="T24" fmla="*/ 10 w 16"/>
                  <a:gd name="T25" fmla="*/ 26 h 26"/>
                  <a:gd name="T26" fmla="*/ 10 w 16"/>
                  <a:gd name="T27" fmla="*/ 26 h 26"/>
                  <a:gd name="T28" fmla="*/ 14 w 16"/>
                  <a:gd name="T29" fmla="*/ 26 h 26"/>
                  <a:gd name="T30" fmla="*/ 14 w 16"/>
                  <a:gd name="T31" fmla="*/ 26 h 26"/>
                  <a:gd name="T32" fmla="*/ 16 w 16"/>
                  <a:gd name="T33" fmla="*/ 24 h 26"/>
                  <a:gd name="T34" fmla="*/ 16 w 16"/>
                  <a:gd name="T35" fmla="*/ 24 h 26"/>
                  <a:gd name="T36" fmla="*/ 14 w 16"/>
                  <a:gd name="T37" fmla="*/ 8 h 26"/>
                  <a:gd name="T38" fmla="*/ 14 w 16"/>
                  <a:gd name="T39" fmla="*/ 8 h 26"/>
                  <a:gd name="T40" fmla="*/ 12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2" y="0"/>
                    </a:moveTo>
                    <a:lnTo>
                      <a:pt x="12" y="0"/>
                    </a:lnTo>
                    <a:lnTo>
                      <a:pt x="10" y="6"/>
                    </a:lnTo>
                    <a:lnTo>
                      <a:pt x="10" y="6"/>
                    </a:lnTo>
                    <a:lnTo>
                      <a:pt x="0" y="26"/>
                    </a:lnTo>
                    <a:lnTo>
                      <a:pt x="0" y="26"/>
                    </a:lnTo>
                    <a:lnTo>
                      <a:pt x="0" y="26"/>
                    </a:lnTo>
                    <a:lnTo>
                      <a:pt x="0" y="26"/>
                    </a:lnTo>
                    <a:lnTo>
                      <a:pt x="6" y="26"/>
                    </a:lnTo>
                    <a:lnTo>
                      <a:pt x="6" y="26"/>
                    </a:lnTo>
                    <a:lnTo>
                      <a:pt x="8" y="26"/>
                    </a:lnTo>
                    <a:lnTo>
                      <a:pt x="8" y="26"/>
                    </a:lnTo>
                    <a:lnTo>
                      <a:pt x="10" y="26"/>
                    </a:lnTo>
                    <a:lnTo>
                      <a:pt x="10" y="26"/>
                    </a:lnTo>
                    <a:lnTo>
                      <a:pt x="14" y="26"/>
                    </a:lnTo>
                    <a:lnTo>
                      <a:pt x="14" y="26"/>
                    </a:lnTo>
                    <a:lnTo>
                      <a:pt x="16" y="24"/>
                    </a:lnTo>
                    <a:lnTo>
                      <a:pt x="16" y="24"/>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1" name="Freeform 926"/>
              <p:cNvSpPr>
                <a:spLocks noEditPoints="1"/>
              </p:cNvSpPr>
              <p:nvPr/>
            </p:nvSpPr>
            <p:spPr bwMode="auto">
              <a:xfrm>
                <a:off x="2482" y="516"/>
                <a:ext cx="12" cy="26"/>
              </a:xfrm>
              <a:custGeom>
                <a:avLst/>
                <a:gdLst>
                  <a:gd name="T0" fmla="*/ 6 w 12"/>
                  <a:gd name="T1" fmla="*/ 26 h 26"/>
                  <a:gd name="T2" fmla="*/ 6 w 12"/>
                  <a:gd name="T3" fmla="*/ 26 h 26"/>
                  <a:gd name="T4" fmla="*/ 8 w 12"/>
                  <a:gd name="T5" fmla="*/ 26 h 26"/>
                  <a:gd name="T6" fmla="*/ 8 w 12"/>
                  <a:gd name="T7" fmla="*/ 26 h 26"/>
                  <a:gd name="T8" fmla="*/ 10 w 12"/>
                  <a:gd name="T9" fmla="*/ 26 h 26"/>
                  <a:gd name="T10" fmla="*/ 10 w 12"/>
                  <a:gd name="T11" fmla="*/ 26 h 26"/>
                  <a:gd name="T12" fmla="*/ 8 w 12"/>
                  <a:gd name="T13" fmla="*/ 26 h 26"/>
                  <a:gd name="T14" fmla="*/ 8 w 12"/>
                  <a:gd name="T15" fmla="*/ 26 h 26"/>
                  <a:gd name="T16" fmla="*/ 6 w 12"/>
                  <a:gd name="T17" fmla="*/ 26 h 26"/>
                  <a:gd name="T18" fmla="*/ 0 w 12"/>
                  <a:gd name="T19" fmla="*/ 26 h 26"/>
                  <a:gd name="T20" fmla="*/ 0 w 12"/>
                  <a:gd name="T21" fmla="*/ 26 h 26"/>
                  <a:gd name="T22" fmla="*/ 0 w 12"/>
                  <a:gd name="T23" fmla="*/ 26 h 26"/>
                  <a:gd name="T24" fmla="*/ 0 w 12"/>
                  <a:gd name="T25" fmla="*/ 26 h 26"/>
                  <a:gd name="T26" fmla="*/ 0 w 12"/>
                  <a:gd name="T27" fmla="*/ 26 h 26"/>
                  <a:gd name="T28" fmla="*/ 0 w 12"/>
                  <a:gd name="T29" fmla="*/ 26 h 26"/>
                  <a:gd name="T30" fmla="*/ 12 w 12"/>
                  <a:gd name="T31" fmla="*/ 0 h 26"/>
                  <a:gd name="T32" fmla="*/ 12 w 12"/>
                  <a:gd name="T33" fmla="*/ 0 h 26"/>
                  <a:gd name="T34" fmla="*/ 10 w 12"/>
                  <a:gd name="T35" fmla="*/ 6 h 26"/>
                  <a:gd name="T36" fmla="*/ 10 w 12"/>
                  <a:gd name="T37" fmla="*/ 6 h 26"/>
                  <a:gd name="T38" fmla="*/ 12 w 12"/>
                  <a:gd name="T39" fmla="*/ 0 h 26"/>
                  <a:gd name="T40" fmla="*/ 12 w 12"/>
                  <a:gd name="T41" fmla="*/ 0 h 26"/>
                  <a:gd name="T42" fmla="*/ 12 w 12"/>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6">
                    <a:moveTo>
                      <a:pt x="6" y="26"/>
                    </a:moveTo>
                    <a:lnTo>
                      <a:pt x="6" y="26"/>
                    </a:lnTo>
                    <a:lnTo>
                      <a:pt x="8" y="26"/>
                    </a:lnTo>
                    <a:lnTo>
                      <a:pt x="8" y="26"/>
                    </a:lnTo>
                    <a:lnTo>
                      <a:pt x="10" y="26"/>
                    </a:lnTo>
                    <a:lnTo>
                      <a:pt x="10" y="26"/>
                    </a:lnTo>
                    <a:lnTo>
                      <a:pt x="8" y="26"/>
                    </a:lnTo>
                    <a:lnTo>
                      <a:pt x="8" y="26"/>
                    </a:lnTo>
                    <a:lnTo>
                      <a:pt x="6" y="26"/>
                    </a:lnTo>
                    <a:close/>
                    <a:moveTo>
                      <a:pt x="0" y="26"/>
                    </a:moveTo>
                    <a:lnTo>
                      <a:pt x="0" y="26"/>
                    </a:lnTo>
                    <a:lnTo>
                      <a:pt x="0" y="26"/>
                    </a:lnTo>
                    <a:lnTo>
                      <a:pt x="0" y="26"/>
                    </a:lnTo>
                    <a:lnTo>
                      <a:pt x="0" y="26"/>
                    </a:lnTo>
                    <a:lnTo>
                      <a:pt x="0" y="26"/>
                    </a:lnTo>
                    <a:close/>
                    <a:moveTo>
                      <a:pt x="12" y="0"/>
                    </a:moveTo>
                    <a:lnTo>
                      <a:pt x="12" y="0"/>
                    </a:lnTo>
                    <a:lnTo>
                      <a:pt x="10" y="6"/>
                    </a:lnTo>
                    <a:lnTo>
                      <a:pt x="10" y="6"/>
                    </a:lnTo>
                    <a:lnTo>
                      <a:pt x="12" y="0"/>
                    </a:lnTo>
                    <a:lnTo>
                      <a:pt x="12" y="0"/>
                    </a:lnTo>
                    <a:lnTo>
                      <a:pt x="1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2" name="Freeform 927"/>
              <p:cNvSpPr>
                <a:spLocks/>
              </p:cNvSpPr>
              <p:nvPr/>
            </p:nvSpPr>
            <p:spPr bwMode="auto">
              <a:xfrm>
                <a:off x="2488" y="542"/>
                <a:ext cx="4"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3" name="Freeform 928"/>
              <p:cNvSpPr>
                <a:spLocks/>
              </p:cNvSpPr>
              <p:nvPr/>
            </p:nvSpPr>
            <p:spPr bwMode="auto">
              <a:xfrm>
                <a:off x="2482" y="54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4" name="Freeform 929"/>
              <p:cNvSpPr>
                <a:spLocks/>
              </p:cNvSpPr>
              <p:nvPr/>
            </p:nvSpPr>
            <p:spPr bwMode="auto">
              <a:xfrm>
                <a:off x="2492" y="516"/>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5" name="Freeform 930"/>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20"/>
                    </a:lnTo>
                    <a:lnTo>
                      <a:pt x="4" y="20"/>
                    </a:lnTo>
                    <a:lnTo>
                      <a:pt x="6" y="20"/>
                    </a:lnTo>
                    <a:lnTo>
                      <a:pt x="6" y="20"/>
                    </a:lnTo>
                    <a:lnTo>
                      <a:pt x="6" y="20"/>
                    </a:lnTo>
                    <a:lnTo>
                      <a:pt x="6" y="20"/>
                    </a:lnTo>
                    <a:lnTo>
                      <a:pt x="10" y="18"/>
                    </a:lnTo>
                    <a:lnTo>
                      <a:pt x="12" y="14"/>
                    </a:lnTo>
                    <a:lnTo>
                      <a:pt x="12" y="14"/>
                    </a:lnTo>
                    <a:lnTo>
                      <a:pt x="8" y="16"/>
                    </a:lnTo>
                    <a:lnTo>
                      <a:pt x="8" y="16"/>
                    </a:lnTo>
                    <a:lnTo>
                      <a:pt x="6" y="16"/>
                    </a:lnTo>
                    <a:lnTo>
                      <a:pt x="6"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6" name="Freeform 931"/>
              <p:cNvSpPr>
                <a:spLocks/>
              </p:cNvSpPr>
              <p:nvPr/>
            </p:nvSpPr>
            <p:spPr bwMode="auto">
              <a:xfrm>
                <a:off x="2380" y="46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20"/>
                    </a:lnTo>
                    <a:lnTo>
                      <a:pt x="4" y="20"/>
                    </a:lnTo>
                    <a:lnTo>
                      <a:pt x="6" y="20"/>
                    </a:lnTo>
                    <a:lnTo>
                      <a:pt x="6" y="20"/>
                    </a:lnTo>
                    <a:lnTo>
                      <a:pt x="6" y="20"/>
                    </a:lnTo>
                    <a:lnTo>
                      <a:pt x="6" y="20"/>
                    </a:lnTo>
                    <a:lnTo>
                      <a:pt x="10" y="18"/>
                    </a:lnTo>
                    <a:lnTo>
                      <a:pt x="12" y="14"/>
                    </a:lnTo>
                    <a:lnTo>
                      <a:pt x="12" y="14"/>
                    </a:lnTo>
                    <a:lnTo>
                      <a:pt x="8" y="16"/>
                    </a:lnTo>
                    <a:lnTo>
                      <a:pt x="8" y="16"/>
                    </a:lnTo>
                    <a:lnTo>
                      <a:pt x="6" y="16"/>
                    </a:lnTo>
                    <a:lnTo>
                      <a:pt x="6"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7" name="Freeform 932"/>
              <p:cNvSpPr>
                <a:spLocks noEditPoints="1"/>
              </p:cNvSpPr>
              <p:nvPr/>
            </p:nvSpPr>
            <p:spPr bwMode="auto">
              <a:xfrm>
                <a:off x="2382" y="462"/>
                <a:ext cx="10" cy="20"/>
              </a:xfrm>
              <a:custGeom>
                <a:avLst/>
                <a:gdLst>
                  <a:gd name="T0" fmla="*/ 10 w 10"/>
                  <a:gd name="T1" fmla="*/ 14 h 20"/>
                  <a:gd name="T2" fmla="*/ 10 w 10"/>
                  <a:gd name="T3" fmla="*/ 14 h 20"/>
                  <a:gd name="T4" fmla="*/ 10 w 10"/>
                  <a:gd name="T5" fmla="*/ 14 h 20"/>
                  <a:gd name="T6" fmla="*/ 10 w 10"/>
                  <a:gd name="T7" fmla="*/ 14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4 w 10"/>
                  <a:gd name="T55" fmla="*/ 16 h 20"/>
                  <a:gd name="T56" fmla="*/ 4 w 10"/>
                  <a:gd name="T57" fmla="*/ 16 h 20"/>
                  <a:gd name="T58" fmla="*/ 2 w 10"/>
                  <a:gd name="T59" fmla="*/ 16 h 20"/>
                  <a:gd name="T60" fmla="*/ 2 w 10"/>
                  <a:gd name="T61" fmla="*/ 16 h 20"/>
                  <a:gd name="T62" fmla="*/ 2 w 10"/>
                  <a:gd name="T63" fmla="*/ 12 h 20"/>
                  <a:gd name="T64" fmla="*/ 2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10" y="14"/>
                    </a:lnTo>
                    <a:lnTo>
                      <a:pt x="10" y="14"/>
                    </a:lnTo>
                    <a:lnTo>
                      <a:pt x="8" y="18"/>
                    </a:lnTo>
                    <a:lnTo>
                      <a:pt x="4" y="20"/>
                    </a:lnTo>
                    <a:lnTo>
                      <a:pt x="4" y="20"/>
                    </a:lnTo>
                    <a:lnTo>
                      <a:pt x="4" y="20"/>
                    </a:lnTo>
                    <a:lnTo>
                      <a:pt x="4" y="20"/>
                    </a:lnTo>
                    <a:lnTo>
                      <a:pt x="4" y="20"/>
                    </a:lnTo>
                    <a:lnTo>
                      <a:pt x="4" y="20"/>
                    </a:lnTo>
                    <a:lnTo>
                      <a:pt x="8" y="18"/>
                    </a:lnTo>
                    <a:lnTo>
                      <a:pt x="10" y="14"/>
                    </a:lnTo>
                    <a:close/>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2" y="12"/>
                    </a:lnTo>
                    <a:lnTo>
                      <a:pt x="2"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8" name="Freeform 933"/>
              <p:cNvSpPr>
                <a:spLocks/>
              </p:cNvSpPr>
              <p:nvPr/>
            </p:nvSpPr>
            <p:spPr bwMode="auto">
              <a:xfrm>
                <a:off x="2386" y="476"/>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19" name="Freeform 934"/>
              <p:cNvSpPr>
                <a:spLocks/>
              </p:cNvSpPr>
              <p:nvPr/>
            </p:nvSpPr>
            <p:spPr bwMode="auto">
              <a:xfrm>
                <a:off x="2382" y="462"/>
                <a:ext cx="4" cy="16"/>
              </a:xfrm>
              <a:custGeom>
                <a:avLst/>
                <a:gdLst>
                  <a:gd name="T0" fmla="*/ 4 w 4"/>
                  <a:gd name="T1" fmla="*/ 0 h 16"/>
                  <a:gd name="T2" fmla="*/ 4 w 4"/>
                  <a:gd name="T3" fmla="*/ 0 h 16"/>
                  <a:gd name="T4" fmla="*/ 4 w 4"/>
                  <a:gd name="T5" fmla="*/ 0 h 16"/>
                  <a:gd name="T6" fmla="*/ 4 w 4"/>
                  <a:gd name="T7" fmla="*/ 0 h 16"/>
                  <a:gd name="T8" fmla="*/ 4 w 4"/>
                  <a:gd name="T9" fmla="*/ 0 h 16"/>
                  <a:gd name="T10" fmla="*/ 4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4 w 4"/>
                  <a:gd name="T29" fmla="*/ 16 h 16"/>
                  <a:gd name="T30" fmla="*/ 4 w 4"/>
                  <a:gd name="T31" fmla="*/ 16 h 16"/>
                  <a:gd name="T32" fmla="*/ 2 w 4"/>
                  <a:gd name="T33" fmla="*/ 16 h 16"/>
                  <a:gd name="T34" fmla="*/ 2 w 4"/>
                  <a:gd name="T35" fmla="*/ 16 h 16"/>
                  <a:gd name="T36" fmla="*/ 2 w 4"/>
                  <a:gd name="T37" fmla="*/ 12 h 16"/>
                  <a:gd name="T38" fmla="*/ 2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0" name="Freeform 935"/>
              <p:cNvSpPr>
                <a:spLocks noEditPoints="1"/>
              </p:cNvSpPr>
              <p:nvPr/>
            </p:nvSpPr>
            <p:spPr bwMode="auto">
              <a:xfrm>
                <a:off x="2494" y="450"/>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10 h 14"/>
                  <a:gd name="T14" fmla="*/ 12 w 18"/>
                  <a:gd name="T15" fmla="*/ 10 h 14"/>
                  <a:gd name="T16" fmla="*/ 10 w 18"/>
                  <a:gd name="T17" fmla="*/ 10 h 14"/>
                  <a:gd name="T18" fmla="*/ 10 w 18"/>
                  <a:gd name="T19" fmla="*/ 10 h 14"/>
                  <a:gd name="T20" fmla="*/ 12 w 18"/>
                  <a:gd name="T21" fmla="*/ 10 h 14"/>
                  <a:gd name="T22" fmla="*/ 12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10"/>
                    </a:lnTo>
                    <a:lnTo>
                      <a:pt x="12" y="10"/>
                    </a:lnTo>
                    <a:lnTo>
                      <a:pt x="10" y="10"/>
                    </a:lnTo>
                    <a:lnTo>
                      <a:pt x="10" y="10"/>
                    </a:lnTo>
                    <a:lnTo>
                      <a:pt x="12" y="10"/>
                    </a:lnTo>
                    <a:lnTo>
                      <a:pt x="12"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1" name="Freeform 936"/>
              <p:cNvSpPr>
                <a:spLocks/>
              </p:cNvSpPr>
              <p:nvPr/>
            </p:nvSpPr>
            <p:spPr bwMode="auto">
              <a:xfrm>
                <a:off x="2498" y="458"/>
                <a:ext cx="8" cy="4"/>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2 h 4"/>
                  <a:gd name="T14" fmla="*/ 8 w 8"/>
                  <a:gd name="T15" fmla="*/ 2 h 4"/>
                  <a:gd name="T16" fmla="*/ 6 w 8"/>
                  <a:gd name="T17" fmla="*/ 2 h 4"/>
                  <a:gd name="T18" fmla="*/ 6 w 8"/>
                  <a:gd name="T19" fmla="*/ 2 h 4"/>
                  <a:gd name="T20" fmla="*/ 8 w 8"/>
                  <a:gd name="T21" fmla="*/ 2 h 4"/>
                  <a:gd name="T22" fmla="*/ 8 w 8"/>
                  <a:gd name="T23" fmla="*/ 2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2"/>
                    </a:lnTo>
                    <a:lnTo>
                      <a:pt x="8" y="2"/>
                    </a:lnTo>
                    <a:lnTo>
                      <a:pt x="6" y="2"/>
                    </a:lnTo>
                    <a:lnTo>
                      <a:pt x="6" y="2"/>
                    </a:lnTo>
                    <a:lnTo>
                      <a:pt x="8" y="2"/>
                    </a:lnTo>
                    <a:lnTo>
                      <a:pt x="8"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2" name="Freeform 937"/>
              <p:cNvSpPr>
                <a:spLocks/>
              </p:cNvSpPr>
              <p:nvPr/>
            </p:nvSpPr>
            <p:spPr bwMode="auto">
              <a:xfrm>
                <a:off x="2494"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3" name="Freeform 938"/>
              <p:cNvSpPr>
                <a:spLocks/>
              </p:cNvSpPr>
              <p:nvPr/>
            </p:nvSpPr>
            <p:spPr bwMode="auto">
              <a:xfrm>
                <a:off x="2448"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4" name="Freeform 939"/>
              <p:cNvSpPr>
                <a:spLocks/>
              </p:cNvSpPr>
              <p:nvPr/>
            </p:nvSpPr>
            <p:spPr bwMode="auto">
              <a:xfrm>
                <a:off x="2448" y="440"/>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5" name="Freeform 940"/>
              <p:cNvSpPr>
                <a:spLocks/>
              </p:cNvSpPr>
              <p:nvPr/>
            </p:nvSpPr>
            <p:spPr bwMode="auto">
              <a:xfrm>
                <a:off x="2544"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6" name="Freeform 941"/>
              <p:cNvSpPr>
                <a:spLocks/>
              </p:cNvSpPr>
              <p:nvPr/>
            </p:nvSpPr>
            <p:spPr bwMode="auto">
              <a:xfrm>
                <a:off x="2544" y="444"/>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7" name="Freeform 942"/>
              <p:cNvSpPr>
                <a:spLocks/>
              </p:cNvSpPr>
              <p:nvPr/>
            </p:nvSpPr>
            <p:spPr bwMode="auto">
              <a:xfrm>
                <a:off x="2488"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8" name="Freeform 943"/>
              <p:cNvSpPr>
                <a:spLocks/>
              </p:cNvSpPr>
              <p:nvPr/>
            </p:nvSpPr>
            <p:spPr bwMode="auto">
              <a:xfrm>
                <a:off x="2488" y="440"/>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29" name="Freeform 944"/>
              <p:cNvSpPr>
                <a:spLocks/>
              </p:cNvSpPr>
              <p:nvPr/>
            </p:nvSpPr>
            <p:spPr bwMode="auto">
              <a:xfrm>
                <a:off x="2504"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0" name="Freeform 945"/>
              <p:cNvSpPr>
                <a:spLocks/>
              </p:cNvSpPr>
              <p:nvPr/>
            </p:nvSpPr>
            <p:spPr bwMode="auto">
              <a:xfrm>
                <a:off x="2504" y="490"/>
                <a:ext cx="4" cy="4"/>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1" name="Freeform 946"/>
              <p:cNvSpPr>
                <a:spLocks/>
              </p:cNvSpPr>
              <p:nvPr/>
            </p:nvSpPr>
            <p:spPr bwMode="auto">
              <a:xfrm>
                <a:off x="2500"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2" name="Freeform 947"/>
              <p:cNvSpPr>
                <a:spLocks/>
              </p:cNvSpPr>
              <p:nvPr/>
            </p:nvSpPr>
            <p:spPr bwMode="auto">
              <a:xfrm>
                <a:off x="2500" y="458"/>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3" name="Freeform 948"/>
              <p:cNvSpPr>
                <a:spLocks noEditPoints="1"/>
              </p:cNvSpPr>
              <p:nvPr/>
            </p:nvSpPr>
            <p:spPr bwMode="auto">
              <a:xfrm>
                <a:off x="2500" y="458"/>
                <a:ext cx="6" cy="4"/>
              </a:xfrm>
              <a:custGeom>
                <a:avLst/>
                <a:gdLst>
                  <a:gd name="T0" fmla="*/ 4 w 6"/>
                  <a:gd name="T1" fmla="*/ 2 h 4"/>
                  <a:gd name="T2" fmla="*/ 4 w 6"/>
                  <a:gd name="T3" fmla="*/ 2 h 4"/>
                  <a:gd name="T4" fmla="*/ 0 w 6"/>
                  <a:gd name="T5" fmla="*/ 4 h 4"/>
                  <a:gd name="T6" fmla="*/ 0 w 6"/>
                  <a:gd name="T7" fmla="*/ 4 h 4"/>
                  <a:gd name="T8" fmla="*/ 0 w 6"/>
                  <a:gd name="T9" fmla="*/ 4 h 4"/>
                  <a:gd name="T10" fmla="*/ 0 w 6"/>
                  <a:gd name="T11" fmla="*/ 4 h 4"/>
                  <a:gd name="T12" fmla="*/ 6 w 6"/>
                  <a:gd name="T13" fmla="*/ 2 h 4"/>
                  <a:gd name="T14" fmla="*/ 6 w 6"/>
                  <a:gd name="T15" fmla="*/ 2 h 4"/>
                  <a:gd name="T16" fmla="*/ 4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4" y="2"/>
                    </a:moveTo>
                    <a:lnTo>
                      <a:pt x="4" y="2"/>
                    </a:lnTo>
                    <a:lnTo>
                      <a:pt x="0" y="4"/>
                    </a:lnTo>
                    <a:lnTo>
                      <a:pt x="0" y="4"/>
                    </a:lnTo>
                    <a:lnTo>
                      <a:pt x="0" y="4"/>
                    </a:lnTo>
                    <a:lnTo>
                      <a:pt x="0" y="4"/>
                    </a:lnTo>
                    <a:lnTo>
                      <a:pt x="6" y="2"/>
                    </a:lnTo>
                    <a:lnTo>
                      <a:pt x="6" y="2"/>
                    </a:lnTo>
                    <a:lnTo>
                      <a:pt x="4"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4" name="Freeform 949"/>
              <p:cNvSpPr>
                <a:spLocks/>
              </p:cNvSpPr>
              <p:nvPr/>
            </p:nvSpPr>
            <p:spPr bwMode="auto">
              <a:xfrm>
                <a:off x="2500" y="460"/>
                <a:ext cx="6" cy="2"/>
              </a:xfrm>
              <a:custGeom>
                <a:avLst/>
                <a:gdLst>
                  <a:gd name="T0" fmla="*/ 4 w 6"/>
                  <a:gd name="T1" fmla="*/ 0 h 2"/>
                  <a:gd name="T2" fmla="*/ 4 w 6"/>
                  <a:gd name="T3" fmla="*/ 0 h 2"/>
                  <a:gd name="T4" fmla="*/ 0 w 6"/>
                  <a:gd name="T5" fmla="*/ 2 h 2"/>
                  <a:gd name="T6" fmla="*/ 0 w 6"/>
                  <a:gd name="T7" fmla="*/ 2 h 2"/>
                  <a:gd name="T8" fmla="*/ 0 w 6"/>
                  <a:gd name="T9" fmla="*/ 2 h 2"/>
                  <a:gd name="T10" fmla="*/ 0 w 6"/>
                  <a:gd name="T11" fmla="*/ 2 h 2"/>
                  <a:gd name="T12" fmla="*/ 6 w 6"/>
                  <a:gd name="T13" fmla="*/ 0 h 2"/>
                  <a:gd name="T14" fmla="*/ 6 w 6"/>
                  <a:gd name="T15" fmla="*/ 0 h 2"/>
                  <a:gd name="T16" fmla="*/ 4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4" y="0"/>
                    </a:moveTo>
                    <a:lnTo>
                      <a:pt x="4" y="0"/>
                    </a:lnTo>
                    <a:lnTo>
                      <a:pt x="0" y="2"/>
                    </a:lnTo>
                    <a:lnTo>
                      <a:pt x="0" y="2"/>
                    </a:lnTo>
                    <a:lnTo>
                      <a:pt x="0" y="2"/>
                    </a:lnTo>
                    <a:lnTo>
                      <a:pt x="0" y="2"/>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5" name="Freeform 950"/>
              <p:cNvSpPr>
                <a:spLocks/>
              </p:cNvSpPr>
              <p:nvPr/>
            </p:nvSpPr>
            <p:spPr bwMode="auto">
              <a:xfrm>
                <a:off x="2502" y="458"/>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6" name="Freeform 951"/>
              <p:cNvSpPr>
                <a:spLocks/>
              </p:cNvSpPr>
              <p:nvPr/>
            </p:nvSpPr>
            <p:spPr bwMode="auto">
              <a:xfrm>
                <a:off x="3024"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7" name="Freeform 952"/>
              <p:cNvSpPr>
                <a:spLocks/>
              </p:cNvSpPr>
              <p:nvPr/>
            </p:nvSpPr>
            <p:spPr bwMode="auto">
              <a:xfrm>
                <a:off x="326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8" name="Freeform 953"/>
              <p:cNvSpPr>
                <a:spLocks/>
              </p:cNvSpPr>
              <p:nvPr/>
            </p:nvSpPr>
            <p:spPr bwMode="auto">
              <a:xfrm>
                <a:off x="335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39" name="Freeform 954"/>
              <p:cNvSpPr>
                <a:spLocks/>
              </p:cNvSpPr>
              <p:nvPr/>
            </p:nvSpPr>
            <p:spPr bwMode="auto">
              <a:xfrm>
                <a:off x="3444"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0" name="Freeform 955"/>
              <p:cNvSpPr>
                <a:spLocks/>
              </p:cNvSpPr>
              <p:nvPr/>
            </p:nvSpPr>
            <p:spPr bwMode="auto">
              <a:xfrm>
                <a:off x="311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1" name="Freeform 956"/>
              <p:cNvSpPr>
                <a:spLocks/>
              </p:cNvSpPr>
              <p:nvPr/>
            </p:nvSpPr>
            <p:spPr bwMode="auto">
              <a:xfrm>
                <a:off x="311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2" name="Freeform 957"/>
              <p:cNvSpPr>
                <a:spLocks/>
              </p:cNvSpPr>
              <p:nvPr/>
            </p:nvSpPr>
            <p:spPr bwMode="auto">
              <a:xfrm>
                <a:off x="3176"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3" name="Freeform 958"/>
              <p:cNvSpPr>
                <a:spLocks/>
              </p:cNvSpPr>
              <p:nvPr/>
            </p:nvSpPr>
            <p:spPr bwMode="auto">
              <a:xfrm>
                <a:off x="3176"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4" name="Freeform 959"/>
              <p:cNvSpPr>
                <a:spLocks noEditPoints="1"/>
              </p:cNvSpPr>
              <p:nvPr/>
            </p:nvSpPr>
            <p:spPr bwMode="auto">
              <a:xfrm>
                <a:off x="3536" y="410"/>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5" name="Freeform 960"/>
              <p:cNvSpPr>
                <a:spLocks noEditPoints="1"/>
              </p:cNvSpPr>
              <p:nvPr/>
            </p:nvSpPr>
            <p:spPr bwMode="auto">
              <a:xfrm>
                <a:off x="3674" y="410"/>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6" name="Freeform 961"/>
              <p:cNvSpPr>
                <a:spLocks/>
              </p:cNvSpPr>
              <p:nvPr/>
            </p:nvSpPr>
            <p:spPr bwMode="auto">
              <a:xfrm>
                <a:off x="3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7" name="Freeform 962"/>
              <p:cNvSpPr>
                <a:spLocks/>
              </p:cNvSpPr>
              <p:nvPr/>
            </p:nvSpPr>
            <p:spPr bwMode="auto">
              <a:xfrm>
                <a:off x="126"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8" name="Freeform 963"/>
              <p:cNvSpPr>
                <a:spLocks/>
              </p:cNvSpPr>
              <p:nvPr/>
            </p:nvSpPr>
            <p:spPr bwMode="auto">
              <a:xfrm>
                <a:off x="218"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49" name="Freeform 964"/>
              <p:cNvSpPr>
                <a:spLocks noEditPoints="1"/>
              </p:cNvSpPr>
              <p:nvPr/>
            </p:nvSpPr>
            <p:spPr bwMode="auto">
              <a:xfrm>
                <a:off x="310" y="598"/>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0" name="Freeform 965"/>
              <p:cNvSpPr>
                <a:spLocks noEditPoints="1"/>
              </p:cNvSpPr>
              <p:nvPr/>
            </p:nvSpPr>
            <p:spPr bwMode="auto">
              <a:xfrm>
                <a:off x="448" y="598"/>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1" name="Freeform 966"/>
              <p:cNvSpPr>
                <a:spLocks noEditPoints="1"/>
              </p:cNvSpPr>
              <p:nvPr/>
            </p:nvSpPr>
            <p:spPr bwMode="auto">
              <a:xfrm>
                <a:off x="866" y="598"/>
                <a:ext cx="100" cy="150"/>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2" name="Freeform 967"/>
              <p:cNvSpPr>
                <a:spLocks noEditPoints="1"/>
              </p:cNvSpPr>
              <p:nvPr/>
            </p:nvSpPr>
            <p:spPr bwMode="auto">
              <a:xfrm>
                <a:off x="1098" y="598"/>
                <a:ext cx="98" cy="150"/>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3" name="Freeform 968"/>
              <p:cNvSpPr>
                <a:spLocks/>
              </p:cNvSpPr>
              <p:nvPr/>
            </p:nvSpPr>
            <p:spPr bwMode="auto">
              <a:xfrm>
                <a:off x="100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4" name="Freeform 969"/>
              <p:cNvSpPr>
                <a:spLocks noEditPoints="1"/>
              </p:cNvSpPr>
              <p:nvPr/>
            </p:nvSpPr>
            <p:spPr bwMode="auto">
              <a:xfrm>
                <a:off x="1236" y="598"/>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5" name="Freeform 970"/>
              <p:cNvSpPr>
                <a:spLocks/>
              </p:cNvSpPr>
              <p:nvPr/>
            </p:nvSpPr>
            <p:spPr bwMode="auto">
              <a:xfrm>
                <a:off x="1376"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6" name="Freeform 971"/>
              <p:cNvSpPr>
                <a:spLocks/>
              </p:cNvSpPr>
              <p:nvPr/>
            </p:nvSpPr>
            <p:spPr bwMode="auto">
              <a:xfrm>
                <a:off x="1376"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7" name="Freeform 972"/>
              <p:cNvSpPr>
                <a:spLocks/>
              </p:cNvSpPr>
              <p:nvPr/>
            </p:nvSpPr>
            <p:spPr bwMode="auto">
              <a:xfrm>
                <a:off x="1436"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8" name="Freeform 973"/>
              <p:cNvSpPr>
                <a:spLocks/>
              </p:cNvSpPr>
              <p:nvPr/>
            </p:nvSpPr>
            <p:spPr bwMode="auto">
              <a:xfrm>
                <a:off x="1436"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59" name="Freeform 974"/>
              <p:cNvSpPr>
                <a:spLocks noEditPoints="1"/>
              </p:cNvSpPr>
              <p:nvPr/>
            </p:nvSpPr>
            <p:spPr bwMode="auto">
              <a:xfrm>
                <a:off x="1672" y="598"/>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0" name="Freeform 975"/>
              <p:cNvSpPr>
                <a:spLocks/>
              </p:cNvSpPr>
              <p:nvPr/>
            </p:nvSpPr>
            <p:spPr bwMode="auto">
              <a:xfrm>
                <a:off x="181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1" name="Freeform 976"/>
              <p:cNvSpPr>
                <a:spLocks noEditPoints="1"/>
              </p:cNvSpPr>
              <p:nvPr/>
            </p:nvSpPr>
            <p:spPr bwMode="auto">
              <a:xfrm>
                <a:off x="1524" y="606"/>
                <a:ext cx="108" cy="142"/>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2" name="Freeform 977"/>
              <p:cNvSpPr>
                <a:spLocks/>
              </p:cNvSpPr>
              <p:nvPr/>
            </p:nvSpPr>
            <p:spPr bwMode="auto">
              <a:xfrm>
                <a:off x="1568" y="666"/>
                <a:ext cx="22" cy="2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3" name="Freeform 978"/>
              <p:cNvSpPr>
                <a:spLocks/>
              </p:cNvSpPr>
              <p:nvPr/>
            </p:nvSpPr>
            <p:spPr bwMode="auto">
              <a:xfrm>
                <a:off x="1524" y="606"/>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4" name="Freeform 979"/>
              <p:cNvSpPr>
                <a:spLocks/>
              </p:cNvSpPr>
              <p:nvPr/>
            </p:nvSpPr>
            <p:spPr bwMode="auto">
              <a:xfrm>
                <a:off x="58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5" name="Freeform 980"/>
              <p:cNvSpPr>
                <a:spLocks/>
              </p:cNvSpPr>
              <p:nvPr/>
            </p:nvSpPr>
            <p:spPr bwMode="auto">
              <a:xfrm>
                <a:off x="68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6" name="Freeform 981"/>
              <p:cNvSpPr>
                <a:spLocks/>
              </p:cNvSpPr>
              <p:nvPr/>
            </p:nvSpPr>
            <p:spPr bwMode="auto">
              <a:xfrm>
                <a:off x="776"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7" name="Freeform 982"/>
              <p:cNvSpPr>
                <a:spLocks/>
              </p:cNvSpPr>
              <p:nvPr/>
            </p:nvSpPr>
            <p:spPr bwMode="auto">
              <a:xfrm>
                <a:off x="1180"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8" name="Freeform 983"/>
              <p:cNvSpPr>
                <a:spLocks/>
              </p:cNvSpPr>
              <p:nvPr/>
            </p:nvSpPr>
            <p:spPr bwMode="auto">
              <a:xfrm>
                <a:off x="127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69" name="Freeform 984"/>
              <p:cNvSpPr>
                <a:spLocks/>
              </p:cNvSpPr>
              <p:nvPr/>
            </p:nvSpPr>
            <p:spPr bwMode="auto">
              <a:xfrm>
                <a:off x="1362"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0" name="Freeform 985"/>
              <p:cNvSpPr>
                <a:spLocks/>
              </p:cNvSpPr>
              <p:nvPr/>
            </p:nvSpPr>
            <p:spPr bwMode="auto">
              <a:xfrm>
                <a:off x="1452"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1" name="Freeform 986"/>
              <p:cNvSpPr>
                <a:spLocks/>
              </p:cNvSpPr>
              <p:nvPr/>
            </p:nvSpPr>
            <p:spPr bwMode="auto">
              <a:xfrm>
                <a:off x="169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2" name="Freeform 987"/>
              <p:cNvSpPr>
                <a:spLocks/>
              </p:cNvSpPr>
              <p:nvPr/>
            </p:nvSpPr>
            <p:spPr bwMode="auto">
              <a:xfrm>
                <a:off x="178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3" name="Freeform 988"/>
              <p:cNvSpPr>
                <a:spLocks/>
              </p:cNvSpPr>
              <p:nvPr/>
            </p:nvSpPr>
            <p:spPr bwMode="auto">
              <a:xfrm>
                <a:off x="154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4" name="Freeform 989"/>
              <p:cNvSpPr>
                <a:spLocks/>
              </p:cNvSpPr>
              <p:nvPr/>
            </p:nvSpPr>
            <p:spPr bwMode="auto">
              <a:xfrm>
                <a:off x="1544"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5" name="Freeform 990"/>
              <p:cNvSpPr>
                <a:spLocks/>
              </p:cNvSpPr>
              <p:nvPr/>
            </p:nvSpPr>
            <p:spPr bwMode="auto">
              <a:xfrm>
                <a:off x="1604" y="41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6" name="Freeform 991"/>
              <p:cNvSpPr>
                <a:spLocks/>
              </p:cNvSpPr>
              <p:nvPr/>
            </p:nvSpPr>
            <p:spPr bwMode="auto">
              <a:xfrm>
                <a:off x="1604" y="41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7" name="Freeform 992"/>
              <p:cNvSpPr>
                <a:spLocks noEditPoints="1"/>
              </p:cNvSpPr>
              <p:nvPr/>
            </p:nvSpPr>
            <p:spPr bwMode="auto">
              <a:xfrm>
                <a:off x="400" y="410"/>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8" name="Freeform 993"/>
              <p:cNvSpPr>
                <a:spLocks noEditPoints="1"/>
              </p:cNvSpPr>
              <p:nvPr/>
            </p:nvSpPr>
            <p:spPr bwMode="auto">
              <a:xfrm>
                <a:off x="538" y="410"/>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79" name="Freeform 994"/>
              <p:cNvSpPr>
                <a:spLocks noEditPoints="1"/>
              </p:cNvSpPr>
              <p:nvPr/>
            </p:nvSpPr>
            <p:spPr bwMode="auto">
              <a:xfrm>
                <a:off x="950" y="410"/>
                <a:ext cx="100" cy="150"/>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0" name="Freeform 995"/>
              <p:cNvSpPr>
                <a:spLocks/>
              </p:cNvSpPr>
              <p:nvPr/>
            </p:nvSpPr>
            <p:spPr bwMode="auto">
              <a:xfrm>
                <a:off x="1088"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1" name="Freeform 996"/>
              <p:cNvSpPr>
                <a:spLocks/>
              </p:cNvSpPr>
              <p:nvPr/>
            </p:nvSpPr>
            <p:spPr bwMode="auto">
              <a:xfrm>
                <a:off x="676"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2" name="Freeform 997"/>
              <p:cNvSpPr>
                <a:spLocks/>
              </p:cNvSpPr>
              <p:nvPr/>
            </p:nvSpPr>
            <p:spPr bwMode="auto">
              <a:xfrm>
                <a:off x="76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3" name="Freeform 998"/>
              <p:cNvSpPr>
                <a:spLocks/>
              </p:cNvSpPr>
              <p:nvPr/>
            </p:nvSpPr>
            <p:spPr bwMode="auto">
              <a:xfrm>
                <a:off x="860"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4" name="Freeform 999"/>
              <p:cNvSpPr>
                <a:spLocks noEditPoints="1"/>
              </p:cNvSpPr>
              <p:nvPr/>
            </p:nvSpPr>
            <p:spPr bwMode="auto">
              <a:xfrm>
                <a:off x="12" y="410"/>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5" name="Freeform 1000"/>
              <p:cNvSpPr>
                <a:spLocks/>
              </p:cNvSpPr>
              <p:nvPr/>
            </p:nvSpPr>
            <p:spPr bwMode="auto">
              <a:xfrm>
                <a:off x="128"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6" name="Freeform 1001"/>
              <p:cNvSpPr>
                <a:spLocks/>
              </p:cNvSpPr>
              <p:nvPr/>
            </p:nvSpPr>
            <p:spPr bwMode="auto">
              <a:xfrm>
                <a:off x="21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7" name="Freeform 1002"/>
              <p:cNvSpPr>
                <a:spLocks/>
              </p:cNvSpPr>
              <p:nvPr/>
            </p:nvSpPr>
            <p:spPr bwMode="auto">
              <a:xfrm>
                <a:off x="310"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8" name="Freeform 1003"/>
              <p:cNvSpPr>
                <a:spLocks noEditPoints="1"/>
              </p:cNvSpPr>
              <p:nvPr/>
            </p:nvSpPr>
            <p:spPr bwMode="auto">
              <a:xfrm>
                <a:off x="148" y="200"/>
                <a:ext cx="100" cy="150"/>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89" name="Freeform 1004"/>
              <p:cNvSpPr>
                <a:spLocks/>
              </p:cNvSpPr>
              <p:nvPr/>
            </p:nvSpPr>
            <p:spPr bwMode="auto">
              <a:xfrm>
                <a:off x="286"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0" name="Freeform 1005"/>
              <p:cNvSpPr>
                <a:spLocks/>
              </p:cNvSpPr>
              <p:nvPr/>
            </p:nvSpPr>
            <p:spPr bwMode="auto">
              <a:xfrm>
                <a:off x="380"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1" name="Freeform 1006"/>
              <p:cNvSpPr>
                <a:spLocks/>
              </p:cNvSpPr>
              <p:nvPr/>
            </p:nvSpPr>
            <p:spPr bwMode="auto">
              <a:xfrm>
                <a:off x="472"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2" name="Freeform 1007"/>
              <p:cNvSpPr>
                <a:spLocks/>
              </p:cNvSpPr>
              <p:nvPr/>
            </p:nvSpPr>
            <p:spPr bwMode="auto">
              <a:xfrm>
                <a:off x="56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2193" name="Freeform 1008"/>
              <p:cNvSpPr>
                <a:spLocks/>
              </p:cNvSpPr>
              <p:nvPr/>
            </p:nvSpPr>
            <p:spPr bwMode="auto">
              <a:xfrm>
                <a:off x="804"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8" name="Group 1210"/>
            <p:cNvGrpSpPr>
              <a:grpSpLocks/>
            </p:cNvGrpSpPr>
            <p:nvPr/>
          </p:nvGrpSpPr>
          <p:grpSpPr bwMode="auto">
            <a:xfrm>
              <a:off x="63500" y="0"/>
              <a:ext cx="11976056" cy="3352800"/>
              <a:chOff x="40" y="200"/>
              <a:chExt cx="7544" cy="2112"/>
            </a:xfrm>
          </p:grpSpPr>
          <p:sp>
            <p:nvSpPr>
              <p:cNvPr id="1794" name="Freeform 1010"/>
              <p:cNvSpPr>
                <a:spLocks/>
              </p:cNvSpPr>
              <p:nvPr/>
            </p:nvSpPr>
            <p:spPr bwMode="auto">
              <a:xfrm>
                <a:off x="898"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5" name="Freeform 1011"/>
              <p:cNvSpPr>
                <a:spLocks/>
              </p:cNvSpPr>
              <p:nvPr/>
            </p:nvSpPr>
            <p:spPr bwMode="auto">
              <a:xfrm>
                <a:off x="990"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6" name="Freeform 1012"/>
              <p:cNvSpPr>
                <a:spLocks/>
              </p:cNvSpPr>
              <p:nvPr/>
            </p:nvSpPr>
            <p:spPr bwMode="auto">
              <a:xfrm>
                <a:off x="1084"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1797" name="Picture 10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 y="200"/>
                <a:ext cx="66"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98" name="Freeform 1014"/>
              <p:cNvSpPr>
                <a:spLocks/>
              </p:cNvSpPr>
              <p:nvPr/>
            </p:nvSpPr>
            <p:spPr bwMode="auto">
              <a:xfrm>
                <a:off x="716" y="20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9" name="Freeform 1015"/>
              <p:cNvSpPr>
                <a:spLocks/>
              </p:cNvSpPr>
              <p:nvPr/>
            </p:nvSpPr>
            <p:spPr bwMode="auto">
              <a:xfrm>
                <a:off x="716" y="204"/>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0" name="Freeform 1016"/>
              <p:cNvSpPr>
                <a:spLocks/>
              </p:cNvSpPr>
              <p:nvPr/>
            </p:nvSpPr>
            <p:spPr bwMode="auto">
              <a:xfrm>
                <a:off x="1404" y="204"/>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1" name="Freeform 1017"/>
              <p:cNvSpPr>
                <a:spLocks/>
              </p:cNvSpPr>
              <p:nvPr/>
            </p:nvSpPr>
            <p:spPr bwMode="auto">
              <a:xfrm>
                <a:off x="1404" y="204"/>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2" name="Freeform 1018"/>
              <p:cNvSpPr>
                <a:spLocks/>
              </p:cNvSpPr>
              <p:nvPr/>
            </p:nvSpPr>
            <p:spPr bwMode="auto">
              <a:xfrm>
                <a:off x="1466"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3" name="Freeform 1019"/>
              <p:cNvSpPr>
                <a:spLocks/>
              </p:cNvSpPr>
              <p:nvPr/>
            </p:nvSpPr>
            <p:spPr bwMode="auto">
              <a:xfrm>
                <a:off x="1466"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4" name="Freeform 1020"/>
              <p:cNvSpPr>
                <a:spLocks/>
              </p:cNvSpPr>
              <p:nvPr/>
            </p:nvSpPr>
            <p:spPr bwMode="auto">
              <a:xfrm>
                <a:off x="155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5" name="Freeform 1021"/>
              <p:cNvSpPr>
                <a:spLocks/>
              </p:cNvSpPr>
              <p:nvPr/>
            </p:nvSpPr>
            <p:spPr bwMode="auto">
              <a:xfrm>
                <a:off x="1646"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6" name="Freeform 1022"/>
              <p:cNvSpPr>
                <a:spLocks/>
              </p:cNvSpPr>
              <p:nvPr/>
            </p:nvSpPr>
            <p:spPr bwMode="auto">
              <a:xfrm>
                <a:off x="1738"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7" name="Freeform 1023"/>
              <p:cNvSpPr>
                <a:spLocks/>
              </p:cNvSpPr>
              <p:nvPr/>
            </p:nvSpPr>
            <p:spPr bwMode="auto">
              <a:xfrm>
                <a:off x="1978"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8" name="Freeform 1024"/>
              <p:cNvSpPr>
                <a:spLocks/>
              </p:cNvSpPr>
              <p:nvPr/>
            </p:nvSpPr>
            <p:spPr bwMode="auto">
              <a:xfrm>
                <a:off x="2070"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09" name="Freeform 1025"/>
              <p:cNvSpPr>
                <a:spLocks/>
              </p:cNvSpPr>
              <p:nvPr/>
            </p:nvSpPr>
            <p:spPr bwMode="auto">
              <a:xfrm>
                <a:off x="2164" y="20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0" name="Freeform 1026"/>
              <p:cNvSpPr>
                <a:spLocks noEditPoints="1"/>
              </p:cNvSpPr>
              <p:nvPr/>
            </p:nvSpPr>
            <p:spPr bwMode="auto">
              <a:xfrm>
                <a:off x="2254" y="200"/>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1" name="Freeform 1027"/>
              <p:cNvSpPr>
                <a:spLocks noEditPoints="1"/>
              </p:cNvSpPr>
              <p:nvPr/>
            </p:nvSpPr>
            <p:spPr bwMode="auto">
              <a:xfrm>
                <a:off x="2394" y="200"/>
                <a:ext cx="98" cy="150"/>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2" name="Freeform 1028"/>
              <p:cNvSpPr>
                <a:spLocks/>
              </p:cNvSpPr>
              <p:nvPr/>
            </p:nvSpPr>
            <p:spPr bwMode="auto">
              <a:xfrm>
                <a:off x="183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3" name="Freeform 1029"/>
              <p:cNvSpPr>
                <a:spLocks/>
              </p:cNvSpPr>
              <p:nvPr/>
            </p:nvSpPr>
            <p:spPr bwMode="auto">
              <a:xfrm>
                <a:off x="183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4" name="Freeform 1030"/>
              <p:cNvSpPr>
                <a:spLocks/>
              </p:cNvSpPr>
              <p:nvPr/>
            </p:nvSpPr>
            <p:spPr bwMode="auto">
              <a:xfrm>
                <a:off x="189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5" name="Freeform 1031"/>
              <p:cNvSpPr>
                <a:spLocks/>
              </p:cNvSpPr>
              <p:nvPr/>
            </p:nvSpPr>
            <p:spPr bwMode="auto">
              <a:xfrm>
                <a:off x="189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6" name="Freeform 1032"/>
              <p:cNvSpPr>
                <a:spLocks noEditPoints="1"/>
              </p:cNvSpPr>
              <p:nvPr/>
            </p:nvSpPr>
            <p:spPr bwMode="auto">
              <a:xfrm>
                <a:off x="2810" y="200"/>
                <a:ext cx="100" cy="150"/>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7" name="Freeform 1033"/>
              <p:cNvSpPr>
                <a:spLocks noEditPoints="1"/>
              </p:cNvSpPr>
              <p:nvPr/>
            </p:nvSpPr>
            <p:spPr bwMode="auto">
              <a:xfrm>
                <a:off x="3040" y="200"/>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8" name="Freeform 1034"/>
              <p:cNvSpPr>
                <a:spLocks/>
              </p:cNvSpPr>
              <p:nvPr/>
            </p:nvSpPr>
            <p:spPr bwMode="auto">
              <a:xfrm>
                <a:off x="2948"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19" name="Freeform 1035"/>
              <p:cNvSpPr>
                <a:spLocks noEditPoints="1"/>
              </p:cNvSpPr>
              <p:nvPr/>
            </p:nvSpPr>
            <p:spPr bwMode="auto">
              <a:xfrm>
                <a:off x="3180" y="200"/>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0" name="Freeform 1036"/>
              <p:cNvSpPr>
                <a:spLocks/>
              </p:cNvSpPr>
              <p:nvPr/>
            </p:nvSpPr>
            <p:spPr bwMode="auto">
              <a:xfrm>
                <a:off x="332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1" name="Freeform 1037"/>
              <p:cNvSpPr>
                <a:spLocks/>
              </p:cNvSpPr>
              <p:nvPr/>
            </p:nvSpPr>
            <p:spPr bwMode="auto">
              <a:xfrm>
                <a:off x="3320" y="204"/>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2" name="Freeform 1038"/>
              <p:cNvSpPr>
                <a:spLocks/>
              </p:cNvSpPr>
              <p:nvPr/>
            </p:nvSpPr>
            <p:spPr bwMode="auto">
              <a:xfrm>
                <a:off x="338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3" name="Freeform 1039"/>
              <p:cNvSpPr>
                <a:spLocks/>
              </p:cNvSpPr>
              <p:nvPr/>
            </p:nvSpPr>
            <p:spPr bwMode="auto">
              <a:xfrm>
                <a:off x="3380" y="20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4" name="Freeform 1040"/>
              <p:cNvSpPr>
                <a:spLocks noEditPoints="1"/>
              </p:cNvSpPr>
              <p:nvPr/>
            </p:nvSpPr>
            <p:spPr bwMode="auto">
              <a:xfrm>
                <a:off x="3614" y="200"/>
                <a:ext cx="100" cy="150"/>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5" name="Freeform 1041"/>
              <p:cNvSpPr>
                <a:spLocks/>
              </p:cNvSpPr>
              <p:nvPr/>
            </p:nvSpPr>
            <p:spPr bwMode="auto">
              <a:xfrm>
                <a:off x="3746"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6" name="Freeform 1042"/>
              <p:cNvSpPr>
                <a:spLocks noEditPoints="1"/>
              </p:cNvSpPr>
              <p:nvPr/>
            </p:nvSpPr>
            <p:spPr bwMode="auto">
              <a:xfrm>
                <a:off x="3466" y="208"/>
                <a:ext cx="110" cy="142"/>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7" name="Freeform 1043"/>
              <p:cNvSpPr>
                <a:spLocks/>
              </p:cNvSpPr>
              <p:nvPr/>
            </p:nvSpPr>
            <p:spPr bwMode="auto">
              <a:xfrm>
                <a:off x="3510" y="266"/>
                <a:ext cx="22" cy="22"/>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8" name="Freeform 1044"/>
              <p:cNvSpPr>
                <a:spLocks/>
              </p:cNvSpPr>
              <p:nvPr/>
            </p:nvSpPr>
            <p:spPr bwMode="auto">
              <a:xfrm>
                <a:off x="3466" y="208"/>
                <a:ext cx="110" cy="142"/>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29" name="Freeform 1045"/>
              <p:cNvSpPr>
                <a:spLocks noEditPoints="1"/>
              </p:cNvSpPr>
              <p:nvPr/>
            </p:nvSpPr>
            <p:spPr bwMode="auto">
              <a:xfrm>
                <a:off x="1176" y="202"/>
                <a:ext cx="188" cy="146"/>
              </a:xfrm>
              <a:custGeom>
                <a:avLst/>
                <a:gdLst>
                  <a:gd name="T0" fmla="*/ 116 w 188"/>
                  <a:gd name="T1" fmla="*/ 104 h 146"/>
                  <a:gd name="T2" fmla="*/ 114 w 188"/>
                  <a:gd name="T3" fmla="*/ 130 h 146"/>
                  <a:gd name="T4" fmla="*/ 14 w 188"/>
                  <a:gd name="T5" fmla="*/ 100 h 146"/>
                  <a:gd name="T6" fmla="*/ 20 w 188"/>
                  <a:gd name="T7" fmla="*/ 122 h 146"/>
                  <a:gd name="T8" fmla="*/ 4 w 188"/>
                  <a:gd name="T9" fmla="*/ 110 h 146"/>
                  <a:gd name="T10" fmla="*/ 6 w 188"/>
                  <a:gd name="T11" fmla="*/ 64 h 146"/>
                  <a:gd name="T12" fmla="*/ 14 w 188"/>
                  <a:gd name="T13" fmla="*/ 64 h 146"/>
                  <a:gd name="T14" fmla="*/ 8 w 188"/>
                  <a:gd name="T15" fmla="*/ 70 h 146"/>
                  <a:gd name="T16" fmla="*/ 6 w 188"/>
                  <a:gd name="T17" fmla="*/ 50 h 146"/>
                  <a:gd name="T18" fmla="*/ 82 w 188"/>
                  <a:gd name="T19" fmla="*/ 20 h 146"/>
                  <a:gd name="T20" fmla="*/ 130 w 188"/>
                  <a:gd name="T21" fmla="*/ 8 h 146"/>
                  <a:gd name="T22" fmla="*/ 158 w 188"/>
                  <a:gd name="T23" fmla="*/ 32 h 146"/>
                  <a:gd name="T24" fmla="*/ 156 w 188"/>
                  <a:gd name="T25" fmla="*/ 40 h 146"/>
                  <a:gd name="T26" fmla="*/ 148 w 188"/>
                  <a:gd name="T27" fmla="*/ 48 h 146"/>
                  <a:gd name="T28" fmla="*/ 156 w 188"/>
                  <a:gd name="T29" fmla="*/ 48 h 146"/>
                  <a:gd name="T30" fmla="*/ 160 w 188"/>
                  <a:gd name="T31" fmla="*/ 42 h 146"/>
                  <a:gd name="T32" fmla="*/ 176 w 188"/>
                  <a:gd name="T33" fmla="*/ 28 h 146"/>
                  <a:gd name="T34" fmla="*/ 182 w 188"/>
                  <a:gd name="T35" fmla="*/ 70 h 146"/>
                  <a:gd name="T36" fmla="*/ 150 w 188"/>
                  <a:gd name="T37" fmla="*/ 88 h 146"/>
                  <a:gd name="T38" fmla="*/ 132 w 188"/>
                  <a:gd name="T39" fmla="*/ 98 h 146"/>
                  <a:gd name="T40" fmla="*/ 144 w 188"/>
                  <a:gd name="T41" fmla="*/ 90 h 146"/>
                  <a:gd name="T42" fmla="*/ 132 w 188"/>
                  <a:gd name="T43" fmla="*/ 102 h 146"/>
                  <a:gd name="T44" fmla="*/ 112 w 188"/>
                  <a:gd name="T45" fmla="*/ 92 h 146"/>
                  <a:gd name="T46" fmla="*/ 90 w 188"/>
                  <a:gd name="T47" fmla="*/ 136 h 146"/>
                  <a:gd name="T48" fmla="*/ 68 w 188"/>
                  <a:gd name="T49" fmla="*/ 128 h 146"/>
                  <a:gd name="T50" fmla="*/ 78 w 188"/>
                  <a:gd name="T51" fmla="*/ 110 h 146"/>
                  <a:gd name="T52" fmla="*/ 60 w 188"/>
                  <a:gd name="T53" fmla="*/ 116 h 146"/>
                  <a:gd name="T54" fmla="*/ 52 w 188"/>
                  <a:gd name="T55" fmla="*/ 114 h 146"/>
                  <a:gd name="T56" fmla="*/ 46 w 188"/>
                  <a:gd name="T57" fmla="*/ 138 h 146"/>
                  <a:gd name="T58" fmla="*/ 26 w 188"/>
                  <a:gd name="T59" fmla="*/ 126 h 146"/>
                  <a:gd name="T60" fmla="*/ 14 w 188"/>
                  <a:gd name="T61" fmla="*/ 88 h 146"/>
                  <a:gd name="T62" fmla="*/ 42 w 188"/>
                  <a:gd name="T63" fmla="*/ 38 h 146"/>
                  <a:gd name="T64" fmla="*/ 40 w 188"/>
                  <a:gd name="T65" fmla="*/ 60 h 146"/>
                  <a:gd name="T66" fmla="*/ 48 w 188"/>
                  <a:gd name="T67" fmla="*/ 86 h 146"/>
                  <a:gd name="T68" fmla="*/ 66 w 188"/>
                  <a:gd name="T69" fmla="*/ 98 h 146"/>
                  <a:gd name="T70" fmla="*/ 96 w 188"/>
                  <a:gd name="T71" fmla="*/ 78 h 146"/>
                  <a:gd name="T72" fmla="*/ 92 w 188"/>
                  <a:gd name="T73" fmla="*/ 80 h 146"/>
                  <a:gd name="T74" fmla="*/ 62 w 188"/>
                  <a:gd name="T75" fmla="*/ 96 h 146"/>
                  <a:gd name="T76" fmla="*/ 56 w 188"/>
                  <a:gd name="T77" fmla="*/ 76 h 146"/>
                  <a:gd name="T78" fmla="*/ 44 w 188"/>
                  <a:gd name="T79" fmla="*/ 62 h 146"/>
                  <a:gd name="T80" fmla="*/ 78 w 188"/>
                  <a:gd name="T81" fmla="*/ 22 h 146"/>
                  <a:gd name="T82" fmla="*/ 104 w 188"/>
                  <a:gd name="T83" fmla="*/ 0 h 146"/>
                  <a:gd name="T84" fmla="*/ 72 w 188"/>
                  <a:gd name="T85" fmla="*/ 22 h 146"/>
                  <a:gd name="T86" fmla="*/ 24 w 188"/>
                  <a:gd name="T87" fmla="*/ 46 h 146"/>
                  <a:gd name="T88" fmla="*/ 10 w 188"/>
                  <a:gd name="T89" fmla="*/ 54 h 146"/>
                  <a:gd name="T90" fmla="*/ 0 w 188"/>
                  <a:gd name="T91" fmla="*/ 52 h 146"/>
                  <a:gd name="T92" fmla="*/ 10 w 188"/>
                  <a:gd name="T93" fmla="*/ 72 h 146"/>
                  <a:gd name="T94" fmla="*/ 2 w 188"/>
                  <a:gd name="T95" fmla="*/ 106 h 146"/>
                  <a:gd name="T96" fmla="*/ 22 w 188"/>
                  <a:gd name="T97" fmla="*/ 128 h 146"/>
                  <a:gd name="T98" fmla="*/ 42 w 188"/>
                  <a:gd name="T99" fmla="*/ 144 h 146"/>
                  <a:gd name="T100" fmla="*/ 50 w 188"/>
                  <a:gd name="T101" fmla="*/ 130 h 146"/>
                  <a:gd name="T102" fmla="*/ 64 w 188"/>
                  <a:gd name="T103" fmla="*/ 128 h 146"/>
                  <a:gd name="T104" fmla="*/ 88 w 188"/>
                  <a:gd name="T105" fmla="*/ 142 h 146"/>
                  <a:gd name="T106" fmla="*/ 122 w 188"/>
                  <a:gd name="T107" fmla="*/ 130 h 146"/>
                  <a:gd name="T108" fmla="*/ 116 w 188"/>
                  <a:gd name="T109" fmla="*/ 96 h 146"/>
                  <a:gd name="T110" fmla="*/ 132 w 188"/>
                  <a:gd name="T111" fmla="*/ 104 h 146"/>
                  <a:gd name="T112" fmla="*/ 154 w 188"/>
                  <a:gd name="T113" fmla="*/ 92 h 146"/>
                  <a:gd name="T114" fmla="*/ 184 w 188"/>
                  <a:gd name="T115" fmla="*/ 72 h 146"/>
                  <a:gd name="T116" fmla="*/ 176 w 188"/>
                  <a:gd name="T117" fmla="*/ 24 h 146"/>
                  <a:gd name="T118" fmla="*/ 162 w 188"/>
                  <a:gd name="T119" fmla="*/ 34 h 146"/>
                  <a:gd name="T120" fmla="*/ 132 w 188"/>
                  <a:gd name="T121" fmla="*/ 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8" y="120"/>
                    </a:moveTo>
                    <a:lnTo>
                      <a:pt x="108" y="120"/>
                    </a:lnTo>
                    <a:lnTo>
                      <a:pt x="116" y="102"/>
                    </a:lnTo>
                    <a:lnTo>
                      <a:pt x="116" y="102"/>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4" y="130"/>
                    </a:lnTo>
                    <a:lnTo>
                      <a:pt x="114" y="130"/>
                    </a:lnTo>
                    <a:lnTo>
                      <a:pt x="102" y="130"/>
                    </a:lnTo>
                    <a:lnTo>
                      <a:pt x="102" y="130"/>
                    </a:lnTo>
                    <a:lnTo>
                      <a:pt x="108" y="120"/>
                    </a:lnTo>
                    <a:close/>
                    <a:moveTo>
                      <a:pt x="6" y="106"/>
                    </a:moveTo>
                    <a:lnTo>
                      <a:pt x="6" y="106"/>
                    </a:lnTo>
                    <a:lnTo>
                      <a:pt x="6" y="104"/>
                    </a:lnTo>
                    <a:lnTo>
                      <a:pt x="6" y="104"/>
                    </a:lnTo>
                    <a:lnTo>
                      <a:pt x="14" y="100"/>
                    </a:lnTo>
                    <a:lnTo>
                      <a:pt x="14" y="100"/>
                    </a:lnTo>
                    <a:lnTo>
                      <a:pt x="22" y="116"/>
                    </a:lnTo>
                    <a:lnTo>
                      <a:pt x="22" y="116"/>
                    </a:lnTo>
                    <a:lnTo>
                      <a:pt x="24" y="118"/>
                    </a:lnTo>
                    <a:lnTo>
                      <a:pt x="22" y="120"/>
                    </a:lnTo>
                    <a:lnTo>
                      <a:pt x="22" y="120"/>
                    </a:lnTo>
                    <a:lnTo>
                      <a:pt x="22" y="122"/>
                    </a:lnTo>
                    <a:lnTo>
                      <a:pt x="20" y="122"/>
                    </a:lnTo>
                    <a:lnTo>
                      <a:pt x="20" y="122"/>
                    </a:lnTo>
                    <a:lnTo>
                      <a:pt x="18" y="122"/>
                    </a:lnTo>
                    <a:lnTo>
                      <a:pt x="18" y="122"/>
                    </a:lnTo>
                    <a:lnTo>
                      <a:pt x="14" y="120"/>
                    </a:lnTo>
                    <a:lnTo>
                      <a:pt x="10" y="118"/>
                    </a:lnTo>
                    <a:lnTo>
                      <a:pt x="6" y="114"/>
                    </a:lnTo>
                    <a:lnTo>
                      <a:pt x="4" y="110"/>
                    </a:lnTo>
                    <a:lnTo>
                      <a:pt x="4" y="110"/>
                    </a:lnTo>
                    <a:lnTo>
                      <a:pt x="6" y="106"/>
                    </a:lnTo>
                    <a:close/>
                    <a:moveTo>
                      <a:pt x="10" y="50"/>
                    </a:moveTo>
                    <a:lnTo>
                      <a:pt x="10" y="50"/>
                    </a:lnTo>
                    <a:lnTo>
                      <a:pt x="10" y="50"/>
                    </a:lnTo>
                    <a:lnTo>
                      <a:pt x="10" y="50"/>
                    </a:lnTo>
                    <a:lnTo>
                      <a:pt x="6" y="60"/>
                    </a:lnTo>
                    <a:lnTo>
                      <a:pt x="6" y="60"/>
                    </a:lnTo>
                    <a:lnTo>
                      <a:pt x="6" y="64"/>
                    </a:lnTo>
                    <a:lnTo>
                      <a:pt x="6" y="64"/>
                    </a:lnTo>
                    <a:lnTo>
                      <a:pt x="8" y="66"/>
                    </a:lnTo>
                    <a:lnTo>
                      <a:pt x="8" y="66"/>
                    </a:lnTo>
                    <a:lnTo>
                      <a:pt x="10" y="66"/>
                    </a:lnTo>
                    <a:lnTo>
                      <a:pt x="10" y="66"/>
                    </a:lnTo>
                    <a:lnTo>
                      <a:pt x="14" y="64"/>
                    </a:lnTo>
                    <a:lnTo>
                      <a:pt x="14" y="64"/>
                    </a:lnTo>
                    <a:lnTo>
                      <a:pt x="14" y="64"/>
                    </a:lnTo>
                    <a:lnTo>
                      <a:pt x="14" y="64"/>
                    </a:lnTo>
                    <a:lnTo>
                      <a:pt x="14" y="64"/>
                    </a:lnTo>
                    <a:lnTo>
                      <a:pt x="14" y="64"/>
                    </a:lnTo>
                    <a:lnTo>
                      <a:pt x="12" y="68"/>
                    </a:lnTo>
                    <a:lnTo>
                      <a:pt x="8" y="70"/>
                    </a:lnTo>
                    <a:lnTo>
                      <a:pt x="8" y="70"/>
                    </a:lnTo>
                    <a:lnTo>
                      <a:pt x="8" y="70"/>
                    </a:lnTo>
                    <a:lnTo>
                      <a:pt x="8" y="70"/>
                    </a:lnTo>
                    <a:lnTo>
                      <a:pt x="6" y="68"/>
                    </a:lnTo>
                    <a:lnTo>
                      <a:pt x="6" y="68"/>
                    </a:lnTo>
                    <a:lnTo>
                      <a:pt x="4" y="66"/>
                    </a:lnTo>
                    <a:lnTo>
                      <a:pt x="2" y="62"/>
                    </a:lnTo>
                    <a:lnTo>
                      <a:pt x="2" y="58"/>
                    </a:lnTo>
                    <a:lnTo>
                      <a:pt x="2" y="54"/>
                    </a:lnTo>
                    <a:lnTo>
                      <a:pt x="2" y="54"/>
                    </a:lnTo>
                    <a:lnTo>
                      <a:pt x="6" y="50"/>
                    </a:lnTo>
                    <a:lnTo>
                      <a:pt x="6" y="50"/>
                    </a:lnTo>
                    <a:lnTo>
                      <a:pt x="8" y="50"/>
                    </a:lnTo>
                    <a:lnTo>
                      <a:pt x="8" y="50"/>
                    </a:lnTo>
                    <a:lnTo>
                      <a:pt x="8" y="50"/>
                    </a:lnTo>
                    <a:lnTo>
                      <a:pt x="8" y="50"/>
                    </a:lnTo>
                    <a:lnTo>
                      <a:pt x="10" y="50"/>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2" y="50"/>
                    </a:lnTo>
                    <a:lnTo>
                      <a:pt x="160" y="42"/>
                    </a:lnTo>
                    <a:lnTo>
                      <a:pt x="160"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6" y="98"/>
                    </a:lnTo>
                    <a:lnTo>
                      <a:pt x="126"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50" y="126"/>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0" name="Freeform 1046"/>
              <p:cNvSpPr>
                <a:spLocks/>
              </p:cNvSpPr>
              <p:nvPr/>
            </p:nvSpPr>
            <p:spPr bwMode="auto">
              <a:xfrm>
                <a:off x="1278" y="304"/>
                <a:ext cx="18" cy="28"/>
              </a:xfrm>
              <a:custGeom>
                <a:avLst/>
                <a:gdLst>
                  <a:gd name="T0" fmla="*/ 6 w 18"/>
                  <a:gd name="T1" fmla="*/ 18 h 28"/>
                  <a:gd name="T2" fmla="*/ 6 w 18"/>
                  <a:gd name="T3" fmla="*/ 18 h 28"/>
                  <a:gd name="T4" fmla="*/ 14 w 18"/>
                  <a:gd name="T5" fmla="*/ 0 h 28"/>
                  <a:gd name="T6" fmla="*/ 14 w 18"/>
                  <a:gd name="T7" fmla="*/ 0 h 28"/>
                  <a:gd name="T8" fmla="*/ 14 w 18"/>
                  <a:gd name="T9" fmla="*/ 2 h 28"/>
                  <a:gd name="T10" fmla="*/ 14 w 18"/>
                  <a:gd name="T11" fmla="*/ 2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2 w 18"/>
                  <a:gd name="T29" fmla="*/ 28 h 28"/>
                  <a:gd name="T30" fmla="*/ 12 w 18"/>
                  <a:gd name="T31" fmla="*/ 28 h 28"/>
                  <a:gd name="T32" fmla="*/ 0 w 18"/>
                  <a:gd name="T33" fmla="*/ 28 h 28"/>
                  <a:gd name="T34" fmla="*/ 0 w 18"/>
                  <a:gd name="T35" fmla="*/ 28 h 28"/>
                  <a:gd name="T36" fmla="*/ 6 w 18"/>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6" y="18"/>
                    </a:moveTo>
                    <a:lnTo>
                      <a:pt x="6" y="18"/>
                    </a:lnTo>
                    <a:lnTo>
                      <a:pt x="14" y="0"/>
                    </a:lnTo>
                    <a:lnTo>
                      <a:pt x="14" y="0"/>
                    </a:lnTo>
                    <a:lnTo>
                      <a:pt x="14" y="2"/>
                    </a:lnTo>
                    <a:lnTo>
                      <a:pt x="14" y="2"/>
                    </a:lnTo>
                    <a:lnTo>
                      <a:pt x="14" y="2"/>
                    </a:lnTo>
                    <a:lnTo>
                      <a:pt x="14" y="2"/>
                    </a:lnTo>
                    <a:lnTo>
                      <a:pt x="16" y="10"/>
                    </a:lnTo>
                    <a:lnTo>
                      <a:pt x="16" y="10"/>
                    </a:lnTo>
                    <a:lnTo>
                      <a:pt x="18" y="24"/>
                    </a:lnTo>
                    <a:lnTo>
                      <a:pt x="18" y="24"/>
                    </a:lnTo>
                    <a:lnTo>
                      <a:pt x="16" y="28"/>
                    </a:lnTo>
                    <a:lnTo>
                      <a:pt x="16" y="28"/>
                    </a:lnTo>
                    <a:lnTo>
                      <a:pt x="12" y="28"/>
                    </a:lnTo>
                    <a:lnTo>
                      <a:pt x="12" y="28"/>
                    </a:lnTo>
                    <a:lnTo>
                      <a:pt x="0" y="28"/>
                    </a:lnTo>
                    <a:lnTo>
                      <a:pt x="0" y="28"/>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1" name="Freeform 1047"/>
              <p:cNvSpPr>
                <a:spLocks/>
              </p:cNvSpPr>
              <p:nvPr/>
            </p:nvSpPr>
            <p:spPr bwMode="auto">
              <a:xfrm>
                <a:off x="1180" y="302"/>
                <a:ext cx="20" cy="22"/>
              </a:xfrm>
              <a:custGeom>
                <a:avLst/>
                <a:gdLst>
                  <a:gd name="T0" fmla="*/ 2 w 20"/>
                  <a:gd name="T1" fmla="*/ 6 h 22"/>
                  <a:gd name="T2" fmla="*/ 2 w 20"/>
                  <a:gd name="T3" fmla="*/ 6 h 22"/>
                  <a:gd name="T4" fmla="*/ 2 w 20"/>
                  <a:gd name="T5" fmla="*/ 4 h 22"/>
                  <a:gd name="T6" fmla="*/ 2 w 20"/>
                  <a:gd name="T7" fmla="*/ 4 h 22"/>
                  <a:gd name="T8" fmla="*/ 10 w 20"/>
                  <a:gd name="T9" fmla="*/ 0 h 22"/>
                  <a:gd name="T10" fmla="*/ 10 w 20"/>
                  <a:gd name="T11" fmla="*/ 0 h 22"/>
                  <a:gd name="T12" fmla="*/ 18 w 20"/>
                  <a:gd name="T13" fmla="*/ 16 h 22"/>
                  <a:gd name="T14" fmla="*/ 18 w 20"/>
                  <a:gd name="T15" fmla="*/ 16 h 22"/>
                  <a:gd name="T16" fmla="*/ 20 w 20"/>
                  <a:gd name="T17" fmla="*/ 18 h 22"/>
                  <a:gd name="T18" fmla="*/ 18 w 20"/>
                  <a:gd name="T19" fmla="*/ 20 h 22"/>
                  <a:gd name="T20" fmla="*/ 18 w 20"/>
                  <a:gd name="T21" fmla="*/ 20 h 22"/>
                  <a:gd name="T22" fmla="*/ 18 w 20"/>
                  <a:gd name="T23" fmla="*/ 22 h 22"/>
                  <a:gd name="T24" fmla="*/ 16 w 20"/>
                  <a:gd name="T25" fmla="*/ 22 h 22"/>
                  <a:gd name="T26" fmla="*/ 16 w 20"/>
                  <a:gd name="T27" fmla="*/ 22 h 22"/>
                  <a:gd name="T28" fmla="*/ 14 w 20"/>
                  <a:gd name="T29" fmla="*/ 22 h 22"/>
                  <a:gd name="T30" fmla="*/ 14 w 20"/>
                  <a:gd name="T31" fmla="*/ 22 h 22"/>
                  <a:gd name="T32" fmla="*/ 10 w 20"/>
                  <a:gd name="T33" fmla="*/ 20 h 22"/>
                  <a:gd name="T34" fmla="*/ 6 w 20"/>
                  <a:gd name="T35" fmla="*/ 18 h 22"/>
                  <a:gd name="T36" fmla="*/ 2 w 20"/>
                  <a:gd name="T37" fmla="*/ 14 h 22"/>
                  <a:gd name="T38" fmla="*/ 0 w 20"/>
                  <a:gd name="T39" fmla="*/ 10 h 22"/>
                  <a:gd name="T40" fmla="*/ 0 w 20"/>
                  <a:gd name="T41" fmla="*/ 10 h 22"/>
                  <a:gd name="T42" fmla="*/ 2 w 20"/>
                  <a:gd name="T4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2">
                    <a:moveTo>
                      <a:pt x="2" y="6"/>
                    </a:moveTo>
                    <a:lnTo>
                      <a:pt x="2" y="6"/>
                    </a:lnTo>
                    <a:lnTo>
                      <a:pt x="2" y="4"/>
                    </a:lnTo>
                    <a:lnTo>
                      <a:pt x="2" y="4"/>
                    </a:lnTo>
                    <a:lnTo>
                      <a:pt x="10" y="0"/>
                    </a:lnTo>
                    <a:lnTo>
                      <a:pt x="10" y="0"/>
                    </a:lnTo>
                    <a:lnTo>
                      <a:pt x="18" y="16"/>
                    </a:lnTo>
                    <a:lnTo>
                      <a:pt x="18" y="16"/>
                    </a:lnTo>
                    <a:lnTo>
                      <a:pt x="20" y="18"/>
                    </a:lnTo>
                    <a:lnTo>
                      <a:pt x="18" y="20"/>
                    </a:lnTo>
                    <a:lnTo>
                      <a:pt x="18" y="20"/>
                    </a:lnTo>
                    <a:lnTo>
                      <a:pt x="18" y="22"/>
                    </a:lnTo>
                    <a:lnTo>
                      <a:pt x="16" y="22"/>
                    </a:lnTo>
                    <a:lnTo>
                      <a:pt x="16" y="22"/>
                    </a:lnTo>
                    <a:lnTo>
                      <a:pt x="14" y="22"/>
                    </a:lnTo>
                    <a:lnTo>
                      <a:pt x="14" y="22"/>
                    </a:lnTo>
                    <a:lnTo>
                      <a:pt x="10" y="20"/>
                    </a:lnTo>
                    <a:lnTo>
                      <a:pt x="6" y="18"/>
                    </a:lnTo>
                    <a:lnTo>
                      <a:pt x="2" y="14"/>
                    </a:lnTo>
                    <a:lnTo>
                      <a:pt x="0" y="10"/>
                    </a:lnTo>
                    <a:lnTo>
                      <a:pt x="0" y="10"/>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2" name="Freeform 1048"/>
              <p:cNvSpPr>
                <a:spLocks/>
              </p:cNvSpPr>
              <p:nvPr/>
            </p:nvSpPr>
            <p:spPr bwMode="auto">
              <a:xfrm>
                <a:off x="1178" y="252"/>
                <a:ext cx="12" cy="2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4 w 12"/>
                  <a:gd name="T13" fmla="*/ 14 h 20"/>
                  <a:gd name="T14" fmla="*/ 4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4" y="14"/>
                    </a:lnTo>
                    <a:lnTo>
                      <a:pt x="4" y="14"/>
                    </a:lnTo>
                    <a:lnTo>
                      <a:pt x="6" y="16"/>
                    </a:lnTo>
                    <a:lnTo>
                      <a:pt x="6" y="16"/>
                    </a:lnTo>
                    <a:lnTo>
                      <a:pt x="8" y="16"/>
                    </a:lnTo>
                    <a:lnTo>
                      <a:pt x="8" y="16"/>
                    </a:lnTo>
                    <a:lnTo>
                      <a:pt x="12" y="14"/>
                    </a:lnTo>
                    <a:lnTo>
                      <a:pt x="12" y="14"/>
                    </a:lnTo>
                    <a:lnTo>
                      <a:pt x="12" y="14"/>
                    </a:lnTo>
                    <a:lnTo>
                      <a:pt x="12" y="14"/>
                    </a:lnTo>
                    <a:lnTo>
                      <a:pt x="12" y="14"/>
                    </a:lnTo>
                    <a:lnTo>
                      <a:pt x="12" y="14"/>
                    </a:lnTo>
                    <a:lnTo>
                      <a:pt x="10" y="18"/>
                    </a:lnTo>
                    <a:lnTo>
                      <a:pt x="6" y="20"/>
                    </a:lnTo>
                    <a:lnTo>
                      <a:pt x="6" y="20"/>
                    </a:lnTo>
                    <a:lnTo>
                      <a:pt x="6" y="20"/>
                    </a:lnTo>
                    <a:lnTo>
                      <a:pt x="6" y="20"/>
                    </a:lnTo>
                    <a:lnTo>
                      <a:pt x="4" y="18"/>
                    </a:lnTo>
                    <a:lnTo>
                      <a:pt x="4" y="18"/>
                    </a:lnTo>
                    <a:lnTo>
                      <a:pt x="2" y="16"/>
                    </a:lnTo>
                    <a:lnTo>
                      <a:pt x="0" y="12"/>
                    </a:lnTo>
                    <a:lnTo>
                      <a:pt x="0" y="8"/>
                    </a:lnTo>
                    <a:lnTo>
                      <a:pt x="0" y="4"/>
                    </a:lnTo>
                    <a:lnTo>
                      <a:pt x="0" y="4"/>
                    </a:lnTo>
                    <a:lnTo>
                      <a:pt x="4" y="0"/>
                    </a:lnTo>
                    <a:lnTo>
                      <a:pt x="4"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3" name="Freeform 1049"/>
              <p:cNvSpPr>
                <a:spLocks/>
              </p:cNvSpPr>
              <p:nvPr/>
            </p:nvSpPr>
            <p:spPr bwMode="auto">
              <a:xfrm>
                <a:off x="1190" y="206"/>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30 w 170"/>
                  <a:gd name="T77" fmla="*/ 136 h 138"/>
                  <a:gd name="T78" fmla="*/ 10 w 170"/>
                  <a:gd name="T79" fmla="*/ 126 h 138"/>
                  <a:gd name="T80" fmla="*/ 12 w 170"/>
                  <a:gd name="T81" fmla="*/ 118 h 138"/>
                  <a:gd name="T82" fmla="*/ 6 w 170"/>
                  <a:gd name="T83" fmla="*/ 102 h 138"/>
                  <a:gd name="T84" fmla="*/ 0 w 170"/>
                  <a:gd name="T85" fmla="*/ 74 h 138"/>
                  <a:gd name="T86" fmla="*/ 16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4 h 138"/>
                  <a:gd name="T100" fmla="*/ 58 w 170"/>
                  <a:gd name="T101" fmla="*/ 92 h 138"/>
                  <a:gd name="T102" fmla="*/ 80 w 170"/>
                  <a:gd name="T103" fmla="*/ 80 h 138"/>
                  <a:gd name="T104" fmla="*/ 82 w 170"/>
                  <a:gd name="T105" fmla="*/ 54 h 138"/>
                  <a:gd name="T106" fmla="*/ 78 w 170"/>
                  <a:gd name="T107" fmla="*/ 56 h 138"/>
                  <a:gd name="T108" fmla="*/ 76 w 170"/>
                  <a:gd name="T109" fmla="*/ 80 h 138"/>
                  <a:gd name="T110" fmla="*/ 58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8" y="46"/>
                    </a:lnTo>
                    <a:lnTo>
                      <a:pt x="146" y="38"/>
                    </a:lnTo>
                    <a:lnTo>
                      <a:pt x="146"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2" y="94"/>
                    </a:lnTo>
                    <a:lnTo>
                      <a:pt x="112"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4" name="Freeform 1050"/>
              <p:cNvSpPr>
                <a:spLocks/>
              </p:cNvSpPr>
              <p:nvPr/>
            </p:nvSpPr>
            <p:spPr bwMode="auto">
              <a:xfrm>
                <a:off x="1176" y="202"/>
                <a:ext cx="188" cy="146"/>
              </a:xfrm>
              <a:custGeom>
                <a:avLst/>
                <a:gdLst>
                  <a:gd name="T0" fmla="*/ 104 w 188"/>
                  <a:gd name="T1" fmla="*/ 0 h 146"/>
                  <a:gd name="T2" fmla="*/ 84 w 188"/>
                  <a:gd name="T3" fmla="*/ 12 h 146"/>
                  <a:gd name="T4" fmla="*/ 76 w 188"/>
                  <a:gd name="T5" fmla="*/ 20 h 146"/>
                  <a:gd name="T6" fmla="*/ 70 w 188"/>
                  <a:gd name="T7" fmla="*/ 22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4 w 188"/>
                  <a:gd name="T25" fmla="*/ 68 h 146"/>
                  <a:gd name="T26" fmla="*/ 10 w 188"/>
                  <a:gd name="T27" fmla="*/ 72 h 146"/>
                  <a:gd name="T28" fmla="*/ 10 w 188"/>
                  <a:gd name="T29" fmla="*/ 84 h 146"/>
                  <a:gd name="T30" fmla="*/ 8 w 188"/>
                  <a:gd name="T31" fmla="*/ 98 h 146"/>
                  <a:gd name="T32" fmla="*/ 2 w 188"/>
                  <a:gd name="T33" fmla="*/ 106 h 146"/>
                  <a:gd name="T34" fmla="*/ 6 w 188"/>
                  <a:gd name="T35" fmla="*/ 118 h 146"/>
                  <a:gd name="T36" fmla="*/ 14 w 188"/>
                  <a:gd name="T37" fmla="*/ 124 h 146"/>
                  <a:gd name="T38" fmla="*/ 20 w 188"/>
                  <a:gd name="T39" fmla="*/ 130 h 146"/>
                  <a:gd name="T40" fmla="*/ 22 w 188"/>
                  <a:gd name="T41" fmla="*/ 138 h 146"/>
                  <a:gd name="T42" fmla="*/ 32 w 188"/>
                  <a:gd name="T43" fmla="*/ 142 h 146"/>
                  <a:gd name="T44" fmla="*/ 44 w 188"/>
                  <a:gd name="T45" fmla="*/ 144 h 146"/>
                  <a:gd name="T46" fmla="*/ 48 w 188"/>
                  <a:gd name="T47" fmla="*/ 142 h 146"/>
                  <a:gd name="T48" fmla="*/ 50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6" y="90"/>
                    </a:lnTo>
                    <a:lnTo>
                      <a:pt x="174" y="86"/>
                    </a:lnTo>
                    <a:lnTo>
                      <a:pt x="180" y="80"/>
                    </a:lnTo>
                    <a:lnTo>
                      <a:pt x="184" y="72"/>
                    </a:lnTo>
                    <a:lnTo>
                      <a:pt x="184" y="72"/>
                    </a:lnTo>
                    <a:lnTo>
                      <a:pt x="188" y="58"/>
                    </a:lnTo>
                    <a:lnTo>
                      <a:pt x="186" y="46"/>
                    </a:lnTo>
                    <a:lnTo>
                      <a:pt x="186"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5" name="Freeform 1051"/>
              <p:cNvSpPr>
                <a:spLocks/>
              </p:cNvSpPr>
              <p:nvPr/>
            </p:nvSpPr>
            <p:spPr bwMode="auto">
              <a:xfrm>
                <a:off x="1182" y="302"/>
                <a:ext cx="16" cy="22"/>
              </a:xfrm>
              <a:custGeom>
                <a:avLst/>
                <a:gdLst>
                  <a:gd name="T0" fmla="*/ 8 w 16"/>
                  <a:gd name="T1" fmla="*/ 0 h 22"/>
                  <a:gd name="T2" fmla="*/ 8 w 16"/>
                  <a:gd name="T3" fmla="*/ 0 h 22"/>
                  <a:gd name="T4" fmla="*/ 0 w 16"/>
                  <a:gd name="T5" fmla="*/ 6 h 22"/>
                  <a:gd name="T6" fmla="*/ 0 w 16"/>
                  <a:gd name="T7" fmla="*/ 6 h 22"/>
                  <a:gd name="T8" fmla="*/ 0 w 16"/>
                  <a:gd name="T9" fmla="*/ 6 h 22"/>
                  <a:gd name="T10" fmla="*/ 0 w 16"/>
                  <a:gd name="T11" fmla="*/ 6 h 22"/>
                  <a:gd name="T12" fmla="*/ 0 w 16"/>
                  <a:gd name="T13" fmla="*/ 8 h 22"/>
                  <a:gd name="T14" fmla="*/ 0 w 16"/>
                  <a:gd name="T15" fmla="*/ 8 h 22"/>
                  <a:gd name="T16" fmla="*/ 0 w 16"/>
                  <a:gd name="T17" fmla="*/ 12 h 22"/>
                  <a:gd name="T18" fmla="*/ 4 w 16"/>
                  <a:gd name="T19" fmla="*/ 16 h 22"/>
                  <a:gd name="T20" fmla="*/ 8 w 16"/>
                  <a:gd name="T21" fmla="*/ 20 h 22"/>
                  <a:gd name="T22" fmla="*/ 12 w 16"/>
                  <a:gd name="T23" fmla="*/ 22 h 22"/>
                  <a:gd name="T24" fmla="*/ 12 w 16"/>
                  <a:gd name="T25" fmla="*/ 22 h 22"/>
                  <a:gd name="T26" fmla="*/ 14 w 16"/>
                  <a:gd name="T27" fmla="*/ 22 h 22"/>
                  <a:gd name="T28" fmla="*/ 14 w 16"/>
                  <a:gd name="T29" fmla="*/ 22 h 22"/>
                  <a:gd name="T30" fmla="*/ 16 w 16"/>
                  <a:gd name="T31" fmla="*/ 20 h 22"/>
                  <a:gd name="T32" fmla="*/ 16 w 16"/>
                  <a:gd name="T33" fmla="*/ 20 h 22"/>
                  <a:gd name="T34" fmla="*/ 16 w 16"/>
                  <a:gd name="T35" fmla="*/ 16 h 22"/>
                  <a:gd name="T36" fmla="*/ 16 w 16"/>
                  <a:gd name="T37" fmla="*/ 16 h 22"/>
                  <a:gd name="T38" fmla="*/ 8 w 16"/>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8" y="0"/>
                    </a:moveTo>
                    <a:lnTo>
                      <a:pt x="8" y="0"/>
                    </a:lnTo>
                    <a:lnTo>
                      <a:pt x="0" y="6"/>
                    </a:lnTo>
                    <a:lnTo>
                      <a:pt x="0" y="6"/>
                    </a:lnTo>
                    <a:lnTo>
                      <a:pt x="0" y="6"/>
                    </a:lnTo>
                    <a:lnTo>
                      <a:pt x="0" y="6"/>
                    </a:lnTo>
                    <a:lnTo>
                      <a:pt x="0" y="8"/>
                    </a:lnTo>
                    <a:lnTo>
                      <a:pt x="0" y="8"/>
                    </a:lnTo>
                    <a:lnTo>
                      <a:pt x="0" y="12"/>
                    </a:lnTo>
                    <a:lnTo>
                      <a:pt x="4" y="16"/>
                    </a:lnTo>
                    <a:lnTo>
                      <a:pt x="8" y="20"/>
                    </a:lnTo>
                    <a:lnTo>
                      <a:pt x="12" y="22"/>
                    </a:lnTo>
                    <a:lnTo>
                      <a:pt x="12" y="22"/>
                    </a:lnTo>
                    <a:lnTo>
                      <a:pt x="14" y="22"/>
                    </a:lnTo>
                    <a:lnTo>
                      <a:pt x="14" y="22"/>
                    </a:lnTo>
                    <a:lnTo>
                      <a:pt x="16" y="20"/>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6" name="Freeform 1052"/>
              <p:cNvSpPr>
                <a:spLocks/>
              </p:cNvSpPr>
              <p:nvPr/>
            </p:nvSpPr>
            <p:spPr bwMode="auto">
              <a:xfrm>
                <a:off x="1182" y="302"/>
                <a:ext cx="16" cy="22"/>
              </a:xfrm>
              <a:custGeom>
                <a:avLst/>
                <a:gdLst>
                  <a:gd name="T0" fmla="*/ 8 w 16"/>
                  <a:gd name="T1" fmla="*/ 0 h 22"/>
                  <a:gd name="T2" fmla="*/ 8 w 16"/>
                  <a:gd name="T3" fmla="*/ 0 h 22"/>
                  <a:gd name="T4" fmla="*/ 0 w 16"/>
                  <a:gd name="T5" fmla="*/ 6 h 22"/>
                  <a:gd name="T6" fmla="*/ 0 w 16"/>
                  <a:gd name="T7" fmla="*/ 6 h 22"/>
                  <a:gd name="T8" fmla="*/ 0 w 16"/>
                  <a:gd name="T9" fmla="*/ 6 h 22"/>
                  <a:gd name="T10" fmla="*/ 0 w 16"/>
                  <a:gd name="T11" fmla="*/ 6 h 22"/>
                  <a:gd name="T12" fmla="*/ 0 w 16"/>
                  <a:gd name="T13" fmla="*/ 8 h 22"/>
                  <a:gd name="T14" fmla="*/ 0 w 16"/>
                  <a:gd name="T15" fmla="*/ 8 h 22"/>
                  <a:gd name="T16" fmla="*/ 0 w 16"/>
                  <a:gd name="T17" fmla="*/ 12 h 22"/>
                  <a:gd name="T18" fmla="*/ 4 w 16"/>
                  <a:gd name="T19" fmla="*/ 16 h 22"/>
                  <a:gd name="T20" fmla="*/ 8 w 16"/>
                  <a:gd name="T21" fmla="*/ 20 h 22"/>
                  <a:gd name="T22" fmla="*/ 12 w 16"/>
                  <a:gd name="T23" fmla="*/ 22 h 22"/>
                  <a:gd name="T24" fmla="*/ 12 w 16"/>
                  <a:gd name="T25" fmla="*/ 22 h 22"/>
                  <a:gd name="T26" fmla="*/ 14 w 16"/>
                  <a:gd name="T27" fmla="*/ 22 h 22"/>
                  <a:gd name="T28" fmla="*/ 14 w 16"/>
                  <a:gd name="T29" fmla="*/ 22 h 22"/>
                  <a:gd name="T30" fmla="*/ 16 w 16"/>
                  <a:gd name="T31" fmla="*/ 20 h 22"/>
                  <a:gd name="T32" fmla="*/ 16 w 16"/>
                  <a:gd name="T33" fmla="*/ 20 h 22"/>
                  <a:gd name="T34" fmla="*/ 16 w 16"/>
                  <a:gd name="T35" fmla="*/ 16 h 22"/>
                  <a:gd name="T36" fmla="*/ 16 w 16"/>
                  <a:gd name="T37" fmla="*/ 16 h 22"/>
                  <a:gd name="T38" fmla="*/ 8 w 16"/>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2">
                    <a:moveTo>
                      <a:pt x="8" y="0"/>
                    </a:moveTo>
                    <a:lnTo>
                      <a:pt x="8" y="0"/>
                    </a:lnTo>
                    <a:lnTo>
                      <a:pt x="0" y="6"/>
                    </a:lnTo>
                    <a:lnTo>
                      <a:pt x="0" y="6"/>
                    </a:lnTo>
                    <a:lnTo>
                      <a:pt x="0" y="6"/>
                    </a:lnTo>
                    <a:lnTo>
                      <a:pt x="0" y="6"/>
                    </a:lnTo>
                    <a:lnTo>
                      <a:pt x="0" y="8"/>
                    </a:lnTo>
                    <a:lnTo>
                      <a:pt x="0" y="8"/>
                    </a:lnTo>
                    <a:lnTo>
                      <a:pt x="0" y="12"/>
                    </a:lnTo>
                    <a:lnTo>
                      <a:pt x="4" y="16"/>
                    </a:lnTo>
                    <a:lnTo>
                      <a:pt x="8" y="20"/>
                    </a:lnTo>
                    <a:lnTo>
                      <a:pt x="12" y="22"/>
                    </a:lnTo>
                    <a:lnTo>
                      <a:pt x="12" y="22"/>
                    </a:lnTo>
                    <a:lnTo>
                      <a:pt x="14" y="22"/>
                    </a:lnTo>
                    <a:lnTo>
                      <a:pt x="14" y="22"/>
                    </a:lnTo>
                    <a:lnTo>
                      <a:pt x="16" y="20"/>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7" name="Freeform 1053"/>
              <p:cNvSpPr>
                <a:spLocks/>
              </p:cNvSpPr>
              <p:nvPr/>
            </p:nvSpPr>
            <p:spPr bwMode="auto">
              <a:xfrm>
                <a:off x="1182" y="302"/>
                <a:ext cx="18" cy="20"/>
              </a:xfrm>
              <a:custGeom>
                <a:avLst/>
                <a:gdLst>
                  <a:gd name="T0" fmla="*/ 8 w 18"/>
                  <a:gd name="T1" fmla="*/ 0 h 20"/>
                  <a:gd name="T2" fmla="*/ 8 w 18"/>
                  <a:gd name="T3" fmla="*/ 0 h 20"/>
                  <a:gd name="T4" fmla="*/ 0 w 18"/>
                  <a:gd name="T5" fmla="*/ 4 h 20"/>
                  <a:gd name="T6" fmla="*/ 0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6 w 18"/>
                  <a:gd name="T25" fmla="*/ 20 h 20"/>
                  <a:gd name="T26" fmla="*/ 16 w 18"/>
                  <a:gd name="T27" fmla="*/ 20 h 20"/>
                  <a:gd name="T28" fmla="*/ 18 w 18"/>
                  <a:gd name="T29" fmla="*/ 18 h 20"/>
                  <a:gd name="T30" fmla="*/ 16 w 18"/>
                  <a:gd name="T31" fmla="*/ 16 h 20"/>
                  <a:gd name="T32" fmla="*/ 16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0" y="4"/>
                    </a:lnTo>
                    <a:lnTo>
                      <a:pt x="0" y="4"/>
                    </a:lnTo>
                    <a:lnTo>
                      <a:pt x="0" y="6"/>
                    </a:lnTo>
                    <a:lnTo>
                      <a:pt x="0" y="6"/>
                    </a:lnTo>
                    <a:lnTo>
                      <a:pt x="0" y="6"/>
                    </a:lnTo>
                    <a:lnTo>
                      <a:pt x="0" y="6"/>
                    </a:lnTo>
                    <a:lnTo>
                      <a:pt x="8" y="0"/>
                    </a:lnTo>
                    <a:lnTo>
                      <a:pt x="8" y="0"/>
                    </a:lnTo>
                    <a:lnTo>
                      <a:pt x="16" y="16"/>
                    </a:lnTo>
                    <a:lnTo>
                      <a:pt x="16" y="16"/>
                    </a:lnTo>
                    <a:lnTo>
                      <a:pt x="16" y="20"/>
                    </a:lnTo>
                    <a:lnTo>
                      <a:pt x="16" y="20"/>
                    </a:lnTo>
                    <a:lnTo>
                      <a:pt x="18" y="18"/>
                    </a:lnTo>
                    <a:lnTo>
                      <a:pt x="16" y="16"/>
                    </a:lnTo>
                    <a:lnTo>
                      <a:pt x="16"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8" name="Freeform 1054"/>
              <p:cNvSpPr>
                <a:spLocks/>
              </p:cNvSpPr>
              <p:nvPr/>
            </p:nvSpPr>
            <p:spPr bwMode="auto">
              <a:xfrm>
                <a:off x="1182" y="302"/>
                <a:ext cx="18" cy="20"/>
              </a:xfrm>
              <a:custGeom>
                <a:avLst/>
                <a:gdLst>
                  <a:gd name="T0" fmla="*/ 8 w 18"/>
                  <a:gd name="T1" fmla="*/ 0 h 20"/>
                  <a:gd name="T2" fmla="*/ 8 w 18"/>
                  <a:gd name="T3" fmla="*/ 0 h 20"/>
                  <a:gd name="T4" fmla="*/ 0 w 18"/>
                  <a:gd name="T5" fmla="*/ 4 h 20"/>
                  <a:gd name="T6" fmla="*/ 0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6 w 18"/>
                  <a:gd name="T25" fmla="*/ 20 h 20"/>
                  <a:gd name="T26" fmla="*/ 16 w 18"/>
                  <a:gd name="T27" fmla="*/ 20 h 20"/>
                  <a:gd name="T28" fmla="*/ 18 w 18"/>
                  <a:gd name="T29" fmla="*/ 18 h 20"/>
                  <a:gd name="T30" fmla="*/ 16 w 18"/>
                  <a:gd name="T31" fmla="*/ 16 h 20"/>
                  <a:gd name="T32" fmla="*/ 16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0" y="4"/>
                    </a:lnTo>
                    <a:lnTo>
                      <a:pt x="0" y="4"/>
                    </a:lnTo>
                    <a:lnTo>
                      <a:pt x="0" y="6"/>
                    </a:lnTo>
                    <a:lnTo>
                      <a:pt x="0" y="6"/>
                    </a:lnTo>
                    <a:lnTo>
                      <a:pt x="0" y="6"/>
                    </a:lnTo>
                    <a:lnTo>
                      <a:pt x="0" y="6"/>
                    </a:lnTo>
                    <a:lnTo>
                      <a:pt x="8" y="0"/>
                    </a:lnTo>
                    <a:lnTo>
                      <a:pt x="8" y="0"/>
                    </a:lnTo>
                    <a:lnTo>
                      <a:pt x="16" y="16"/>
                    </a:lnTo>
                    <a:lnTo>
                      <a:pt x="16" y="16"/>
                    </a:lnTo>
                    <a:lnTo>
                      <a:pt x="16" y="20"/>
                    </a:lnTo>
                    <a:lnTo>
                      <a:pt x="16" y="20"/>
                    </a:lnTo>
                    <a:lnTo>
                      <a:pt x="18" y="18"/>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39" name="Freeform 1055"/>
              <p:cNvSpPr>
                <a:spLocks/>
              </p:cNvSpPr>
              <p:nvPr/>
            </p:nvSpPr>
            <p:spPr bwMode="auto">
              <a:xfrm>
                <a:off x="1280" y="306"/>
                <a:ext cx="16" cy="26"/>
              </a:xfrm>
              <a:custGeom>
                <a:avLst/>
                <a:gdLst>
                  <a:gd name="T0" fmla="*/ 12 w 16"/>
                  <a:gd name="T1" fmla="*/ 0 h 26"/>
                  <a:gd name="T2" fmla="*/ 12 w 16"/>
                  <a:gd name="T3" fmla="*/ 0 h 26"/>
                  <a:gd name="T4" fmla="*/ 4 w 16"/>
                  <a:gd name="T5" fmla="*/ 16 h 26"/>
                  <a:gd name="T6" fmla="*/ 4 w 16"/>
                  <a:gd name="T7" fmla="*/ 16 h 26"/>
                  <a:gd name="T8" fmla="*/ 0 w 16"/>
                  <a:gd name="T9" fmla="*/ 26 h 26"/>
                  <a:gd name="T10" fmla="*/ 0 w 16"/>
                  <a:gd name="T11" fmla="*/ 26 h 26"/>
                  <a:gd name="T12" fmla="*/ 8 w 16"/>
                  <a:gd name="T13" fmla="*/ 26 h 26"/>
                  <a:gd name="T14" fmla="*/ 8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4" y="16"/>
                    </a:lnTo>
                    <a:lnTo>
                      <a:pt x="4" y="16"/>
                    </a:lnTo>
                    <a:lnTo>
                      <a:pt x="0" y="26"/>
                    </a:lnTo>
                    <a:lnTo>
                      <a:pt x="0" y="26"/>
                    </a:lnTo>
                    <a:lnTo>
                      <a:pt x="8" y="26"/>
                    </a:lnTo>
                    <a:lnTo>
                      <a:pt x="8" y="26"/>
                    </a:lnTo>
                    <a:lnTo>
                      <a:pt x="14" y="26"/>
                    </a:lnTo>
                    <a:lnTo>
                      <a:pt x="14" y="26"/>
                    </a:lnTo>
                    <a:lnTo>
                      <a:pt x="16" y="22"/>
                    </a:lnTo>
                    <a:lnTo>
                      <a:pt x="16" y="22"/>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0" name="Freeform 1056"/>
              <p:cNvSpPr>
                <a:spLocks/>
              </p:cNvSpPr>
              <p:nvPr/>
            </p:nvSpPr>
            <p:spPr bwMode="auto">
              <a:xfrm>
                <a:off x="1280" y="306"/>
                <a:ext cx="16" cy="26"/>
              </a:xfrm>
              <a:custGeom>
                <a:avLst/>
                <a:gdLst>
                  <a:gd name="T0" fmla="*/ 12 w 16"/>
                  <a:gd name="T1" fmla="*/ 0 h 26"/>
                  <a:gd name="T2" fmla="*/ 12 w 16"/>
                  <a:gd name="T3" fmla="*/ 0 h 26"/>
                  <a:gd name="T4" fmla="*/ 4 w 16"/>
                  <a:gd name="T5" fmla="*/ 16 h 26"/>
                  <a:gd name="T6" fmla="*/ 4 w 16"/>
                  <a:gd name="T7" fmla="*/ 16 h 26"/>
                  <a:gd name="T8" fmla="*/ 0 w 16"/>
                  <a:gd name="T9" fmla="*/ 26 h 26"/>
                  <a:gd name="T10" fmla="*/ 0 w 16"/>
                  <a:gd name="T11" fmla="*/ 26 h 26"/>
                  <a:gd name="T12" fmla="*/ 8 w 16"/>
                  <a:gd name="T13" fmla="*/ 26 h 26"/>
                  <a:gd name="T14" fmla="*/ 8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4" y="16"/>
                    </a:lnTo>
                    <a:lnTo>
                      <a:pt x="4" y="16"/>
                    </a:lnTo>
                    <a:lnTo>
                      <a:pt x="0" y="26"/>
                    </a:lnTo>
                    <a:lnTo>
                      <a:pt x="0" y="26"/>
                    </a:lnTo>
                    <a:lnTo>
                      <a:pt x="8" y="26"/>
                    </a:lnTo>
                    <a:lnTo>
                      <a:pt x="8"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1" name="Freeform 1057"/>
              <p:cNvSpPr>
                <a:spLocks/>
              </p:cNvSpPr>
              <p:nvPr/>
            </p:nvSpPr>
            <p:spPr bwMode="auto">
              <a:xfrm>
                <a:off x="1284" y="304"/>
                <a:ext cx="8" cy="18"/>
              </a:xfrm>
              <a:custGeom>
                <a:avLst/>
                <a:gdLst>
                  <a:gd name="T0" fmla="*/ 8 w 8"/>
                  <a:gd name="T1" fmla="*/ 0 h 18"/>
                  <a:gd name="T2" fmla="*/ 8 w 8"/>
                  <a:gd name="T3" fmla="*/ 0 h 18"/>
                  <a:gd name="T4" fmla="*/ 0 w 8"/>
                  <a:gd name="T5" fmla="*/ 18 h 18"/>
                  <a:gd name="T6" fmla="*/ 0 w 8"/>
                  <a:gd name="T7" fmla="*/ 18 h 18"/>
                  <a:gd name="T8" fmla="*/ 8 w 8"/>
                  <a:gd name="T9" fmla="*/ 2 h 18"/>
                  <a:gd name="T10" fmla="*/ 8 w 8"/>
                  <a:gd name="T11" fmla="*/ 2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2"/>
                    </a:lnTo>
                    <a:lnTo>
                      <a:pt x="8" y="2"/>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2" name="Freeform 1058"/>
              <p:cNvSpPr>
                <a:spLocks/>
              </p:cNvSpPr>
              <p:nvPr/>
            </p:nvSpPr>
            <p:spPr bwMode="auto">
              <a:xfrm>
                <a:off x="1284" y="304"/>
                <a:ext cx="8" cy="18"/>
              </a:xfrm>
              <a:custGeom>
                <a:avLst/>
                <a:gdLst>
                  <a:gd name="T0" fmla="*/ 8 w 8"/>
                  <a:gd name="T1" fmla="*/ 0 h 18"/>
                  <a:gd name="T2" fmla="*/ 8 w 8"/>
                  <a:gd name="T3" fmla="*/ 0 h 18"/>
                  <a:gd name="T4" fmla="*/ 0 w 8"/>
                  <a:gd name="T5" fmla="*/ 18 h 18"/>
                  <a:gd name="T6" fmla="*/ 0 w 8"/>
                  <a:gd name="T7" fmla="*/ 18 h 18"/>
                  <a:gd name="T8" fmla="*/ 8 w 8"/>
                  <a:gd name="T9" fmla="*/ 2 h 18"/>
                  <a:gd name="T10" fmla="*/ 8 w 8"/>
                  <a:gd name="T11" fmla="*/ 2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2"/>
                    </a:lnTo>
                    <a:lnTo>
                      <a:pt x="8"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3" name="Freeform 1059"/>
              <p:cNvSpPr>
                <a:spLocks/>
              </p:cNvSpPr>
              <p:nvPr/>
            </p:nvSpPr>
            <p:spPr bwMode="auto">
              <a:xfrm>
                <a:off x="1178" y="25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6" y="20"/>
                    </a:lnTo>
                    <a:lnTo>
                      <a:pt x="6" y="20"/>
                    </a:lnTo>
                    <a:lnTo>
                      <a:pt x="10" y="18"/>
                    </a:lnTo>
                    <a:lnTo>
                      <a:pt x="12" y="14"/>
                    </a:lnTo>
                    <a:lnTo>
                      <a:pt x="12" y="14"/>
                    </a:lnTo>
                    <a:lnTo>
                      <a:pt x="8" y="16"/>
                    </a:lnTo>
                    <a:lnTo>
                      <a:pt x="8" y="16"/>
                    </a:lnTo>
                    <a:lnTo>
                      <a:pt x="6" y="16"/>
                    </a:lnTo>
                    <a:lnTo>
                      <a:pt x="6" y="16"/>
                    </a:lnTo>
                    <a:lnTo>
                      <a:pt x="4" y="14"/>
                    </a:lnTo>
                    <a:lnTo>
                      <a:pt x="4" y="14"/>
                    </a:lnTo>
                    <a:lnTo>
                      <a:pt x="2" y="10"/>
                    </a:lnTo>
                    <a:lnTo>
                      <a:pt x="2" y="1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4" name="Freeform 1060"/>
              <p:cNvSpPr>
                <a:spLocks/>
              </p:cNvSpPr>
              <p:nvPr/>
            </p:nvSpPr>
            <p:spPr bwMode="auto">
              <a:xfrm>
                <a:off x="1178" y="252"/>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6 w 12"/>
                  <a:gd name="T27" fmla="*/ 20 h 20"/>
                  <a:gd name="T28" fmla="*/ 6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6" y="20"/>
                    </a:lnTo>
                    <a:lnTo>
                      <a:pt x="6" y="20"/>
                    </a:lnTo>
                    <a:lnTo>
                      <a:pt x="10" y="18"/>
                    </a:lnTo>
                    <a:lnTo>
                      <a:pt x="12" y="14"/>
                    </a:lnTo>
                    <a:lnTo>
                      <a:pt x="12" y="14"/>
                    </a:lnTo>
                    <a:lnTo>
                      <a:pt x="8" y="16"/>
                    </a:lnTo>
                    <a:lnTo>
                      <a:pt x="8" y="16"/>
                    </a:lnTo>
                    <a:lnTo>
                      <a:pt x="6" y="16"/>
                    </a:lnTo>
                    <a:lnTo>
                      <a:pt x="6"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5" name="Freeform 1061"/>
              <p:cNvSpPr>
                <a:spLocks noEditPoints="1"/>
              </p:cNvSpPr>
              <p:nvPr/>
            </p:nvSpPr>
            <p:spPr bwMode="auto">
              <a:xfrm>
                <a:off x="1180" y="252"/>
                <a:ext cx="10" cy="20"/>
              </a:xfrm>
              <a:custGeom>
                <a:avLst/>
                <a:gdLst>
                  <a:gd name="T0" fmla="*/ 10 w 10"/>
                  <a:gd name="T1" fmla="*/ 14 h 20"/>
                  <a:gd name="T2" fmla="*/ 10 w 10"/>
                  <a:gd name="T3" fmla="*/ 14 h 20"/>
                  <a:gd name="T4" fmla="*/ 10 w 10"/>
                  <a:gd name="T5" fmla="*/ 14 h 20"/>
                  <a:gd name="T6" fmla="*/ 10 w 10"/>
                  <a:gd name="T7" fmla="*/ 14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6 w 10"/>
                  <a:gd name="T27" fmla="*/ 0 h 20"/>
                  <a:gd name="T28" fmla="*/ 6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0 h 20"/>
                  <a:gd name="T48" fmla="*/ 0 w 10"/>
                  <a:gd name="T49" fmla="*/ 10 h 20"/>
                  <a:gd name="T50" fmla="*/ 2 w 10"/>
                  <a:gd name="T51" fmla="*/ 14 h 20"/>
                  <a:gd name="T52" fmla="*/ 2 w 10"/>
                  <a:gd name="T53" fmla="*/ 14 h 20"/>
                  <a:gd name="T54" fmla="*/ 4 w 10"/>
                  <a:gd name="T55" fmla="*/ 16 h 20"/>
                  <a:gd name="T56" fmla="*/ 4 w 10"/>
                  <a:gd name="T57" fmla="*/ 16 h 20"/>
                  <a:gd name="T58" fmla="*/ 2 w 10"/>
                  <a:gd name="T59" fmla="*/ 14 h 20"/>
                  <a:gd name="T60" fmla="*/ 2 w 10"/>
                  <a:gd name="T61" fmla="*/ 14 h 20"/>
                  <a:gd name="T62" fmla="*/ 2 w 10"/>
                  <a:gd name="T63" fmla="*/ 10 h 20"/>
                  <a:gd name="T64" fmla="*/ 2 w 10"/>
                  <a:gd name="T65" fmla="*/ 10 h 20"/>
                  <a:gd name="T66" fmla="*/ 6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10" y="14"/>
                    </a:lnTo>
                    <a:lnTo>
                      <a:pt x="10" y="14"/>
                    </a:lnTo>
                    <a:lnTo>
                      <a:pt x="8" y="18"/>
                    </a:lnTo>
                    <a:lnTo>
                      <a:pt x="4" y="20"/>
                    </a:lnTo>
                    <a:lnTo>
                      <a:pt x="4" y="20"/>
                    </a:lnTo>
                    <a:lnTo>
                      <a:pt x="4" y="20"/>
                    </a:lnTo>
                    <a:lnTo>
                      <a:pt x="4" y="20"/>
                    </a:lnTo>
                    <a:lnTo>
                      <a:pt x="4" y="20"/>
                    </a:lnTo>
                    <a:lnTo>
                      <a:pt x="4" y="20"/>
                    </a:lnTo>
                    <a:lnTo>
                      <a:pt x="8" y="18"/>
                    </a:lnTo>
                    <a:lnTo>
                      <a:pt x="10" y="14"/>
                    </a:lnTo>
                    <a:close/>
                    <a:moveTo>
                      <a:pt x="6" y="0"/>
                    </a:moveTo>
                    <a:lnTo>
                      <a:pt x="6" y="0"/>
                    </a:lnTo>
                    <a:lnTo>
                      <a:pt x="4" y="0"/>
                    </a:lnTo>
                    <a:lnTo>
                      <a:pt x="4" y="0"/>
                    </a:lnTo>
                    <a:lnTo>
                      <a:pt x="4" y="0"/>
                    </a:lnTo>
                    <a:lnTo>
                      <a:pt x="4" y="0"/>
                    </a:lnTo>
                    <a:lnTo>
                      <a:pt x="4" y="0"/>
                    </a:lnTo>
                    <a:lnTo>
                      <a:pt x="4" y="0"/>
                    </a:lnTo>
                    <a:lnTo>
                      <a:pt x="4" y="0"/>
                    </a:lnTo>
                    <a:lnTo>
                      <a:pt x="4" y="0"/>
                    </a:lnTo>
                    <a:lnTo>
                      <a:pt x="0" y="10"/>
                    </a:lnTo>
                    <a:lnTo>
                      <a:pt x="0" y="10"/>
                    </a:lnTo>
                    <a:lnTo>
                      <a:pt x="2" y="14"/>
                    </a:lnTo>
                    <a:lnTo>
                      <a:pt x="2" y="14"/>
                    </a:lnTo>
                    <a:lnTo>
                      <a:pt x="4" y="16"/>
                    </a:lnTo>
                    <a:lnTo>
                      <a:pt x="4" y="16"/>
                    </a:lnTo>
                    <a:lnTo>
                      <a:pt x="2" y="14"/>
                    </a:lnTo>
                    <a:lnTo>
                      <a:pt x="2" y="14"/>
                    </a:lnTo>
                    <a:lnTo>
                      <a:pt x="2" y="10"/>
                    </a:lnTo>
                    <a:lnTo>
                      <a:pt x="2" y="1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6" name="Freeform 1062"/>
              <p:cNvSpPr>
                <a:spLocks/>
              </p:cNvSpPr>
              <p:nvPr/>
            </p:nvSpPr>
            <p:spPr bwMode="auto">
              <a:xfrm>
                <a:off x="1184" y="266"/>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7" name="Freeform 1063"/>
              <p:cNvSpPr>
                <a:spLocks/>
              </p:cNvSpPr>
              <p:nvPr/>
            </p:nvSpPr>
            <p:spPr bwMode="auto">
              <a:xfrm>
                <a:off x="1180" y="252"/>
                <a:ext cx="6" cy="16"/>
              </a:xfrm>
              <a:custGeom>
                <a:avLst/>
                <a:gdLst>
                  <a:gd name="T0" fmla="*/ 6 w 6"/>
                  <a:gd name="T1" fmla="*/ 0 h 16"/>
                  <a:gd name="T2" fmla="*/ 6 w 6"/>
                  <a:gd name="T3" fmla="*/ 0 h 16"/>
                  <a:gd name="T4" fmla="*/ 4 w 6"/>
                  <a:gd name="T5" fmla="*/ 0 h 16"/>
                  <a:gd name="T6" fmla="*/ 4 w 6"/>
                  <a:gd name="T7" fmla="*/ 0 h 16"/>
                  <a:gd name="T8" fmla="*/ 4 w 6"/>
                  <a:gd name="T9" fmla="*/ 0 h 16"/>
                  <a:gd name="T10" fmla="*/ 4 w 6"/>
                  <a:gd name="T11" fmla="*/ 0 h 16"/>
                  <a:gd name="T12" fmla="*/ 4 w 6"/>
                  <a:gd name="T13" fmla="*/ 0 h 16"/>
                  <a:gd name="T14" fmla="*/ 4 w 6"/>
                  <a:gd name="T15" fmla="*/ 0 h 16"/>
                  <a:gd name="T16" fmla="*/ 4 w 6"/>
                  <a:gd name="T17" fmla="*/ 0 h 16"/>
                  <a:gd name="T18" fmla="*/ 4 w 6"/>
                  <a:gd name="T19" fmla="*/ 0 h 16"/>
                  <a:gd name="T20" fmla="*/ 0 w 6"/>
                  <a:gd name="T21" fmla="*/ 10 h 16"/>
                  <a:gd name="T22" fmla="*/ 0 w 6"/>
                  <a:gd name="T23" fmla="*/ 10 h 16"/>
                  <a:gd name="T24" fmla="*/ 2 w 6"/>
                  <a:gd name="T25" fmla="*/ 14 h 16"/>
                  <a:gd name="T26" fmla="*/ 2 w 6"/>
                  <a:gd name="T27" fmla="*/ 14 h 16"/>
                  <a:gd name="T28" fmla="*/ 4 w 6"/>
                  <a:gd name="T29" fmla="*/ 16 h 16"/>
                  <a:gd name="T30" fmla="*/ 4 w 6"/>
                  <a:gd name="T31" fmla="*/ 16 h 16"/>
                  <a:gd name="T32" fmla="*/ 2 w 6"/>
                  <a:gd name="T33" fmla="*/ 14 h 16"/>
                  <a:gd name="T34" fmla="*/ 2 w 6"/>
                  <a:gd name="T35" fmla="*/ 14 h 16"/>
                  <a:gd name="T36" fmla="*/ 2 w 6"/>
                  <a:gd name="T37" fmla="*/ 10 h 16"/>
                  <a:gd name="T38" fmla="*/ 2 w 6"/>
                  <a:gd name="T39" fmla="*/ 10 h 16"/>
                  <a:gd name="T40" fmla="*/ 6 w 6"/>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16">
                    <a:moveTo>
                      <a:pt x="6" y="0"/>
                    </a:moveTo>
                    <a:lnTo>
                      <a:pt x="6" y="0"/>
                    </a:lnTo>
                    <a:lnTo>
                      <a:pt x="4" y="0"/>
                    </a:lnTo>
                    <a:lnTo>
                      <a:pt x="4" y="0"/>
                    </a:lnTo>
                    <a:lnTo>
                      <a:pt x="4" y="0"/>
                    </a:lnTo>
                    <a:lnTo>
                      <a:pt x="4" y="0"/>
                    </a:lnTo>
                    <a:lnTo>
                      <a:pt x="4" y="0"/>
                    </a:lnTo>
                    <a:lnTo>
                      <a:pt x="4" y="0"/>
                    </a:lnTo>
                    <a:lnTo>
                      <a:pt x="4" y="0"/>
                    </a:lnTo>
                    <a:lnTo>
                      <a:pt x="4" y="0"/>
                    </a:lnTo>
                    <a:lnTo>
                      <a:pt x="0" y="10"/>
                    </a:lnTo>
                    <a:lnTo>
                      <a:pt x="0" y="10"/>
                    </a:lnTo>
                    <a:lnTo>
                      <a:pt x="2" y="14"/>
                    </a:lnTo>
                    <a:lnTo>
                      <a:pt x="2" y="14"/>
                    </a:lnTo>
                    <a:lnTo>
                      <a:pt x="4" y="16"/>
                    </a:lnTo>
                    <a:lnTo>
                      <a:pt x="4" y="16"/>
                    </a:lnTo>
                    <a:lnTo>
                      <a:pt x="2" y="14"/>
                    </a:lnTo>
                    <a:lnTo>
                      <a:pt x="2"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8" name="Freeform 1064"/>
              <p:cNvSpPr>
                <a:spLocks noEditPoints="1"/>
              </p:cNvSpPr>
              <p:nvPr/>
            </p:nvSpPr>
            <p:spPr bwMode="auto">
              <a:xfrm>
                <a:off x="1292" y="240"/>
                <a:ext cx="18" cy="14"/>
              </a:xfrm>
              <a:custGeom>
                <a:avLst/>
                <a:gdLst>
                  <a:gd name="T0" fmla="*/ 6 w 18"/>
                  <a:gd name="T1" fmla="*/ 10 h 14"/>
                  <a:gd name="T2" fmla="*/ 6 w 18"/>
                  <a:gd name="T3" fmla="*/ 10 h 14"/>
                  <a:gd name="T4" fmla="*/ 4 w 18"/>
                  <a:gd name="T5" fmla="*/ 10 h 14"/>
                  <a:gd name="T6" fmla="*/ 4 w 18"/>
                  <a:gd name="T7" fmla="*/ 10 h 14"/>
                  <a:gd name="T8" fmla="*/ 8 w 18"/>
                  <a:gd name="T9" fmla="*/ 6 h 14"/>
                  <a:gd name="T10" fmla="*/ 8 w 18"/>
                  <a:gd name="T11" fmla="*/ 6 h 14"/>
                  <a:gd name="T12" fmla="*/ 12 w 18"/>
                  <a:gd name="T13" fmla="*/ 8 h 14"/>
                  <a:gd name="T14" fmla="*/ 12 w 18"/>
                  <a:gd name="T15" fmla="*/ 8 h 14"/>
                  <a:gd name="T16" fmla="*/ 10 w 18"/>
                  <a:gd name="T17" fmla="*/ 8 h 14"/>
                  <a:gd name="T18" fmla="*/ 10 w 18"/>
                  <a:gd name="T19" fmla="*/ 8 h 14"/>
                  <a:gd name="T20" fmla="*/ 12 w 18"/>
                  <a:gd name="T21" fmla="*/ 8 h 14"/>
                  <a:gd name="T22" fmla="*/ 12 w 18"/>
                  <a:gd name="T23" fmla="*/ 8 h 14"/>
                  <a:gd name="T24" fmla="*/ 6 w 18"/>
                  <a:gd name="T25" fmla="*/ 12 h 14"/>
                  <a:gd name="T26" fmla="*/ 6 w 18"/>
                  <a:gd name="T27" fmla="*/ 12 h 14"/>
                  <a:gd name="T28" fmla="*/ 6 w 18"/>
                  <a:gd name="T29" fmla="*/ 10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10"/>
                    </a:moveTo>
                    <a:lnTo>
                      <a:pt x="6" y="10"/>
                    </a:lnTo>
                    <a:lnTo>
                      <a:pt x="4" y="10"/>
                    </a:lnTo>
                    <a:lnTo>
                      <a:pt x="4" y="10"/>
                    </a:lnTo>
                    <a:lnTo>
                      <a:pt x="8" y="6"/>
                    </a:lnTo>
                    <a:lnTo>
                      <a:pt x="8" y="6"/>
                    </a:lnTo>
                    <a:lnTo>
                      <a:pt x="12" y="8"/>
                    </a:lnTo>
                    <a:lnTo>
                      <a:pt x="12" y="8"/>
                    </a:lnTo>
                    <a:lnTo>
                      <a:pt x="10" y="8"/>
                    </a:lnTo>
                    <a:lnTo>
                      <a:pt x="10" y="8"/>
                    </a:lnTo>
                    <a:lnTo>
                      <a:pt x="12" y="8"/>
                    </a:lnTo>
                    <a:lnTo>
                      <a:pt x="12" y="8"/>
                    </a:lnTo>
                    <a:lnTo>
                      <a:pt x="6" y="12"/>
                    </a:lnTo>
                    <a:lnTo>
                      <a:pt x="6" y="12"/>
                    </a:lnTo>
                    <a:lnTo>
                      <a:pt x="6" y="10"/>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49" name="Freeform 1065"/>
              <p:cNvSpPr>
                <a:spLocks/>
              </p:cNvSpPr>
              <p:nvPr/>
            </p:nvSpPr>
            <p:spPr bwMode="auto">
              <a:xfrm>
                <a:off x="1296" y="246"/>
                <a:ext cx="8" cy="6"/>
              </a:xfrm>
              <a:custGeom>
                <a:avLst/>
                <a:gdLst>
                  <a:gd name="T0" fmla="*/ 2 w 8"/>
                  <a:gd name="T1" fmla="*/ 4 h 6"/>
                  <a:gd name="T2" fmla="*/ 2 w 8"/>
                  <a:gd name="T3" fmla="*/ 4 h 6"/>
                  <a:gd name="T4" fmla="*/ 0 w 8"/>
                  <a:gd name="T5" fmla="*/ 4 h 6"/>
                  <a:gd name="T6" fmla="*/ 0 w 8"/>
                  <a:gd name="T7" fmla="*/ 4 h 6"/>
                  <a:gd name="T8" fmla="*/ 4 w 8"/>
                  <a:gd name="T9" fmla="*/ 0 h 6"/>
                  <a:gd name="T10" fmla="*/ 4 w 8"/>
                  <a:gd name="T11" fmla="*/ 0 h 6"/>
                  <a:gd name="T12" fmla="*/ 8 w 8"/>
                  <a:gd name="T13" fmla="*/ 2 h 6"/>
                  <a:gd name="T14" fmla="*/ 8 w 8"/>
                  <a:gd name="T15" fmla="*/ 2 h 6"/>
                  <a:gd name="T16" fmla="*/ 6 w 8"/>
                  <a:gd name="T17" fmla="*/ 2 h 6"/>
                  <a:gd name="T18" fmla="*/ 6 w 8"/>
                  <a:gd name="T19" fmla="*/ 2 h 6"/>
                  <a:gd name="T20" fmla="*/ 8 w 8"/>
                  <a:gd name="T21" fmla="*/ 2 h 6"/>
                  <a:gd name="T22" fmla="*/ 8 w 8"/>
                  <a:gd name="T23" fmla="*/ 2 h 6"/>
                  <a:gd name="T24" fmla="*/ 2 w 8"/>
                  <a:gd name="T25" fmla="*/ 6 h 6"/>
                  <a:gd name="T26" fmla="*/ 2 w 8"/>
                  <a:gd name="T27" fmla="*/ 6 h 6"/>
                  <a:gd name="T28" fmla="*/ 2 w 8"/>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4"/>
                    </a:moveTo>
                    <a:lnTo>
                      <a:pt x="2" y="4"/>
                    </a:lnTo>
                    <a:lnTo>
                      <a:pt x="0" y="4"/>
                    </a:lnTo>
                    <a:lnTo>
                      <a:pt x="0" y="4"/>
                    </a:lnTo>
                    <a:lnTo>
                      <a:pt x="4" y="0"/>
                    </a:lnTo>
                    <a:lnTo>
                      <a:pt x="4" y="0"/>
                    </a:lnTo>
                    <a:lnTo>
                      <a:pt x="8" y="2"/>
                    </a:lnTo>
                    <a:lnTo>
                      <a:pt x="8" y="2"/>
                    </a:lnTo>
                    <a:lnTo>
                      <a:pt x="6" y="2"/>
                    </a:lnTo>
                    <a:lnTo>
                      <a:pt x="6" y="2"/>
                    </a:lnTo>
                    <a:lnTo>
                      <a:pt x="8" y="2"/>
                    </a:lnTo>
                    <a:lnTo>
                      <a:pt x="8" y="2"/>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0" name="Freeform 1066"/>
              <p:cNvSpPr>
                <a:spLocks/>
              </p:cNvSpPr>
              <p:nvPr/>
            </p:nvSpPr>
            <p:spPr bwMode="auto">
              <a:xfrm>
                <a:off x="1292" y="240"/>
                <a:ext cx="18" cy="14"/>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1" name="Freeform 1067"/>
              <p:cNvSpPr>
                <a:spLocks/>
              </p:cNvSpPr>
              <p:nvPr/>
            </p:nvSpPr>
            <p:spPr bwMode="auto">
              <a:xfrm>
                <a:off x="1246" y="230"/>
                <a:ext cx="20" cy="18"/>
              </a:xfrm>
              <a:custGeom>
                <a:avLst/>
                <a:gdLst>
                  <a:gd name="T0" fmla="*/ 16 w 20"/>
                  <a:gd name="T1" fmla="*/ 0 h 18"/>
                  <a:gd name="T2" fmla="*/ 16 w 20"/>
                  <a:gd name="T3" fmla="*/ 0 h 18"/>
                  <a:gd name="T4" fmla="*/ 10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4"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2" name="Freeform 1068"/>
              <p:cNvSpPr>
                <a:spLocks/>
              </p:cNvSpPr>
              <p:nvPr/>
            </p:nvSpPr>
            <p:spPr bwMode="auto">
              <a:xfrm>
                <a:off x="1246" y="230"/>
                <a:ext cx="20" cy="18"/>
              </a:xfrm>
              <a:custGeom>
                <a:avLst/>
                <a:gdLst>
                  <a:gd name="T0" fmla="*/ 16 w 20"/>
                  <a:gd name="T1" fmla="*/ 0 h 18"/>
                  <a:gd name="T2" fmla="*/ 16 w 20"/>
                  <a:gd name="T3" fmla="*/ 0 h 18"/>
                  <a:gd name="T4" fmla="*/ 10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4"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3" name="Freeform 1069"/>
              <p:cNvSpPr>
                <a:spLocks/>
              </p:cNvSpPr>
              <p:nvPr/>
            </p:nvSpPr>
            <p:spPr bwMode="auto">
              <a:xfrm>
                <a:off x="1342" y="232"/>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4" name="Freeform 1070"/>
              <p:cNvSpPr>
                <a:spLocks/>
              </p:cNvSpPr>
              <p:nvPr/>
            </p:nvSpPr>
            <p:spPr bwMode="auto">
              <a:xfrm>
                <a:off x="1342" y="232"/>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5" name="Freeform 1071"/>
              <p:cNvSpPr>
                <a:spLocks/>
              </p:cNvSpPr>
              <p:nvPr/>
            </p:nvSpPr>
            <p:spPr bwMode="auto">
              <a:xfrm>
                <a:off x="1286" y="230"/>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6" name="Freeform 1072"/>
              <p:cNvSpPr>
                <a:spLocks/>
              </p:cNvSpPr>
              <p:nvPr/>
            </p:nvSpPr>
            <p:spPr bwMode="auto">
              <a:xfrm>
                <a:off x="1286" y="230"/>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7" name="Freeform 1073"/>
              <p:cNvSpPr>
                <a:spLocks/>
              </p:cNvSpPr>
              <p:nvPr/>
            </p:nvSpPr>
            <p:spPr bwMode="auto">
              <a:xfrm>
                <a:off x="1302" y="280"/>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8" name="Freeform 1074"/>
              <p:cNvSpPr>
                <a:spLocks/>
              </p:cNvSpPr>
              <p:nvPr/>
            </p:nvSpPr>
            <p:spPr bwMode="auto">
              <a:xfrm>
                <a:off x="1302" y="280"/>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59" name="Freeform 1075"/>
              <p:cNvSpPr>
                <a:spLocks/>
              </p:cNvSpPr>
              <p:nvPr/>
            </p:nvSpPr>
            <p:spPr bwMode="auto">
              <a:xfrm>
                <a:off x="1298" y="248"/>
                <a:ext cx="4" cy="4"/>
              </a:xfrm>
              <a:custGeom>
                <a:avLst/>
                <a:gdLst>
                  <a:gd name="T0" fmla="*/ 2 w 4"/>
                  <a:gd name="T1" fmla="*/ 0 h 4"/>
                  <a:gd name="T2" fmla="*/ 2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2"/>
                    </a:lnTo>
                    <a:lnTo>
                      <a:pt x="0" y="2"/>
                    </a:lnTo>
                    <a:lnTo>
                      <a:pt x="0" y="4"/>
                    </a:lnTo>
                    <a:lnTo>
                      <a:pt x="0" y="4"/>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0" name="Freeform 1076"/>
              <p:cNvSpPr>
                <a:spLocks/>
              </p:cNvSpPr>
              <p:nvPr/>
            </p:nvSpPr>
            <p:spPr bwMode="auto">
              <a:xfrm>
                <a:off x="1298" y="248"/>
                <a:ext cx="4" cy="4"/>
              </a:xfrm>
              <a:custGeom>
                <a:avLst/>
                <a:gdLst>
                  <a:gd name="T0" fmla="*/ 2 w 4"/>
                  <a:gd name="T1" fmla="*/ 0 h 4"/>
                  <a:gd name="T2" fmla="*/ 2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2"/>
                    </a:lnTo>
                    <a:lnTo>
                      <a:pt x="0" y="2"/>
                    </a:lnTo>
                    <a:lnTo>
                      <a:pt x="0" y="4"/>
                    </a:lnTo>
                    <a:lnTo>
                      <a:pt x="0" y="4"/>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1" name="Freeform 1077"/>
              <p:cNvSpPr>
                <a:spLocks/>
              </p:cNvSpPr>
              <p:nvPr/>
            </p:nvSpPr>
            <p:spPr bwMode="auto">
              <a:xfrm>
                <a:off x="1298" y="248"/>
                <a:ext cx="6" cy="4"/>
              </a:xfrm>
              <a:custGeom>
                <a:avLst/>
                <a:gdLst>
                  <a:gd name="T0" fmla="*/ 4 w 6"/>
                  <a:gd name="T1" fmla="*/ 0 h 4"/>
                  <a:gd name="T2" fmla="*/ 4 w 6"/>
                  <a:gd name="T3" fmla="*/ 0 h 4"/>
                  <a:gd name="T4" fmla="*/ 0 w 6"/>
                  <a:gd name="T5" fmla="*/ 4 h 4"/>
                  <a:gd name="T6" fmla="*/ 0 w 6"/>
                  <a:gd name="T7" fmla="*/ 4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4"/>
                    </a:lnTo>
                    <a:lnTo>
                      <a:pt x="0" y="4"/>
                    </a:lnTo>
                    <a:lnTo>
                      <a:pt x="0" y="2"/>
                    </a:lnTo>
                    <a:lnTo>
                      <a:pt x="0" y="2"/>
                    </a:lnTo>
                    <a:lnTo>
                      <a:pt x="0" y="4"/>
                    </a:lnTo>
                    <a:lnTo>
                      <a:pt x="0" y="4"/>
                    </a:lnTo>
                    <a:lnTo>
                      <a:pt x="6" y="0"/>
                    </a:lnTo>
                    <a:lnTo>
                      <a:pt x="6"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2" name="Freeform 1078"/>
              <p:cNvSpPr>
                <a:spLocks/>
              </p:cNvSpPr>
              <p:nvPr/>
            </p:nvSpPr>
            <p:spPr bwMode="auto">
              <a:xfrm>
                <a:off x="1298" y="248"/>
                <a:ext cx="6" cy="4"/>
              </a:xfrm>
              <a:custGeom>
                <a:avLst/>
                <a:gdLst>
                  <a:gd name="T0" fmla="*/ 4 w 6"/>
                  <a:gd name="T1" fmla="*/ 0 h 4"/>
                  <a:gd name="T2" fmla="*/ 4 w 6"/>
                  <a:gd name="T3" fmla="*/ 0 h 4"/>
                  <a:gd name="T4" fmla="*/ 0 w 6"/>
                  <a:gd name="T5" fmla="*/ 4 h 4"/>
                  <a:gd name="T6" fmla="*/ 0 w 6"/>
                  <a:gd name="T7" fmla="*/ 4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4"/>
                    </a:lnTo>
                    <a:lnTo>
                      <a:pt x="0" y="4"/>
                    </a:lnTo>
                    <a:lnTo>
                      <a:pt x="0" y="2"/>
                    </a:lnTo>
                    <a:lnTo>
                      <a:pt x="0" y="2"/>
                    </a:lnTo>
                    <a:lnTo>
                      <a:pt x="0" y="4"/>
                    </a:lnTo>
                    <a:lnTo>
                      <a:pt x="0" y="4"/>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3" name="Freeform 1079"/>
              <p:cNvSpPr>
                <a:spLocks/>
              </p:cNvSpPr>
              <p:nvPr/>
            </p:nvSpPr>
            <p:spPr bwMode="auto">
              <a:xfrm>
                <a:off x="2532" y="20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4" name="Freeform 1080"/>
              <p:cNvSpPr>
                <a:spLocks/>
              </p:cNvSpPr>
              <p:nvPr/>
            </p:nvSpPr>
            <p:spPr bwMode="auto">
              <a:xfrm>
                <a:off x="2626" y="20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5" name="Freeform 1081"/>
              <p:cNvSpPr>
                <a:spLocks/>
              </p:cNvSpPr>
              <p:nvPr/>
            </p:nvSpPr>
            <p:spPr bwMode="auto">
              <a:xfrm>
                <a:off x="2718" y="20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6" name="Freeform 1082"/>
              <p:cNvSpPr>
                <a:spLocks/>
              </p:cNvSpPr>
              <p:nvPr/>
            </p:nvSpPr>
            <p:spPr bwMode="auto">
              <a:xfrm>
                <a:off x="40" y="2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7" name="Freeform 1083"/>
              <p:cNvSpPr>
                <a:spLocks noEditPoints="1"/>
              </p:cNvSpPr>
              <p:nvPr/>
            </p:nvSpPr>
            <p:spPr bwMode="auto">
              <a:xfrm>
                <a:off x="3924" y="21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8" name="Freeform 1084"/>
              <p:cNvSpPr>
                <a:spLocks/>
              </p:cNvSpPr>
              <p:nvPr/>
            </p:nvSpPr>
            <p:spPr bwMode="auto">
              <a:xfrm>
                <a:off x="406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69" name="Freeform 1085"/>
              <p:cNvSpPr>
                <a:spLocks/>
              </p:cNvSpPr>
              <p:nvPr/>
            </p:nvSpPr>
            <p:spPr bwMode="auto">
              <a:xfrm>
                <a:off x="4158"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0" name="Freeform 1086"/>
              <p:cNvSpPr>
                <a:spLocks/>
              </p:cNvSpPr>
              <p:nvPr/>
            </p:nvSpPr>
            <p:spPr bwMode="auto">
              <a:xfrm>
                <a:off x="4250"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1" name="Freeform 1087"/>
              <p:cNvSpPr>
                <a:spLocks/>
              </p:cNvSpPr>
              <p:nvPr/>
            </p:nvSpPr>
            <p:spPr bwMode="auto">
              <a:xfrm>
                <a:off x="434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2" name="Freeform 1088"/>
              <p:cNvSpPr>
                <a:spLocks/>
              </p:cNvSpPr>
              <p:nvPr/>
            </p:nvSpPr>
            <p:spPr bwMode="auto">
              <a:xfrm>
                <a:off x="4582"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3" name="Freeform 1089"/>
              <p:cNvSpPr>
                <a:spLocks/>
              </p:cNvSpPr>
              <p:nvPr/>
            </p:nvSpPr>
            <p:spPr bwMode="auto">
              <a:xfrm>
                <a:off x="4674" y="21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4" name="Freeform 1090"/>
              <p:cNvSpPr>
                <a:spLocks/>
              </p:cNvSpPr>
              <p:nvPr/>
            </p:nvSpPr>
            <p:spPr bwMode="auto">
              <a:xfrm>
                <a:off x="4768"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5" name="Freeform 1091"/>
              <p:cNvSpPr>
                <a:spLocks/>
              </p:cNvSpPr>
              <p:nvPr/>
            </p:nvSpPr>
            <p:spPr bwMode="auto">
              <a:xfrm>
                <a:off x="486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6" name="Freeform 1092"/>
              <p:cNvSpPr>
                <a:spLocks/>
              </p:cNvSpPr>
              <p:nvPr/>
            </p:nvSpPr>
            <p:spPr bwMode="auto">
              <a:xfrm>
                <a:off x="4434" y="2166"/>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7" name="Freeform 1093"/>
              <p:cNvSpPr>
                <a:spLocks/>
              </p:cNvSpPr>
              <p:nvPr/>
            </p:nvSpPr>
            <p:spPr bwMode="auto">
              <a:xfrm>
                <a:off x="4434" y="2166"/>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8" name="Freeform 1094"/>
              <p:cNvSpPr>
                <a:spLocks/>
              </p:cNvSpPr>
              <p:nvPr/>
            </p:nvSpPr>
            <p:spPr bwMode="auto">
              <a:xfrm>
                <a:off x="4494" y="2166"/>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79" name="Freeform 1095"/>
              <p:cNvSpPr>
                <a:spLocks/>
              </p:cNvSpPr>
              <p:nvPr/>
            </p:nvSpPr>
            <p:spPr bwMode="auto">
              <a:xfrm>
                <a:off x="4494" y="2166"/>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0" name="Freeform 1096"/>
              <p:cNvSpPr>
                <a:spLocks/>
              </p:cNvSpPr>
              <p:nvPr/>
            </p:nvSpPr>
            <p:spPr bwMode="auto">
              <a:xfrm>
                <a:off x="5182"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1" name="Freeform 1097"/>
              <p:cNvSpPr>
                <a:spLocks/>
              </p:cNvSpPr>
              <p:nvPr/>
            </p:nvSpPr>
            <p:spPr bwMode="auto">
              <a:xfrm>
                <a:off x="5182"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2" name="Freeform 1098"/>
              <p:cNvSpPr>
                <a:spLocks/>
              </p:cNvSpPr>
              <p:nvPr/>
            </p:nvSpPr>
            <p:spPr bwMode="auto">
              <a:xfrm>
                <a:off x="5242" y="2166"/>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3" name="Freeform 1099"/>
              <p:cNvSpPr>
                <a:spLocks/>
              </p:cNvSpPr>
              <p:nvPr/>
            </p:nvSpPr>
            <p:spPr bwMode="auto">
              <a:xfrm>
                <a:off x="5242" y="2166"/>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4" name="Freeform 1100"/>
              <p:cNvSpPr>
                <a:spLocks/>
              </p:cNvSpPr>
              <p:nvPr/>
            </p:nvSpPr>
            <p:spPr bwMode="auto">
              <a:xfrm>
                <a:off x="533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5" name="Freeform 1101"/>
              <p:cNvSpPr>
                <a:spLocks/>
              </p:cNvSpPr>
              <p:nvPr/>
            </p:nvSpPr>
            <p:spPr bwMode="auto">
              <a:xfrm>
                <a:off x="5424" y="21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6" name="Freeform 1102"/>
              <p:cNvSpPr>
                <a:spLocks/>
              </p:cNvSpPr>
              <p:nvPr/>
            </p:nvSpPr>
            <p:spPr bwMode="auto">
              <a:xfrm>
                <a:off x="5514"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7" name="Freeform 1103"/>
              <p:cNvSpPr>
                <a:spLocks/>
              </p:cNvSpPr>
              <p:nvPr/>
            </p:nvSpPr>
            <p:spPr bwMode="auto">
              <a:xfrm>
                <a:off x="5754"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8" name="Freeform 1104"/>
              <p:cNvSpPr>
                <a:spLocks/>
              </p:cNvSpPr>
              <p:nvPr/>
            </p:nvSpPr>
            <p:spPr bwMode="auto">
              <a:xfrm>
                <a:off x="5848"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89" name="Freeform 1105"/>
              <p:cNvSpPr>
                <a:spLocks/>
              </p:cNvSpPr>
              <p:nvPr/>
            </p:nvSpPr>
            <p:spPr bwMode="auto">
              <a:xfrm>
                <a:off x="5940"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0" name="Freeform 1106"/>
              <p:cNvSpPr>
                <a:spLocks noEditPoints="1"/>
              </p:cNvSpPr>
              <p:nvPr/>
            </p:nvSpPr>
            <p:spPr bwMode="auto">
              <a:xfrm>
                <a:off x="6032" y="21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1" name="Freeform 1107"/>
              <p:cNvSpPr>
                <a:spLocks noEditPoints="1"/>
              </p:cNvSpPr>
              <p:nvPr/>
            </p:nvSpPr>
            <p:spPr bwMode="auto">
              <a:xfrm>
                <a:off x="6170" y="21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2" name="Freeform 1108"/>
              <p:cNvSpPr>
                <a:spLocks/>
              </p:cNvSpPr>
              <p:nvPr/>
            </p:nvSpPr>
            <p:spPr bwMode="auto">
              <a:xfrm>
                <a:off x="5606"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3" name="Freeform 1109"/>
              <p:cNvSpPr>
                <a:spLocks/>
              </p:cNvSpPr>
              <p:nvPr/>
            </p:nvSpPr>
            <p:spPr bwMode="auto">
              <a:xfrm>
                <a:off x="5606" y="2166"/>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4" name="Freeform 1110"/>
              <p:cNvSpPr>
                <a:spLocks/>
              </p:cNvSpPr>
              <p:nvPr/>
            </p:nvSpPr>
            <p:spPr bwMode="auto">
              <a:xfrm>
                <a:off x="5666"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5" name="Freeform 1111"/>
              <p:cNvSpPr>
                <a:spLocks/>
              </p:cNvSpPr>
              <p:nvPr/>
            </p:nvSpPr>
            <p:spPr bwMode="auto">
              <a:xfrm>
                <a:off x="5666" y="2166"/>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6" name="Freeform 1112"/>
              <p:cNvSpPr>
                <a:spLocks noEditPoints="1"/>
              </p:cNvSpPr>
              <p:nvPr/>
            </p:nvSpPr>
            <p:spPr bwMode="auto">
              <a:xfrm>
                <a:off x="6586" y="2162"/>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7" name="Freeform 1113"/>
              <p:cNvSpPr>
                <a:spLocks noEditPoints="1"/>
              </p:cNvSpPr>
              <p:nvPr/>
            </p:nvSpPr>
            <p:spPr bwMode="auto">
              <a:xfrm>
                <a:off x="6818" y="2162"/>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8" name="Freeform 1114"/>
              <p:cNvSpPr>
                <a:spLocks/>
              </p:cNvSpPr>
              <p:nvPr/>
            </p:nvSpPr>
            <p:spPr bwMode="auto">
              <a:xfrm>
                <a:off x="6726"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899" name="Freeform 1115"/>
              <p:cNvSpPr>
                <a:spLocks noEditPoints="1"/>
              </p:cNvSpPr>
              <p:nvPr/>
            </p:nvSpPr>
            <p:spPr bwMode="auto">
              <a:xfrm>
                <a:off x="6958" y="2162"/>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0" name="Freeform 1116"/>
              <p:cNvSpPr>
                <a:spLocks/>
              </p:cNvSpPr>
              <p:nvPr/>
            </p:nvSpPr>
            <p:spPr bwMode="auto">
              <a:xfrm>
                <a:off x="7096"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1" name="Freeform 1117"/>
              <p:cNvSpPr>
                <a:spLocks/>
              </p:cNvSpPr>
              <p:nvPr/>
            </p:nvSpPr>
            <p:spPr bwMode="auto">
              <a:xfrm>
                <a:off x="7096" y="2166"/>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2" name="Freeform 1118"/>
              <p:cNvSpPr>
                <a:spLocks/>
              </p:cNvSpPr>
              <p:nvPr/>
            </p:nvSpPr>
            <p:spPr bwMode="auto">
              <a:xfrm>
                <a:off x="715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3" name="Freeform 1119"/>
              <p:cNvSpPr>
                <a:spLocks/>
              </p:cNvSpPr>
              <p:nvPr/>
            </p:nvSpPr>
            <p:spPr bwMode="auto">
              <a:xfrm>
                <a:off x="7158" y="21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4" name="Freeform 1120"/>
              <p:cNvSpPr>
                <a:spLocks noEditPoints="1"/>
              </p:cNvSpPr>
              <p:nvPr/>
            </p:nvSpPr>
            <p:spPr bwMode="auto">
              <a:xfrm>
                <a:off x="7392" y="21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5" name="Freeform 1121"/>
              <p:cNvSpPr>
                <a:spLocks/>
              </p:cNvSpPr>
              <p:nvPr/>
            </p:nvSpPr>
            <p:spPr bwMode="auto">
              <a:xfrm>
                <a:off x="7532" y="21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6" name="Freeform 1122"/>
              <p:cNvSpPr>
                <a:spLocks noEditPoints="1"/>
              </p:cNvSpPr>
              <p:nvPr/>
            </p:nvSpPr>
            <p:spPr bwMode="auto">
              <a:xfrm>
                <a:off x="3932" y="1978"/>
                <a:ext cx="188" cy="146"/>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7" name="Freeform 1123"/>
              <p:cNvSpPr>
                <a:spLocks/>
              </p:cNvSpPr>
              <p:nvPr/>
            </p:nvSpPr>
            <p:spPr bwMode="auto">
              <a:xfrm>
                <a:off x="4036" y="2080"/>
                <a:ext cx="16" cy="28"/>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8" name="Freeform 1124"/>
              <p:cNvSpPr>
                <a:spLocks/>
              </p:cNvSpPr>
              <p:nvPr/>
            </p:nvSpPr>
            <p:spPr bwMode="auto">
              <a:xfrm>
                <a:off x="3938" y="2078"/>
                <a:ext cx="18" cy="22"/>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09" name="Freeform 1125"/>
              <p:cNvSpPr>
                <a:spLocks/>
              </p:cNvSpPr>
              <p:nvPr/>
            </p:nvSpPr>
            <p:spPr bwMode="auto">
              <a:xfrm>
                <a:off x="3934" y="20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0" name="Freeform 1126"/>
              <p:cNvSpPr>
                <a:spLocks/>
              </p:cNvSpPr>
              <p:nvPr/>
            </p:nvSpPr>
            <p:spPr bwMode="auto">
              <a:xfrm>
                <a:off x="3946" y="1982"/>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1" name="Freeform 1127"/>
              <p:cNvSpPr>
                <a:spLocks/>
              </p:cNvSpPr>
              <p:nvPr/>
            </p:nvSpPr>
            <p:spPr bwMode="auto">
              <a:xfrm>
                <a:off x="3932" y="1978"/>
                <a:ext cx="188" cy="146"/>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2" name="Freeform 1128"/>
              <p:cNvSpPr>
                <a:spLocks/>
              </p:cNvSpPr>
              <p:nvPr/>
            </p:nvSpPr>
            <p:spPr bwMode="auto">
              <a:xfrm>
                <a:off x="3938"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3" name="Freeform 1129"/>
              <p:cNvSpPr>
                <a:spLocks/>
              </p:cNvSpPr>
              <p:nvPr/>
            </p:nvSpPr>
            <p:spPr bwMode="auto">
              <a:xfrm>
                <a:off x="3938" y="20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4" name="Freeform 1130"/>
              <p:cNvSpPr>
                <a:spLocks/>
              </p:cNvSpPr>
              <p:nvPr/>
            </p:nvSpPr>
            <p:spPr bwMode="auto">
              <a:xfrm>
                <a:off x="3938" y="2078"/>
                <a:ext cx="8" cy="12"/>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5" name="Freeform 1131"/>
              <p:cNvSpPr>
                <a:spLocks/>
              </p:cNvSpPr>
              <p:nvPr/>
            </p:nvSpPr>
            <p:spPr bwMode="auto">
              <a:xfrm>
                <a:off x="3938" y="2078"/>
                <a:ext cx="8" cy="12"/>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6" name="Freeform 1132"/>
              <p:cNvSpPr>
                <a:spLocks/>
              </p:cNvSpPr>
              <p:nvPr/>
            </p:nvSpPr>
            <p:spPr bwMode="auto">
              <a:xfrm>
                <a:off x="4036"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7" name="Freeform 1133"/>
              <p:cNvSpPr>
                <a:spLocks/>
              </p:cNvSpPr>
              <p:nvPr/>
            </p:nvSpPr>
            <p:spPr bwMode="auto">
              <a:xfrm>
                <a:off x="4036" y="2082"/>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8" name="Freeform 1134"/>
              <p:cNvSpPr>
                <a:spLocks/>
              </p:cNvSpPr>
              <p:nvPr/>
            </p:nvSpPr>
            <p:spPr bwMode="auto">
              <a:xfrm>
                <a:off x="4036" y="2080"/>
                <a:ext cx="16" cy="28"/>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19" name="Freeform 1135"/>
              <p:cNvSpPr>
                <a:spLocks/>
              </p:cNvSpPr>
              <p:nvPr/>
            </p:nvSpPr>
            <p:spPr bwMode="auto">
              <a:xfrm>
                <a:off x="4036" y="2080"/>
                <a:ext cx="16" cy="28"/>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0" name="Freeform 1136"/>
              <p:cNvSpPr>
                <a:spLocks/>
              </p:cNvSpPr>
              <p:nvPr/>
            </p:nvSpPr>
            <p:spPr bwMode="auto">
              <a:xfrm>
                <a:off x="3934" y="20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1" name="Freeform 1137"/>
              <p:cNvSpPr>
                <a:spLocks/>
              </p:cNvSpPr>
              <p:nvPr/>
            </p:nvSpPr>
            <p:spPr bwMode="auto">
              <a:xfrm>
                <a:off x="3934" y="20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2" name="Freeform 1138"/>
              <p:cNvSpPr>
                <a:spLocks noEditPoints="1"/>
              </p:cNvSpPr>
              <p:nvPr/>
            </p:nvSpPr>
            <p:spPr bwMode="auto">
              <a:xfrm>
                <a:off x="3938" y="2028"/>
                <a:ext cx="8" cy="2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3" name="Freeform 1139"/>
              <p:cNvSpPr>
                <a:spLocks/>
              </p:cNvSpPr>
              <p:nvPr/>
            </p:nvSpPr>
            <p:spPr bwMode="auto">
              <a:xfrm>
                <a:off x="3938" y="2046"/>
                <a:ext cx="6" cy="2"/>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4" name="Freeform 1140"/>
              <p:cNvSpPr>
                <a:spLocks/>
              </p:cNvSpPr>
              <p:nvPr/>
            </p:nvSpPr>
            <p:spPr bwMode="auto">
              <a:xfrm>
                <a:off x="3944" y="2042"/>
                <a:ext cx="2"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5" name="Freeform 1141"/>
              <p:cNvSpPr>
                <a:spLocks/>
              </p:cNvSpPr>
              <p:nvPr/>
            </p:nvSpPr>
            <p:spPr bwMode="auto">
              <a:xfrm>
                <a:off x="3938" y="2028"/>
                <a:ext cx="4" cy="16"/>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6" name="Freeform 1142"/>
              <p:cNvSpPr>
                <a:spLocks/>
              </p:cNvSpPr>
              <p:nvPr/>
            </p:nvSpPr>
            <p:spPr bwMode="auto">
              <a:xfrm>
                <a:off x="3940" y="2028"/>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7" name="Freeform 1143"/>
              <p:cNvSpPr>
                <a:spLocks noEditPoints="1"/>
              </p:cNvSpPr>
              <p:nvPr/>
            </p:nvSpPr>
            <p:spPr bwMode="auto">
              <a:xfrm>
                <a:off x="4048" y="2016"/>
                <a:ext cx="20" cy="14"/>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8" name="Freeform 1144"/>
              <p:cNvSpPr>
                <a:spLocks/>
              </p:cNvSpPr>
              <p:nvPr/>
            </p:nvSpPr>
            <p:spPr bwMode="auto">
              <a:xfrm>
                <a:off x="4054" y="2022"/>
                <a:ext cx="6" cy="6"/>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29" name="Freeform 1145"/>
              <p:cNvSpPr>
                <a:spLocks/>
              </p:cNvSpPr>
              <p:nvPr/>
            </p:nvSpPr>
            <p:spPr bwMode="auto">
              <a:xfrm>
                <a:off x="4048" y="2016"/>
                <a:ext cx="20" cy="14"/>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0" name="Freeform 1146"/>
              <p:cNvSpPr>
                <a:spLocks/>
              </p:cNvSpPr>
              <p:nvPr/>
            </p:nvSpPr>
            <p:spPr bwMode="auto">
              <a:xfrm>
                <a:off x="4002" y="2006"/>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1" name="Freeform 1147"/>
              <p:cNvSpPr>
                <a:spLocks/>
              </p:cNvSpPr>
              <p:nvPr/>
            </p:nvSpPr>
            <p:spPr bwMode="auto">
              <a:xfrm>
                <a:off x="4002" y="2006"/>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2" name="Freeform 1148"/>
              <p:cNvSpPr>
                <a:spLocks/>
              </p:cNvSpPr>
              <p:nvPr/>
            </p:nvSpPr>
            <p:spPr bwMode="auto">
              <a:xfrm>
                <a:off x="4098" y="2008"/>
                <a:ext cx="12" cy="8"/>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3" name="Freeform 1149"/>
              <p:cNvSpPr>
                <a:spLocks/>
              </p:cNvSpPr>
              <p:nvPr/>
            </p:nvSpPr>
            <p:spPr bwMode="auto">
              <a:xfrm>
                <a:off x="4098" y="2008"/>
                <a:ext cx="12" cy="8"/>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4" name="Freeform 1150"/>
              <p:cNvSpPr>
                <a:spLocks/>
              </p:cNvSpPr>
              <p:nvPr/>
            </p:nvSpPr>
            <p:spPr bwMode="auto">
              <a:xfrm>
                <a:off x="4042" y="20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5" name="Freeform 1151"/>
              <p:cNvSpPr>
                <a:spLocks/>
              </p:cNvSpPr>
              <p:nvPr/>
            </p:nvSpPr>
            <p:spPr bwMode="auto">
              <a:xfrm>
                <a:off x="4042" y="2006"/>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6" name="Freeform 1152"/>
              <p:cNvSpPr>
                <a:spLocks/>
              </p:cNvSpPr>
              <p:nvPr/>
            </p:nvSpPr>
            <p:spPr bwMode="auto">
              <a:xfrm>
                <a:off x="4058" y="20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7" name="Freeform 1153"/>
              <p:cNvSpPr>
                <a:spLocks/>
              </p:cNvSpPr>
              <p:nvPr/>
            </p:nvSpPr>
            <p:spPr bwMode="auto">
              <a:xfrm>
                <a:off x="4058" y="2056"/>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8" name="Freeform 1154"/>
              <p:cNvSpPr>
                <a:spLocks/>
              </p:cNvSpPr>
              <p:nvPr/>
            </p:nvSpPr>
            <p:spPr bwMode="auto">
              <a:xfrm>
                <a:off x="4054"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39" name="Freeform 1155"/>
              <p:cNvSpPr>
                <a:spLocks/>
              </p:cNvSpPr>
              <p:nvPr/>
            </p:nvSpPr>
            <p:spPr bwMode="auto">
              <a:xfrm>
                <a:off x="4054"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0" name="Freeform 1156"/>
              <p:cNvSpPr>
                <a:spLocks/>
              </p:cNvSpPr>
              <p:nvPr/>
            </p:nvSpPr>
            <p:spPr bwMode="auto">
              <a:xfrm>
                <a:off x="4054"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1" name="Freeform 1157"/>
              <p:cNvSpPr>
                <a:spLocks/>
              </p:cNvSpPr>
              <p:nvPr/>
            </p:nvSpPr>
            <p:spPr bwMode="auto">
              <a:xfrm>
                <a:off x="4054"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2" name="Freeform 1158"/>
              <p:cNvSpPr>
                <a:spLocks noEditPoints="1"/>
              </p:cNvSpPr>
              <p:nvPr/>
            </p:nvSpPr>
            <p:spPr bwMode="auto">
              <a:xfrm>
                <a:off x="7244" y="2170"/>
                <a:ext cx="108" cy="142"/>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3" name="Freeform 1159"/>
              <p:cNvSpPr>
                <a:spLocks/>
              </p:cNvSpPr>
              <p:nvPr/>
            </p:nvSpPr>
            <p:spPr bwMode="auto">
              <a:xfrm>
                <a:off x="7288" y="2228"/>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4" name="Freeform 1160"/>
              <p:cNvSpPr>
                <a:spLocks/>
              </p:cNvSpPr>
              <p:nvPr/>
            </p:nvSpPr>
            <p:spPr bwMode="auto">
              <a:xfrm>
                <a:off x="7244" y="2170"/>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5" name="Freeform 1161"/>
              <p:cNvSpPr>
                <a:spLocks noEditPoints="1"/>
              </p:cNvSpPr>
              <p:nvPr/>
            </p:nvSpPr>
            <p:spPr bwMode="auto">
              <a:xfrm>
                <a:off x="4952" y="2164"/>
                <a:ext cx="190" cy="146"/>
              </a:xfrm>
              <a:custGeom>
                <a:avLst/>
                <a:gdLst>
                  <a:gd name="T0" fmla="*/ 120 w 190"/>
                  <a:gd name="T1" fmla="*/ 130 h 146"/>
                  <a:gd name="T2" fmla="*/ 106 w 190"/>
                  <a:gd name="T3" fmla="*/ 130 h 146"/>
                  <a:gd name="T4" fmla="*/ 118 w 190"/>
                  <a:gd name="T5" fmla="*/ 104 h 146"/>
                  <a:gd name="T6" fmla="*/ 24 w 190"/>
                  <a:gd name="T7" fmla="*/ 120 h 146"/>
                  <a:gd name="T8" fmla="*/ 8 w 190"/>
                  <a:gd name="T9" fmla="*/ 114 h 146"/>
                  <a:gd name="T10" fmla="*/ 10 w 190"/>
                  <a:gd name="T11" fmla="*/ 50 h 146"/>
                  <a:gd name="T12" fmla="*/ 6 w 190"/>
                  <a:gd name="T13" fmla="*/ 62 h 146"/>
                  <a:gd name="T14" fmla="*/ 8 w 190"/>
                  <a:gd name="T15" fmla="*/ 66 h 146"/>
                  <a:gd name="T16" fmla="*/ 14 w 190"/>
                  <a:gd name="T17" fmla="*/ 64 h 146"/>
                  <a:gd name="T18" fmla="*/ 8 w 190"/>
                  <a:gd name="T19" fmla="*/ 70 h 146"/>
                  <a:gd name="T20" fmla="*/ 8 w 190"/>
                  <a:gd name="T21" fmla="*/ 50 h 146"/>
                  <a:gd name="T22" fmla="*/ 98 w 190"/>
                  <a:gd name="T23" fmla="*/ 8 h 146"/>
                  <a:gd name="T24" fmla="*/ 146 w 190"/>
                  <a:gd name="T25" fmla="*/ 22 h 146"/>
                  <a:gd name="T26" fmla="*/ 156 w 190"/>
                  <a:gd name="T27" fmla="*/ 42 h 146"/>
                  <a:gd name="T28" fmla="*/ 150 w 190"/>
                  <a:gd name="T29" fmla="*/ 48 h 146"/>
                  <a:gd name="T30" fmla="*/ 156 w 190"/>
                  <a:gd name="T31" fmla="*/ 48 h 146"/>
                  <a:gd name="T32" fmla="*/ 162 w 190"/>
                  <a:gd name="T33" fmla="*/ 42 h 146"/>
                  <a:gd name="T34" fmla="*/ 180 w 190"/>
                  <a:gd name="T35" fmla="*/ 30 h 146"/>
                  <a:gd name="T36" fmla="*/ 174 w 190"/>
                  <a:gd name="T37" fmla="*/ 84 h 146"/>
                  <a:gd name="T38" fmla="*/ 130 w 190"/>
                  <a:gd name="T39" fmla="*/ 96 h 146"/>
                  <a:gd name="T40" fmla="*/ 142 w 190"/>
                  <a:gd name="T41" fmla="*/ 96 h 146"/>
                  <a:gd name="T42" fmla="*/ 138 w 190"/>
                  <a:gd name="T43" fmla="*/ 102 h 146"/>
                  <a:gd name="T44" fmla="*/ 114 w 190"/>
                  <a:gd name="T45" fmla="*/ 92 h 146"/>
                  <a:gd name="T46" fmla="*/ 92 w 190"/>
                  <a:gd name="T47" fmla="*/ 136 h 146"/>
                  <a:gd name="T48" fmla="*/ 70 w 190"/>
                  <a:gd name="T49" fmla="*/ 128 h 146"/>
                  <a:gd name="T50" fmla="*/ 76 w 190"/>
                  <a:gd name="T51" fmla="*/ 116 h 146"/>
                  <a:gd name="T52" fmla="*/ 54 w 190"/>
                  <a:gd name="T53" fmla="*/ 110 h 146"/>
                  <a:gd name="T54" fmla="*/ 50 w 190"/>
                  <a:gd name="T55" fmla="*/ 130 h 146"/>
                  <a:gd name="T56" fmla="*/ 26 w 190"/>
                  <a:gd name="T57" fmla="*/ 134 h 146"/>
                  <a:gd name="T58" fmla="*/ 22 w 190"/>
                  <a:gd name="T59" fmla="*/ 106 h 146"/>
                  <a:gd name="T60" fmla="*/ 30 w 190"/>
                  <a:gd name="T61" fmla="*/ 46 h 146"/>
                  <a:gd name="T62" fmla="*/ 42 w 190"/>
                  <a:gd name="T63" fmla="*/ 60 h 146"/>
                  <a:gd name="T64" fmla="*/ 50 w 190"/>
                  <a:gd name="T65" fmla="*/ 86 h 146"/>
                  <a:gd name="T66" fmla="*/ 74 w 190"/>
                  <a:gd name="T67" fmla="*/ 96 h 146"/>
                  <a:gd name="T68" fmla="*/ 96 w 190"/>
                  <a:gd name="T69" fmla="*/ 58 h 146"/>
                  <a:gd name="T70" fmla="*/ 88 w 190"/>
                  <a:gd name="T71" fmla="*/ 86 h 146"/>
                  <a:gd name="T72" fmla="*/ 54 w 190"/>
                  <a:gd name="T73" fmla="*/ 88 h 146"/>
                  <a:gd name="T74" fmla="*/ 46 w 190"/>
                  <a:gd name="T75" fmla="*/ 66 h 146"/>
                  <a:gd name="T76" fmla="*/ 76 w 190"/>
                  <a:gd name="T77" fmla="*/ 24 h 146"/>
                  <a:gd name="T78" fmla="*/ 106 w 190"/>
                  <a:gd name="T79" fmla="*/ 2 h 146"/>
                  <a:gd name="T80" fmla="*/ 72 w 190"/>
                  <a:gd name="T81" fmla="*/ 24 h 146"/>
                  <a:gd name="T82" fmla="*/ 18 w 190"/>
                  <a:gd name="T83" fmla="*/ 56 h 146"/>
                  <a:gd name="T84" fmla="*/ 14 w 190"/>
                  <a:gd name="T85" fmla="*/ 50 h 146"/>
                  <a:gd name="T86" fmla="*/ 4 w 190"/>
                  <a:gd name="T87" fmla="*/ 68 h 146"/>
                  <a:gd name="T88" fmla="*/ 10 w 190"/>
                  <a:gd name="T89" fmla="*/ 98 h 146"/>
                  <a:gd name="T90" fmla="*/ 16 w 190"/>
                  <a:gd name="T91" fmla="*/ 124 h 146"/>
                  <a:gd name="T92" fmla="*/ 34 w 190"/>
                  <a:gd name="T93" fmla="*/ 142 h 146"/>
                  <a:gd name="T94" fmla="*/ 52 w 190"/>
                  <a:gd name="T95" fmla="*/ 132 h 146"/>
                  <a:gd name="T96" fmla="*/ 76 w 190"/>
                  <a:gd name="T97" fmla="*/ 144 h 146"/>
                  <a:gd name="T98" fmla="*/ 98 w 190"/>
                  <a:gd name="T99" fmla="*/ 134 h 146"/>
                  <a:gd name="T100" fmla="*/ 124 w 190"/>
                  <a:gd name="T101" fmla="*/ 124 h 146"/>
                  <a:gd name="T102" fmla="*/ 126 w 190"/>
                  <a:gd name="T103" fmla="*/ 102 h 146"/>
                  <a:gd name="T104" fmla="*/ 150 w 190"/>
                  <a:gd name="T105" fmla="*/ 92 h 146"/>
                  <a:gd name="T106" fmla="*/ 182 w 190"/>
                  <a:gd name="T107" fmla="*/ 80 h 146"/>
                  <a:gd name="T108" fmla="*/ 182 w 190"/>
                  <a:gd name="T109" fmla="*/ 24 h 146"/>
                  <a:gd name="T110" fmla="*/ 164 w 190"/>
                  <a:gd name="T111" fmla="*/ 34 h 146"/>
                  <a:gd name="T112" fmla="*/ 128 w 190"/>
                  <a:gd name="T11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 h="146">
                    <a:moveTo>
                      <a:pt x="118" y="104"/>
                    </a:moveTo>
                    <a:lnTo>
                      <a:pt x="118" y="104"/>
                    </a:lnTo>
                    <a:lnTo>
                      <a:pt x="118" y="104"/>
                    </a:lnTo>
                    <a:lnTo>
                      <a:pt x="118" y="104"/>
                    </a:lnTo>
                    <a:lnTo>
                      <a:pt x="120" y="112"/>
                    </a:lnTo>
                    <a:lnTo>
                      <a:pt x="120" y="112"/>
                    </a:lnTo>
                    <a:lnTo>
                      <a:pt x="122" y="128"/>
                    </a:lnTo>
                    <a:lnTo>
                      <a:pt x="122" y="128"/>
                    </a:lnTo>
                    <a:lnTo>
                      <a:pt x="120" y="130"/>
                    </a:lnTo>
                    <a:lnTo>
                      <a:pt x="120" y="130"/>
                    </a:lnTo>
                    <a:lnTo>
                      <a:pt x="114" y="130"/>
                    </a:lnTo>
                    <a:lnTo>
                      <a:pt x="114" y="130"/>
                    </a:lnTo>
                    <a:lnTo>
                      <a:pt x="114" y="130"/>
                    </a:lnTo>
                    <a:lnTo>
                      <a:pt x="114" y="130"/>
                    </a:lnTo>
                    <a:lnTo>
                      <a:pt x="112" y="130"/>
                    </a:lnTo>
                    <a:lnTo>
                      <a:pt x="112" y="130"/>
                    </a:lnTo>
                    <a:lnTo>
                      <a:pt x="106" y="130"/>
                    </a:lnTo>
                    <a:lnTo>
                      <a:pt x="106" y="130"/>
                    </a:lnTo>
                    <a:lnTo>
                      <a:pt x="104" y="130"/>
                    </a:lnTo>
                    <a:lnTo>
                      <a:pt x="104" y="130"/>
                    </a:lnTo>
                    <a:lnTo>
                      <a:pt x="104" y="130"/>
                    </a:lnTo>
                    <a:lnTo>
                      <a:pt x="104" y="130"/>
                    </a:lnTo>
                    <a:lnTo>
                      <a:pt x="104" y="130"/>
                    </a:lnTo>
                    <a:lnTo>
                      <a:pt x="104" y="130"/>
                    </a:lnTo>
                    <a:lnTo>
                      <a:pt x="116" y="110"/>
                    </a:lnTo>
                    <a:lnTo>
                      <a:pt x="116" y="110"/>
                    </a:lnTo>
                    <a:lnTo>
                      <a:pt x="118" y="104"/>
                    </a:lnTo>
                    <a:lnTo>
                      <a:pt x="118" y="104"/>
                    </a:lnTo>
                    <a:lnTo>
                      <a:pt x="118" y="104"/>
                    </a:lnTo>
                    <a:close/>
                    <a:moveTo>
                      <a:pt x="8" y="104"/>
                    </a:moveTo>
                    <a:lnTo>
                      <a:pt x="8" y="104"/>
                    </a:lnTo>
                    <a:lnTo>
                      <a:pt x="16" y="100"/>
                    </a:lnTo>
                    <a:lnTo>
                      <a:pt x="16" y="100"/>
                    </a:lnTo>
                    <a:lnTo>
                      <a:pt x="24" y="116"/>
                    </a:lnTo>
                    <a:lnTo>
                      <a:pt x="24" y="116"/>
                    </a:lnTo>
                    <a:lnTo>
                      <a:pt x="24" y="120"/>
                    </a:lnTo>
                    <a:lnTo>
                      <a:pt x="22" y="122"/>
                    </a:lnTo>
                    <a:lnTo>
                      <a:pt x="22" y="122"/>
                    </a:lnTo>
                    <a:lnTo>
                      <a:pt x="20" y="122"/>
                    </a:lnTo>
                    <a:lnTo>
                      <a:pt x="20" y="122"/>
                    </a:lnTo>
                    <a:lnTo>
                      <a:pt x="20" y="122"/>
                    </a:lnTo>
                    <a:lnTo>
                      <a:pt x="20" y="122"/>
                    </a:lnTo>
                    <a:lnTo>
                      <a:pt x="14" y="120"/>
                    </a:lnTo>
                    <a:lnTo>
                      <a:pt x="10" y="118"/>
                    </a:lnTo>
                    <a:lnTo>
                      <a:pt x="8"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10" y="52"/>
                    </a:lnTo>
                    <a:lnTo>
                      <a:pt x="10" y="52"/>
                    </a:lnTo>
                    <a:lnTo>
                      <a:pt x="6" y="62"/>
                    </a:lnTo>
                    <a:lnTo>
                      <a:pt x="6" y="62"/>
                    </a:lnTo>
                    <a:lnTo>
                      <a:pt x="8" y="64"/>
                    </a:lnTo>
                    <a:lnTo>
                      <a:pt x="8" y="64"/>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6"/>
                    </a:lnTo>
                    <a:lnTo>
                      <a:pt x="12" y="68"/>
                    </a:lnTo>
                    <a:lnTo>
                      <a:pt x="12" y="68"/>
                    </a:lnTo>
                    <a:lnTo>
                      <a:pt x="10" y="70"/>
                    </a:lnTo>
                    <a:lnTo>
                      <a:pt x="10" y="70"/>
                    </a:lnTo>
                    <a:lnTo>
                      <a:pt x="8" y="70"/>
                    </a:lnTo>
                    <a:lnTo>
                      <a:pt x="8" y="70"/>
                    </a:lnTo>
                    <a:lnTo>
                      <a:pt x="8" y="68"/>
                    </a:lnTo>
                    <a:lnTo>
                      <a:pt x="8" y="68"/>
                    </a:lnTo>
                    <a:lnTo>
                      <a:pt x="4" y="62"/>
                    </a:lnTo>
                    <a:lnTo>
                      <a:pt x="4" y="54"/>
                    </a:lnTo>
                    <a:lnTo>
                      <a:pt x="4" y="54"/>
                    </a:lnTo>
                    <a:lnTo>
                      <a:pt x="8" y="50"/>
                    </a:lnTo>
                    <a:lnTo>
                      <a:pt x="8" y="50"/>
                    </a:lnTo>
                    <a:lnTo>
                      <a:pt x="8" y="50"/>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4" y="4"/>
                    </a:lnTo>
                    <a:lnTo>
                      <a:pt x="130" y="8"/>
                    </a:lnTo>
                    <a:lnTo>
                      <a:pt x="130" y="8"/>
                    </a:lnTo>
                    <a:lnTo>
                      <a:pt x="146" y="20"/>
                    </a:lnTo>
                    <a:lnTo>
                      <a:pt x="146" y="20"/>
                    </a:lnTo>
                    <a:lnTo>
                      <a:pt x="146" y="22"/>
                    </a:lnTo>
                    <a:lnTo>
                      <a:pt x="146" y="22"/>
                    </a:lnTo>
                    <a:lnTo>
                      <a:pt x="150" y="22"/>
                    </a:lnTo>
                    <a:lnTo>
                      <a:pt x="154" y="26"/>
                    </a:lnTo>
                    <a:lnTo>
                      <a:pt x="160" y="32"/>
                    </a:lnTo>
                    <a:lnTo>
                      <a:pt x="160" y="32"/>
                    </a:lnTo>
                    <a:lnTo>
                      <a:pt x="150" y="34"/>
                    </a:lnTo>
                    <a:lnTo>
                      <a:pt x="150" y="34"/>
                    </a:lnTo>
                    <a:lnTo>
                      <a:pt x="152" y="40"/>
                    </a:lnTo>
                    <a:lnTo>
                      <a:pt x="156" y="42"/>
                    </a:lnTo>
                    <a:lnTo>
                      <a:pt x="156" y="42"/>
                    </a:lnTo>
                    <a:lnTo>
                      <a:pt x="158" y="40"/>
                    </a:lnTo>
                    <a:lnTo>
                      <a:pt x="158" y="40"/>
                    </a:lnTo>
                    <a:lnTo>
                      <a:pt x="160" y="44"/>
                    </a:lnTo>
                    <a:lnTo>
                      <a:pt x="160" y="44"/>
                    </a:lnTo>
                    <a:lnTo>
                      <a:pt x="150" y="46"/>
                    </a:lnTo>
                    <a:lnTo>
                      <a:pt x="148" y="48"/>
                    </a:lnTo>
                    <a:lnTo>
                      <a:pt x="146" y="52"/>
                    </a:lnTo>
                    <a:lnTo>
                      <a:pt x="146" y="52"/>
                    </a:lnTo>
                    <a:lnTo>
                      <a:pt x="150" y="48"/>
                    </a:lnTo>
                    <a:lnTo>
                      <a:pt x="150" y="48"/>
                    </a:lnTo>
                    <a:lnTo>
                      <a:pt x="154" y="44"/>
                    </a:lnTo>
                    <a:lnTo>
                      <a:pt x="154" y="44"/>
                    </a:lnTo>
                    <a:lnTo>
                      <a:pt x="152" y="56"/>
                    </a:lnTo>
                    <a:lnTo>
                      <a:pt x="152" y="56"/>
                    </a:lnTo>
                    <a:lnTo>
                      <a:pt x="152" y="56"/>
                    </a:lnTo>
                    <a:lnTo>
                      <a:pt x="152" y="56"/>
                    </a:lnTo>
                    <a:lnTo>
                      <a:pt x="156" y="48"/>
                    </a:lnTo>
                    <a:lnTo>
                      <a:pt x="156" y="48"/>
                    </a:lnTo>
                    <a:lnTo>
                      <a:pt x="160" y="46"/>
                    </a:lnTo>
                    <a:lnTo>
                      <a:pt x="160"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8" y="28"/>
                    </a:lnTo>
                    <a:lnTo>
                      <a:pt x="178" y="28"/>
                    </a:lnTo>
                    <a:lnTo>
                      <a:pt x="180" y="30"/>
                    </a:lnTo>
                    <a:lnTo>
                      <a:pt x="180" y="30"/>
                    </a:lnTo>
                    <a:lnTo>
                      <a:pt x="184" y="40"/>
                    </a:lnTo>
                    <a:lnTo>
                      <a:pt x="184" y="40"/>
                    </a:lnTo>
                    <a:lnTo>
                      <a:pt x="186" y="56"/>
                    </a:lnTo>
                    <a:lnTo>
                      <a:pt x="186" y="62"/>
                    </a:lnTo>
                    <a:lnTo>
                      <a:pt x="184" y="70"/>
                    </a:lnTo>
                    <a:lnTo>
                      <a:pt x="184" y="70"/>
                    </a:lnTo>
                    <a:lnTo>
                      <a:pt x="180" y="78"/>
                    </a:lnTo>
                    <a:lnTo>
                      <a:pt x="174" y="84"/>
                    </a:lnTo>
                    <a:lnTo>
                      <a:pt x="168" y="88"/>
                    </a:lnTo>
                    <a:lnTo>
                      <a:pt x="160" y="88"/>
                    </a:lnTo>
                    <a:lnTo>
                      <a:pt x="160" y="88"/>
                    </a:lnTo>
                    <a:lnTo>
                      <a:pt x="152" y="88"/>
                    </a:lnTo>
                    <a:lnTo>
                      <a:pt x="152" y="88"/>
                    </a:lnTo>
                    <a:lnTo>
                      <a:pt x="142" y="86"/>
                    </a:lnTo>
                    <a:lnTo>
                      <a:pt x="132" y="82"/>
                    </a:lnTo>
                    <a:lnTo>
                      <a:pt x="132" y="82"/>
                    </a:lnTo>
                    <a:lnTo>
                      <a:pt x="130" y="96"/>
                    </a:lnTo>
                    <a:lnTo>
                      <a:pt x="130" y="96"/>
                    </a:lnTo>
                    <a:lnTo>
                      <a:pt x="132" y="98"/>
                    </a:lnTo>
                    <a:lnTo>
                      <a:pt x="132" y="100"/>
                    </a:lnTo>
                    <a:lnTo>
                      <a:pt x="132" y="100"/>
                    </a:lnTo>
                    <a:lnTo>
                      <a:pt x="136" y="100"/>
                    </a:lnTo>
                    <a:lnTo>
                      <a:pt x="136" y="100"/>
                    </a:lnTo>
                    <a:lnTo>
                      <a:pt x="140" y="98"/>
                    </a:lnTo>
                    <a:lnTo>
                      <a:pt x="140" y="98"/>
                    </a:lnTo>
                    <a:lnTo>
                      <a:pt x="142" y="96"/>
                    </a:lnTo>
                    <a:lnTo>
                      <a:pt x="144" y="92"/>
                    </a:lnTo>
                    <a:lnTo>
                      <a:pt x="144" y="92"/>
                    </a:lnTo>
                    <a:lnTo>
                      <a:pt x="146" y="90"/>
                    </a:lnTo>
                    <a:lnTo>
                      <a:pt x="146" y="90"/>
                    </a:lnTo>
                    <a:lnTo>
                      <a:pt x="146" y="94"/>
                    </a:lnTo>
                    <a:lnTo>
                      <a:pt x="144" y="98"/>
                    </a:lnTo>
                    <a:lnTo>
                      <a:pt x="142" y="100"/>
                    </a:lnTo>
                    <a:lnTo>
                      <a:pt x="138" y="102"/>
                    </a:lnTo>
                    <a:lnTo>
                      <a:pt x="138" y="102"/>
                    </a:lnTo>
                    <a:lnTo>
                      <a:pt x="134" y="102"/>
                    </a:lnTo>
                    <a:lnTo>
                      <a:pt x="134" y="102"/>
                    </a:lnTo>
                    <a:lnTo>
                      <a:pt x="130" y="102"/>
                    </a:lnTo>
                    <a:lnTo>
                      <a:pt x="126" y="98"/>
                    </a:lnTo>
                    <a:lnTo>
                      <a:pt x="126" y="98"/>
                    </a:lnTo>
                    <a:lnTo>
                      <a:pt x="118" y="92"/>
                    </a:lnTo>
                    <a:lnTo>
                      <a:pt x="108" y="88"/>
                    </a:lnTo>
                    <a:lnTo>
                      <a:pt x="108" y="88"/>
                    </a:lnTo>
                    <a:lnTo>
                      <a:pt x="114" y="92"/>
                    </a:lnTo>
                    <a:lnTo>
                      <a:pt x="114" y="92"/>
                    </a:lnTo>
                    <a:lnTo>
                      <a:pt x="116" y="96"/>
                    </a:lnTo>
                    <a:lnTo>
                      <a:pt x="116" y="96"/>
                    </a:lnTo>
                    <a:lnTo>
                      <a:pt x="110" y="114"/>
                    </a:lnTo>
                    <a:lnTo>
                      <a:pt x="106" y="122"/>
                    </a:lnTo>
                    <a:lnTo>
                      <a:pt x="100" y="128"/>
                    </a:lnTo>
                    <a:lnTo>
                      <a:pt x="100" y="128"/>
                    </a:lnTo>
                    <a:lnTo>
                      <a:pt x="92" y="136"/>
                    </a:lnTo>
                    <a:lnTo>
                      <a:pt x="92" y="136"/>
                    </a:lnTo>
                    <a:lnTo>
                      <a:pt x="88" y="140"/>
                    </a:lnTo>
                    <a:lnTo>
                      <a:pt x="88" y="140"/>
                    </a:lnTo>
                    <a:lnTo>
                      <a:pt x="84" y="142"/>
                    </a:lnTo>
                    <a:lnTo>
                      <a:pt x="82" y="142"/>
                    </a:lnTo>
                    <a:lnTo>
                      <a:pt x="82" y="142"/>
                    </a:lnTo>
                    <a:lnTo>
                      <a:pt x="78" y="142"/>
                    </a:lnTo>
                    <a:lnTo>
                      <a:pt x="78" y="142"/>
                    </a:lnTo>
                    <a:lnTo>
                      <a:pt x="70" y="128"/>
                    </a:lnTo>
                    <a:lnTo>
                      <a:pt x="70" y="128"/>
                    </a:lnTo>
                    <a:lnTo>
                      <a:pt x="70" y="126"/>
                    </a:lnTo>
                    <a:lnTo>
                      <a:pt x="72" y="122"/>
                    </a:lnTo>
                    <a:lnTo>
                      <a:pt x="72" y="122"/>
                    </a:lnTo>
                    <a:lnTo>
                      <a:pt x="80" y="118"/>
                    </a:lnTo>
                    <a:lnTo>
                      <a:pt x="80" y="118"/>
                    </a:lnTo>
                    <a:lnTo>
                      <a:pt x="80" y="110"/>
                    </a:lnTo>
                    <a:lnTo>
                      <a:pt x="80" y="110"/>
                    </a:lnTo>
                    <a:lnTo>
                      <a:pt x="78" y="114"/>
                    </a:lnTo>
                    <a:lnTo>
                      <a:pt x="76" y="116"/>
                    </a:lnTo>
                    <a:lnTo>
                      <a:pt x="72" y="116"/>
                    </a:lnTo>
                    <a:lnTo>
                      <a:pt x="72"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2" y="126"/>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8" y="34"/>
                    </a:lnTo>
                    <a:lnTo>
                      <a:pt x="58"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8"/>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2" y="20"/>
                    </a:lnTo>
                    <a:lnTo>
                      <a:pt x="92" y="20"/>
                    </a:lnTo>
                    <a:lnTo>
                      <a:pt x="84" y="20"/>
                    </a:lnTo>
                    <a:close/>
                    <a:moveTo>
                      <a:pt x="114" y="0"/>
                    </a:moveTo>
                    <a:lnTo>
                      <a:pt x="114" y="0"/>
                    </a:lnTo>
                    <a:lnTo>
                      <a:pt x="106" y="2"/>
                    </a:lnTo>
                    <a:lnTo>
                      <a:pt x="98" y="4"/>
                    </a:lnTo>
                    <a:lnTo>
                      <a:pt x="92" y="8"/>
                    </a:lnTo>
                    <a:lnTo>
                      <a:pt x="86" y="12"/>
                    </a:lnTo>
                    <a:lnTo>
                      <a:pt x="86" y="12"/>
                    </a:lnTo>
                    <a:lnTo>
                      <a:pt x="80" y="18"/>
                    </a:lnTo>
                    <a:lnTo>
                      <a:pt x="78" y="20"/>
                    </a:lnTo>
                    <a:lnTo>
                      <a:pt x="74" y="22"/>
                    </a:lnTo>
                    <a:lnTo>
                      <a:pt x="74" y="22"/>
                    </a:lnTo>
                    <a:lnTo>
                      <a:pt x="72" y="24"/>
                    </a:lnTo>
                    <a:lnTo>
                      <a:pt x="72" y="24"/>
                    </a:lnTo>
                    <a:lnTo>
                      <a:pt x="64"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6" y="144"/>
                    </a:lnTo>
                    <a:lnTo>
                      <a:pt x="76" y="144"/>
                    </a:lnTo>
                    <a:lnTo>
                      <a:pt x="78" y="146"/>
                    </a:lnTo>
                    <a:lnTo>
                      <a:pt x="82" y="146"/>
                    </a:lnTo>
                    <a:lnTo>
                      <a:pt x="82" y="146"/>
                    </a:lnTo>
                    <a:lnTo>
                      <a:pt x="86" y="144"/>
                    </a:lnTo>
                    <a:lnTo>
                      <a:pt x="90" y="142"/>
                    </a:lnTo>
                    <a:lnTo>
                      <a:pt x="90" y="142"/>
                    </a:lnTo>
                    <a:lnTo>
                      <a:pt x="98" y="134"/>
                    </a:lnTo>
                    <a:lnTo>
                      <a:pt x="98" y="134"/>
                    </a:lnTo>
                    <a:lnTo>
                      <a:pt x="102" y="132"/>
                    </a:lnTo>
                    <a:lnTo>
                      <a:pt x="102" y="132"/>
                    </a:lnTo>
                    <a:lnTo>
                      <a:pt x="118" y="134"/>
                    </a:lnTo>
                    <a:lnTo>
                      <a:pt x="118" y="134"/>
                    </a:lnTo>
                    <a:lnTo>
                      <a:pt x="122" y="132"/>
                    </a:lnTo>
                    <a:lnTo>
                      <a:pt x="124" y="132"/>
                    </a:lnTo>
                    <a:lnTo>
                      <a:pt x="124" y="128"/>
                    </a:lnTo>
                    <a:lnTo>
                      <a:pt x="124" y="124"/>
                    </a:lnTo>
                    <a:lnTo>
                      <a:pt x="124" y="124"/>
                    </a:lnTo>
                    <a:lnTo>
                      <a:pt x="124" y="114"/>
                    </a:lnTo>
                    <a:lnTo>
                      <a:pt x="124" y="114"/>
                    </a:lnTo>
                    <a:lnTo>
                      <a:pt x="122" y="104"/>
                    </a:lnTo>
                    <a:lnTo>
                      <a:pt x="122"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50" y="92"/>
                    </a:lnTo>
                    <a:lnTo>
                      <a:pt x="152" y="92"/>
                    </a:lnTo>
                    <a:lnTo>
                      <a:pt x="152" y="92"/>
                    </a:lnTo>
                    <a:lnTo>
                      <a:pt x="156" y="92"/>
                    </a:lnTo>
                    <a:lnTo>
                      <a:pt x="156" y="92"/>
                    </a:lnTo>
                    <a:lnTo>
                      <a:pt x="160" y="92"/>
                    </a:lnTo>
                    <a:lnTo>
                      <a:pt x="160" y="92"/>
                    </a:lnTo>
                    <a:lnTo>
                      <a:pt x="168" y="90"/>
                    </a:lnTo>
                    <a:lnTo>
                      <a:pt x="176" y="86"/>
                    </a:lnTo>
                    <a:lnTo>
                      <a:pt x="182" y="80"/>
                    </a:lnTo>
                    <a:lnTo>
                      <a:pt x="186" y="72"/>
                    </a:lnTo>
                    <a:lnTo>
                      <a:pt x="186" y="72"/>
                    </a:lnTo>
                    <a:lnTo>
                      <a:pt x="190" y="60"/>
                    </a:lnTo>
                    <a:lnTo>
                      <a:pt x="188" y="46"/>
                    </a:lnTo>
                    <a:lnTo>
                      <a:pt x="188" y="46"/>
                    </a:lnTo>
                    <a:lnTo>
                      <a:pt x="186" y="38"/>
                    </a:lnTo>
                    <a:lnTo>
                      <a:pt x="184" y="28"/>
                    </a:lnTo>
                    <a:lnTo>
                      <a:pt x="184" y="28"/>
                    </a:lnTo>
                    <a:lnTo>
                      <a:pt x="182" y="24"/>
                    </a:lnTo>
                    <a:lnTo>
                      <a:pt x="178" y="24"/>
                    </a:lnTo>
                    <a:lnTo>
                      <a:pt x="178" y="24"/>
                    </a:lnTo>
                    <a:lnTo>
                      <a:pt x="174" y="24"/>
                    </a:lnTo>
                    <a:lnTo>
                      <a:pt x="172" y="28"/>
                    </a:lnTo>
                    <a:lnTo>
                      <a:pt x="172" y="28"/>
                    </a:lnTo>
                    <a:lnTo>
                      <a:pt x="166" y="32"/>
                    </a:lnTo>
                    <a:lnTo>
                      <a:pt x="166" y="32"/>
                    </a:lnTo>
                    <a:lnTo>
                      <a:pt x="164" y="34"/>
                    </a:lnTo>
                    <a:lnTo>
                      <a:pt x="164" y="34"/>
                    </a:lnTo>
                    <a:lnTo>
                      <a:pt x="162" y="30"/>
                    </a:lnTo>
                    <a:lnTo>
                      <a:pt x="162" y="30"/>
                    </a:lnTo>
                    <a:lnTo>
                      <a:pt x="158" y="26"/>
                    </a:lnTo>
                    <a:lnTo>
                      <a:pt x="154" y="22"/>
                    </a:lnTo>
                    <a:lnTo>
                      <a:pt x="154" y="22"/>
                    </a:lnTo>
                    <a:lnTo>
                      <a:pt x="140" y="10"/>
                    </a:lnTo>
                    <a:lnTo>
                      <a:pt x="140" y="10"/>
                    </a:lnTo>
                    <a:lnTo>
                      <a:pt x="134" y="6"/>
                    </a:lnTo>
                    <a:lnTo>
                      <a:pt x="128"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6" name="Freeform 1162"/>
              <p:cNvSpPr>
                <a:spLocks/>
              </p:cNvSpPr>
              <p:nvPr/>
            </p:nvSpPr>
            <p:spPr bwMode="auto">
              <a:xfrm>
                <a:off x="5056" y="2268"/>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12 w 18"/>
                  <a:gd name="T49" fmla="*/ 6 h 26"/>
                  <a:gd name="T50" fmla="*/ 12 w 18"/>
                  <a:gd name="T51" fmla="*/ 6 h 26"/>
                  <a:gd name="T52" fmla="*/ 14 w 18"/>
                  <a:gd name="T53" fmla="*/ 0 h 26"/>
                  <a:gd name="T54" fmla="*/ 14 w 18"/>
                  <a:gd name="T55" fmla="*/ 0 h 26"/>
                  <a:gd name="T56" fmla="*/ 14 w 18"/>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8" y="26"/>
                    </a:lnTo>
                    <a:lnTo>
                      <a:pt x="8" y="26"/>
                    </a:lnTo>
                    <a:lnTo>
                      <a:pt x="2" y="26"/>
                    </a:lnTo>
                    <a:lnTo>
                      <a:pt x="2" y="26"/>
                    </a:lnTo>
                    <a:lnTo>
                      <a:pt x="0"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7" name="Freeform 1163"/>
              <p:cNvSpPr>
                <a:spLocks/>
              </p:cNvSpPr>
              <p:nvPr/>
            </p:nvSpPr>
            <p:spPr bwMode="auto">
              <a:xfrm>
                <a:off x="4958" y="2264"/>
                <a:ext cx="18" cy="22"/>
              </a:xfrm>
              <a:custGeom>
                <a:avLst/>
                <a:gdLst>
                  <a:gd name="T0" fmla="*/ 2 w 18"/>
                  <a:gd name="T1" fmla="*/ 4 h 22"/>
                  <a:gd name="T2" fmla="*/ 2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8"/>
                    </a:lnTo>
                    <a:lnTo>
                      <a:pt x="2"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8" name="Freeform 1164"/>
              <p:cNvSpPr>
                <a:spLocks/>
              </p:cNvSpPr>
              <p:nvPr/>
            </p:nvSpPr>
            <p:spPr bwMode="auto">
              <a:xfrm>
                <a:off x="4956" y="2214"/>
                <a:ext cx="10" cy="2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6 w 10"/>
                  <a:gd name="T49" fmla="*/ 16 h 20"/>
                  <a:gd name="T50" fmla="*/ 6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6" y="16"/>
                    </a:lnTo>
                    <a:lnTo>
                      <a:pt x="6"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49" name="Freeform 1165"/>
              <p:cNvSpPr>
                <a:spLocks/>
              </p:cNvSpPr>
              <p:nvPr/>
            </p:nvSpPr>
            <p:spPr bwMode="auto">
              <a:xfrm>
                <a:off x="4968" y="2168"/>
                <a:ext cx="170" cy="138"/>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6 w 170"/>
                  <a:gd name="T73" fmla="*/ 122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2 w 170"/>
                  <a:gd name="T89" fmla="*/ 30 h 138"/>
                  <a:gd name="T90" fmla="*/ 32 w 170"/>
                  <a:gd name="T91" fmla="*/ 46 h 138"/>
                  <a:gd name="T92" fmla="*/ 26 w 170"/>
                  <a:gd name="T93" fmla="*/ 60 h 138"/>
                  <a:gd name="T94" fmla="*/ 34 w 170"/>
                  <a:gd name="T95" fmla="*/ 76 h 138"/>
                  <a:gd name="T96" fmla="*/ 34 w 170"/>
                  <a:gd name="T97" fmla="*/ 86 h 138"/>
                  <a:gd name="T98" fmla="*/ 48 w 170"/>
                  <a:gd name="T99" fmla="*/ 96 h 138"/>
                  <a:gd name="T100" fmla="*/ 58 w 170"/>
                  <a:gd name="T101" fmla="*/ 92 h 138"/>
                  <a:gd name="T102" fmla="*/ 80 w 170"/>
                  <a:gd name="T103" fmla="*/ 82 h 138"/>
                  <a:gd name="T104" fmla="*/ 80 w 170"/>
                  <a:gd name="T105" fmla="*/ 54 h 138"/>
                  <a:gd name="T106" fmla="*/ 78 w 170"/>
                  <a:gd name="T107" fmla="*/ 58 h 138"/>
                  <a:gd name="T108" fmla="*/ 76 w 170"/>
                  <a:gd name="T109" fmla="*/ 80 h 138"/>
                  <a:gd name="T110" fmla="*/ 56 w 170"/>
                  <a:gd name="T111" fmla="*/ 88 h 138"/>
                  <a:gd name="T112" fmla="*/ 42 w 170"/>
                  <a:gd name="T113" fmla="*/ 90 h 138"/>
                  <a:gd name="T114" fmla="*/ 38 w 170"/>
                  <a:gd name="T115" fmla="*/ 80 h 138"/>
                  <a:gd name="T116" fmla="*/ 44 w 170"/>
                  <a:gd name="T117" fmla="*/ 64 h 138"/>
                  <a:gd name="T118" fmla="*/ 30 w 170"/>
                  <a:gd name="T119" fmla="*/ 62 h 138"/>
                  <a:gd name="T120" fmla="*/ 32 w 170"/>
                  <a:gd name="T121" fmla="*/ 52 h 138"/>
                  <a:gd name="T122" fmla="*/ 58 w 170"/>
                  <a:gd name="T123" fmla="*/ 22 h 138"/>
                  <a:gd name="T124" fmla="*/ 72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6" y="96"/>
                    </a:lnTo>
                    <a:lnTo>
                      <a:pt x="116"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6" y="122"/>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0" name="Freeform 1166"/>
              <p:cNvSpPr>
                <a:spLocks/>
              </p:cNvSpPr>
              <p:nvPr/>
            </p:nvSpPr>
            <p:spPr bwMode="auto">
              <a:xfrm>
                <a:off x="4952" y="2164"/>
                <a:ext cx="190" cy="146"/>
              </a:xfrm>
              <a:custGeom>
                <a:avLst/>
                <a:gdLst>
                  <a:gd name="T0" fmla="*/ 106 w 190"/>
                  <a:gd name="T1" fmla="*/ 2 h 146"/>
                  <a:gd name="T2" fmla="*/ 86 w 190"/>
                  <a:gd name="T3" fmla="*/ 12 h 146"/>
                  <a:gd name="T4" fmla="*/ 78 w 190"/>
                  <a:gd name="T5" fmla="*/ 20 h 146"/>
                  <a:gd name="T6" fmla="*/ 72 w 190"/>
                  <a:gd name="T7" fmla="*/ 24 h 146"/>
                  <a:gd name="T8" fmla="*/ 54 w 190"/>
                  <a:gd name="T9" fmla="*/ 32 h 146"/>
                  <a:gd name="T10" fmla="*/ 34 w 190"/>
                  <a:gd name="T11" fmla="*/ 40 h 146"/>
                  <a:gd name="T12" fmla="*/ 18 w 190"/>
                  <a:gd name="T13" fmla="*/ 56 h 146"/>
                  <a:gd name="T14" fmla="*/ 8 w 190"/>
                  <a:gd name="T15" fmla="*/ 64 h 146"/>
                  <a:gd name="T16" fmla="*/ 12 w 190"/>
                  <a:gd name="T17" fmla="*/ 54 h 146"/>
                  <a:gd name="T18" fmla="*/ 14 w 190"/>
                  <a:gd name="T19" fmla="*/ 50 h 146"/>
                  <a:gd name="T20" fmla="*/ 12 w 190"/>
                  <a:gd name="T21" fmla="*/ 44 h 146"/>
                  <a:gd name="T22" fmla="*/ 0 w 190"/>
                  <a:gd name="T23" fmla="*/ 58 h 146"/>
                  <a:gd name="T24" fmla="*/ 4 w 190"/>
                  <a:gd name="T25" fmla="*/ 68 h 146"/>
                  <a:gd name="T26" fmla="*/ 12 w 190"/>
                  <a:gd name="T27" fmla="*/ 72 h 146"/>
                  <a:gd name="T28" fmla="*/ 12 w 190"/>
                  <a:gd name="T29" fmla="*/ 84 h 146"/>
                  <a:gd name="T30" fmla="*/ 10 w 190"/>
                  <a:gd name="T31" fmla="*/ 98 h 146"/>
                  <a:gd name="T32" fmla="*/ 4 w 190"/>
                  <a:gd name="T33" fmla="*/ 108 h 146"/>
                  <a:gd name="T34" fmla="*/ 6 w 190"/>
                  <a:gd name="T35" fmla="*/ 118 h 146"/>
                  <a:gd name="T36" fmla="*/ 16 w 190"/>
                  <a:gd name="T37" fmla="*/ 124 h 146"/>
                  <a:gd name="T38" fmla="*/ 22 w 190"/>
                  <a:gd name="T39" fmla="*/ 132 h 146"/>
                  <a:gd name="T40" fmla="*/ 24 w 190"/>
                  <a:gd name="T41" fmla="*/ 138 h 146"/>
                  <a:gd name="T42" fmla="*/ 34 w 190"/>
                  <a:gd name="T43" fmla="*/ 142 h 146"/>
                  <a:gd name="T44" fmla="*/ 46 w 190"/>
                  <a:gd name="T45" fmla="*/ 144 h 146"/>
                  <a:gd name="T46" fmla="*/ 50 w 190"/>
                  <a:gd name="T47" fmla="*/ 142 h 146"/>
                  <a:gd name="T48" fmla="*/ 52 w 190"/>
                  <a:gd name="T49" fmla="*/ 132 h 146"/>
                  <a:gd name="T50" fmla="*/ 58 w 190"/>
                  <a:gd name="T51" fmla="*/ 120 h 146"/>
                  <a:gd name="T52" fmla="*/ 66 w 190"/>
                  <a:gd name="T53" fmla="*/ 124 h 146"/>
                  <a:gd name="T54" fmla="*/ 76 w 190"/>
                  <a:gd name="T55" fmla="*/ 144 h 146"/>
                  <a:gd name="T56" fmla="*/ 82 w 190"/>
                  <a:gd name="T57" fmla="*/ 146 h 146"/>
                  <a:gd name="T58" fmla="*/ 90 w 190"/>
                  <a:gd name="T59" fmla="*/ 142 h 146"/>
                  <a:gd name="T60" fmla="*/ 98 w 190"/>
                  <a:gd name="T61" fmla="*/ 134 h 146"/>
                  <a:gd name="T62" fmla="*/ 118 w 190"/>
                  <a:gd name="T63" fmla="*/ 134 h 146"/>
                  <a:gd name="T64" fmla="*/ 124 w 190"/>
                  <a:gd name="T65" fmla="*/ 132 h 146"/>
                  <a:gd name="T66" fmla="*/ 124 w 190"/>
                  <a:gd name="T67" fmla="*/ 124 h 146"/>
                  <a:gd name="T68" fmla="*/ 122 w 190"/>
                  <a:gd name="T69" fmla="*/ 104 h 146"/>
                  <a:gd name="T70" fmla="*/ 118 w 190"/>
                  <a:gd name="T71" fmla="*/ 96 h 146"/>
                  <a:gd name="T72" fmla="*/ 126 w 190"/>
                  <a:gd name="T73" fmla="*/ 102 h 146"/>
                  <a:gd name="T74" fmla="*/ 134 w 190"/>
                  <a:gd name="T75" fmla="*/ 104 h 146"/>
                  <a:gd name="T76" fmla="*/ 144 w 190"/>
                  <a:gd name="T77" fmla="*/ 100 h 146"/>
                  <a:gd name="T78" fmla="*/ 150 w 190"/>
                  <a:gd name="T79" fmla="*/ 92 h 146"/>
                  <a:gd name="T80" fmla="*/ 156 w 190"/>
                  <a:gd name="T81" fmla="*/ 92 h 146"/>
                  <a:gd name="T82" fmla="*/ 160 w 190"/>
                  <a:gd name="T83" fmla="*/ 92 h 146"/>
                  <a:gd name="T84" fmla="*/ 182 w 190"/>
                  <a:gd name="T85" fmla="*/ 80 h 146"/>
                  <a:gd name="T86" fmla="*/ 190 w 190"/>
                  <a:gd name="T87" fmla="*/ 60 h 146"/>
                  <a:gd name="T88" fmla="*/ 186 w 190"/>
                  <a:gd name="T89" fmla="*/ 38 h 146"/>
                  <a:gd name="T90" fmla="*/ 182 w 190"/>
                  <a:gd name="T91" fmla="*/ 24 h 146"/>
                  <a:gd name="T92" fmla="*/ 174 w 190"/>
                  <a:gd name="T93" fmla="*/ 24 h 146"/>
                  <a:gd name="T94" fmla="*/ 166 w 190"/>
                  <a:gd name="T95" fmla="*/ 32 h 146"/>
                  <a:gd name="T96" fmla="*/ 164 w 190"/>
                  <a:gd name="T97" fmla="*/ 34 h 146"/>
                  <a:gd name="T98" fmla="*/ 158 w 190"/>
                  <a:gd name="T99" fmla="*/ 26 h 146"/>
                  <a:gd name="T100" fmla="*/ 140 w 190"/>
                  <a:gd name="T101" fmla="*/ 10 h 146"/>
                  <a:gd name="T102" fmla="*/ 128 w 190"/>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0" h="146">
                    <a:moveTo>
                      <a:pt x="114" y="0"/>
                    </a:moveTo>
                    <a:lnTo>
                      <a:pt x="114" y="0"/>
                    </a:lnTo>
                    <a:lnTo>
                      <a:pt x="106" y="2"/>
                    </a:lnTo>
                    <a:lnTo>
                      <a:pt x="98" y="4"/>
                    </a:lnTo>
                    <a:lnTo>
                      <a:pt x="92" y="8"/>
                    </a:lnTo>
                    <a:lnTo>
                      <a:pt x="86" y="12"/>
                    </a:lnTo>
                    <a:lnTo>
                      <a:pt x="86" y="12"/>
                    </a:lnTo>
                    <a:lnTo>
                      <a:pt x="80" y="18"/>
                    </a:lnTo>
                    <a:lnTo>
                      <a:pt x="78" y="20"/>
                    </a:lnTo>
                    <a:lnTo>
                      <a:pt x="74" y="22"/>
                    </a:lnTo>
                    <a:lnTo>
                      <a:pt x="74" y="22"/>
                    </a:lnTo>
                    <a:lnTo>
                      <a:pt x="72" y="24"/>
                    </a:lnTo>
                    <a:lnTo>
                      <a:pt x="72" y="24"/>
                    </a:lnTo>
                    <a:lnTo>
                      <a:pt x="64"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6" y="144"/>
                    </a:lnTo>
                    <a:lnTo>
                      <a:pt x="76" y="144"/>
                    </a:lnTo>
                    <a:lnTo>
                      <a:pt x="78" y="146"/>
                    </a:lnTo>
                    <a:lnTo>
                      <a:pt x="82" y="146"/>
                    </a:lnTo>
                    <a:lnTo>
                      <a:pt x="82" y="146"/>
                    </a:lnTo>
                    <a:lnTo>
                      <a:pt x="86" y="144"/>
                    </a:lnTo>
                    <a:lnTo>
                      <a:pt x="90" y="142"/>
                    </a:lnTo>
                    <a:lnTo>
                      <a:pt x="90" y="142"/>
                    </a:lnTo>
                    <a:lnTo>
                      <a:pt x="98" y="134"/>
                    </a:lnTo>
                    <a:lnTo>
                      <a:pt x="98" y="134"/>
                    </a:lnTo>
                    <a:lnTo>
                      <a:pt x="102" y="132"/>
                    </a:lnTo>
                    <a:lnTo>
                      <a:pt x="102" y="132"/>
                    </a:lnTo>
                    <a:lnTo>
                      <a:pt x="118" y="134"/>
                    </a:lnTo>
                    <a:lnTo>
                      <a:pt x="118" y="134"/>
                    </a:lnTo>
                    <a:lnTo>
                      <a:pt x="122" y="132"/>
                    </a:lnTo>
                    <a:lnTo>
                      <a:pt x="124" y="132"/>
                    </a:lnTo>
                    <a:lnTo>
                      <a:pt x="124" y="128"/>
                    </a:lnTo>
                    <a:lnTo>
                      <a:pt x="124" y="124"/>
                    </a:lnTo>
                    <a:lnTo>
                      <a:pt x="124" y="124"/>
                    </a:lnTo>
                    <a:lnTo>
                      <a:pt x="124" y="114"/>
                    </a:lnTo>
                    <a:lnTo>
                      <a:pt x="124" y="114"/>
                    </a:lnTo>
                    <a:lnTo>
                      <a:pt x="122" y="104"/>
                    </a:lnTo>
                    <a:lnTo>
                      <a:pt x="122"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50" y="92"/>
                    </a:lnTo>
                    <a:lnTo>
                      <a:pt x="152" y="92"/>
                    </a:lnTo>
                    <a:lnTo>
                      <a:pt x="152" y="92"/>
                    </a:lnTo>
                    <a:lnTo>
                      <a:pt x="156" y="92"/>
                    </a:lnTo>
                    <a:lnTo>
                      <a:pt x="156" y="92"/>
                    </a:lnTo>
                    <a:lnTo>
                      <a:pt x="160" y="92"/>
                    </a:lnTo>
                    <a:lnTo>
                      <a:pt x="160" y="92"/>
                    </a:lnTo>
                    <a:lnTo>
                      <a:pt x="168" y="90"/>
                    </a:lnTo>
                    <a:lnTo>
                      <a:pt x="176" y="86"/>
                    </a:lnTo>
                    <a:lnTo>
                      <a:pt x="182" y="80"/>
                    </a:lnTo>
                    <a:lnTo>
                      <a:pt x="186" y="72"/>
                    </a:lnTo>
                    <a:lnTo>
                      <a:pt x="186" y="72"/>
                    </a:lnTo>
                    <a:lnTo>
                      <a:pt x="190" y="60"/>
                    </a:lnTo>
                    <a:lnTo>
                      <a:pt x="188" y="46"/>
                    </a:lnTo>
                    <a:lnTo>
                      <a:pt x="188" y="46"/>
                    </a:lnTo>
                    <a:lnTo>
                      <a:pt x="186" y="38"/>
                    </a:lnTo>
                    <a:lnTo>
                      <a:pt x="184" y="28"/>
                    </a:lnTo>
                    <a:lnTo>
                      <a:pt x="184" y="28"/>
                    </a:lnTo>
                    <a:lnTo>
                      <a:pt x="182" y="24"/>
                    </a:lnTo>
                    <a:lnTo>
                      <a:pt x="178" y="24"/>
                    </a:lnTo>
                    <a:lnTo>
                      <a:pt x="178" y="24"/>
                    </a:lnTo>
                    <a:lnTo>
                      <a:pt x="174" y="24"/>
                    </a:lnTo>
                    <a:lnTo>
                      <a:pt x="172" y="28"/>
                    </a:lnTo>
                    <a:lnTo>
                      <a:pt x="172" y="28"/>
                    </a:lnTo>
                    <a:lnTo>
                      <a:pt x="166" y="32"/>
                    </a:lnTo>
                    <a:lnTo>
                      <a:pt x="166" y="32"/>
                    </a:lnTo>
                    <a:lnTo>
                      <a:pt x="164" y="34"/>
                    </a:lnTo>
                    <a:lnTo>
                      <a:pt x="164" y="34"/>
                    </a:lnTo>
                    <a:lnTo>
                      <a:pt x="162" y="30"/>
                    </a:lnTo>
                    <a:lnTo>
                      <a:pt x="162" y="30"/>
                    </a:lnTo>
                    <a:lnTo>
                      <a:pt x="158" y="26"/>
                    </a:lnTo>
                    <a:lnTo>
                      <a:pt x="154" y="22"/>
                    </a:lnTo>
                    <a:lnTo>
                      <a:pt x="154" y="22"/>
                    </a:lnTo>
                    <a:lnTo>
                      <a:pt x="140" y="10"/>
                    </a:lnTo>
                    <a:lnTo>
                      <a:pt x="140" y="10"/>
                    </a:lnTo>
                    <a:lnTo>
                      <a:pt x="134" y="6"/>
                    </a:lnTo>
                    <a:lnTo>
                      <a:pt x="128"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1" name="Freeform 1167"/>
              <p:cNvSpPr>
                <a:spLocks/>
              </p:cNvSpPr>
              <p:nvPr/>
            </p:nvSpPr>
            <p:spPr bwMode="auto">
              <a:xfrm>
                <a:off x="4958" y="2264"/>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4 w 18"/>
                  <a:gd name="T23" fmla="*/ 22 h 22"/>
                  <a:gd name="T24" fmla="*/ 14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8 h 22"/>
                  <a:gd name="T38" fmla="*/ 18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4" y="22"/>
                    </a:lnTo>
                    <a:lnTo>
                      <a:pt x="14" y="22"/>
                    </a:lnTo>
                    <a:lnTo>
                      <a:pt x="14" y="22"/>
                    </a:lnTo>
                    <a:lnTo>
                      <a:pt x="14" y="22"/>
                    </a:lnTo>
                    <a:lnTo>
                      <a:pt x="14" y="22"/>
                    </a:lnTo>
                    <a:lnTo>
                      <a:pt x="14" y="22"/>
                    </a:lnTo>
                    <a:lnTo>
                      <a:pt x="18" y="20"/>
                    </a:lnTo>
                    <a:lnTo>
                      <a:pt x="18" y="18"/>
                    </a:lnTo>
                    <a:lnTo>
                      <a:pt x="18"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2" name="Freeform 1168"/>
              <p:cNvSpPr>
                <a:spLocks/>
              </p:cNvSpPr>
              <p:nvPr/>
            </p:nvSpPr>
            <p:spPr bwMode="auto">
              <a:xfrm>
                <a:off x="4958" y="2264"/>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4 h 22"/>
                  <a:gd name="T18" fmla="*/ 4 w 18"/>
                  <a:gd name="T19" fmla="*/ 18 h 22"/>
                  <a:gd name="T20" fmla="*/ 8 w 18"/>
                  <a:gd name="T21" fmla="*/ 20 h 22"/>
                  <a:gd name="T22" fmla="*/ 14 w 18"/>
                  <a:gd name="T23" fmla="*/ 22 h 22"/>
                  <a:gd name="T24" fmla="*/ 14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8 h 22"/>
                  <a:gd name="T38" fmla="*/ 18 w 18"/>
                  <a:gd name="T39" fmla="*/ 18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4"/>
                    </a:lnTo>
                    <a:lnTo>
                      <a:pt x="4" y="18"/>
                    </a:lnTo>
                    <a:lnTo>
                      <a:pt x="8" y="20"/>
                    </a:lnTo>
                    <a:lnTo>
                      <a:pt x="14" y="22"/>
                    </a:lnTo>
                    <a:lnTo>
                      <a:pt x="14" y="22"/>
                    </a:lnTo>
                    <a:lnTo>
                      <a:pt x="14" y="22"/>
                    </a:lnTo>
                    <a:lnTo>
                      <a:pt x="14" y="22"/>
                    </a:lnTo>
                    <a:lnTo>
                      <a:pt x="14" y="22"/>
                    </a:lnTo>
                    <a:lnTo>
                      <a:pt x="14" y="22"/>
                    </a:lnTo>
                    <a:lnTo>
                      <a:pt x="18" y="20"/>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3" name="Freeform 1169"/>
              <p:cNvSpPr>
                <a:spLocks/>
              </p:cNvSpPr>
              <p:nvPr/>
            </p:nvSpPr>
            <p:spPr bwMode="auto">
              <a:xfrm>
                <a:off x="4960" y="2264"/>
                <a:ext cx="16" cy="22"/>
              </a:xfrm>
              <a:custGeom>
                <a:avLst/>
                <a:gdLst>
                  <a:gd name="T0" fmla="*/ 8 w 16"/>
                  <a:gd name="T1" fmla="*/ 0 h 22"/>
                  <a:gd name="T2" fmla="*/ 8 w 16"/>
                  <a:gd name="T3" fmla="*/ 0 h 22"/>
                  <a:gd name="T4" fmla="*/ 0 w 16"/>
                  <a:gd name="T5" fmla="*/ 4 h 22"/>
                  <a:gd name="T6" fmla="*/ 0 w 16"/>
                  <a:gd name="T7" fmla="*/ 4 h 22"/>
                  <a:gd name="T8" fmla="*/ 6 w 16"/>
                  <a:gd name="T9" fmla="*/ 0 h 22"/>
                  <a:gd name="T10" fmla="*/ 6 w 16"/>
                  <a:gd name="T11" fmla="*/ 0 h 22"/>
                  <a:gd name="T12" fmla="*/ 16 w 16"/>
                  <a:gd name="T13" fmla="*/ 18 h 22"/>
                  <a:gd name="T14" fmla="*/ 16 w 16"/>
                  <a:gd name="T15" fmla="*/ 18 h 22"/>
                  <a:gd name="T16" fmla="*/ 16 w 16"/>
                  <a:gd name="T17" fmla="*/ 20 h 22"/>
                  <a:gd name="T18" fmla="*/ 12 w 16"/>
                  <a:gd name="T19" fmla="*/ 22 h 22"/>
                  <a:gd name="T20" fmla="*/ 12 w 16"/>
                  <a:gd name="T21" fmla="*/ 22 h 22"/>
                  <a:gd name="T22" fmla="*/ 12 w 16"/>
                  <a:gd name="T23" fmla="*/ 22 h 22"/>
                  <a:gd name="T24" fmla="*/ 12 w 16"/>
                  <a:gd name="T25" fmla="*/ 22 h 22"/>
                  <a:gd name="T26" fmla="*/ 12 w 16"/>
                  <a:gd name="T27" fmla="*/ 22 h 22"/>
                  <a:gd name="T28" fmla="*/ 12 w 16"/>
                  <a:gd name="T29" fmla="*/ 22 h 22"/>
                  <a:gd name="T30" fmla="*/ 12 w 16"/>
                  <a:gd name="T31" fmla="*/ 22 h 22"/>
                  <a:gd name="T32" fmla="*/ 12 w 16"/>
                  <a:gd name="T33" fmla="*/ 22 h 22"/>
                  <a:gd name="T34" fmla="*/ 14 w 16"/>
                  <a:gd name="T35" fmla="*/ 22 h 22"/>
                  <a:gd name="T36" fmla="*/ 14 w 16"/>
                  <a:gd name="T37" fmla="*/ 22 h 22"/>
                  <a:gd name="T38" fmla="*/ 16 w 16"/>
                  <a:gd name="T39" fmla="*/ 20 h 22"/>
                  <a:gd name="T40" fmla="*/ 16 w 16"/>
                  <a:gd name="T41" fmla="*/ 16 h 22"/>
                  <a:gd name="T42" fmla="*/ 16 w 16"/>
                  <a:gd name="T43" fmla="*/ 16 h 22"/>
                  <a:gd name="T44" fmla="*/ 8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8" y="0"/>
                    </a:moveTo>
                    <a:lnTo>
                      <a:pt x="8" y="0"/>
                    </a:lnTo>
                    <a:lnTo>
                      <a:pt x="0" y="4"/>
                    </a:lnTo>
                    <a:lnTo>
                      <a:pt x="0" y="4"/>
                    </a:lnTo>
                    <a:lnTo>
                      <a:pt x="6" y="0"/>
                    </a:lnTo>
                    <a:lnTo>
                      <a:pt x="6" y="0"/>
                    </a:lnTo>
                    <a:lnTo>
                      <a:pt x="16" y="18"/>
                    </a:lnTo>
                    <a:lnTo>
                      <a:pt x="16" y="18"/>
                    </a:lnTo>
                    <a:lnTo>
                      <a:pt x="16" y="20"/>
                    </a:lnTo>
                    <a:lnTo>
                      <a:pt x="12" y="22"/>
                    </a:lnTo>
                    <a:lnTo>
                      <a:pt x="12" y="22"/>
                    </a:lnTo>
                    <a:lnTo>
                      <a:pt x="12" y="22"/>
                    </a:lnTo>
                    <a:lnTo>
                      <a:pt x="12" y="22"/>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4" name="Freeform 1170"/>
              <p:cNvSpPr>
                <a:spLocks/>
              </p:cNvSpPr>
              <p:nvPr/>
            </p:nvSpPr>
            <p:spPr bwMode="auto">
              <a:xfrm>
                <a:off x="4960" y="2264"/>
                <a:ext cx="16" cy="22"/>
              </a:xfrm>
              <a:custGeom>
                <a:avLst/>
                <a:gdLst>
                  <a:gd name="T0" fmla="*/ 8 w 16"/>
                  <a:gd name="T1" fmla="*/ 0 h 22"/>
                  <a:gd name="T2" fmla="*/ 8 w 16"/>
                  <a:gd name="T3" fmla="*/ 0 h 22"/>
                  <a:gd name="T4" fmla="*/ 0 w 16"/>
                  <a:gd name="T5" fmla="*/ 4 h 22"/>
                  <a:gd name="T6" fmla="*/ 0 w 16"/>
                  <a:gd name="T7" fmla="*/ 4 h 22"/>
                  <a:gd name="T8" fmla="*/ 6 w 16"/>
                  <a:gd name="T9" fmla="*/ 0 h 22"/>
                  <a:gd name="T10" fmla="*/ 6 w 16"/>
                  <a:gd name="T11" fmla="*/ 0 h 22"/>
                  <a:gd name="T12" fmla="*/ 16 w 16"/>
                  <a:gd name="T13" fmla="*/ 18 h 22"/>
                  <a:gd name="T14" fmla="*/ 16 w 16"/>
                  <a:gd name="T15" fmla="*/ 18 h 22"/>
                  <a:gd name="T16" fmla="*/ 16 w 16"/>
                  <a:gd name="T17" fmla="*/ 20 h 22"/>
                  <a:gd name="T18" fmla="*/ 12 w 16"/>
                  <a:gd name="T19" fmla="*/ 22 h 22"/>
                  <a:gd name="T20" fmla="*/ 12 w 16"/>
                  <a:gd name="T21" fmla="*/ 22 h 22"/>
                  <a:gd name="T22" fmla="*/ 12 w 16"/>
                  <a:gd name="T23" fmla="*/ 22 h 22"/>
                  <a:gd name="T24" fmla="*/ 12 w 16"/>
                  <a:gd name="T25" fmla="*/ 22 h 22"/>
                  <a:gd name="T26" fmla="*/ 12 w 16"/>
                  <a:gd name="T27" fmla="*/ 22 h 22"/>
                  <a:gd name="T28" fmla="*/ 12 w 16"/>
                  <a:gd name="T29" fmla="*/ 22 h 22"/>
                  <a:gd name="T30" fmla="*/ 12 w 16"/>
                  <a:gd name="T31" fmla="*/ 22 h 22"/>
                  <a:gd name="T32" fmla="*/ 12 w 16"/>
                  <a:gd name="T33" fmla="*/ 22 h 22"/>
                  <a:gd name="T34" fmla="*/ 14 w 16"/>
                  <a:gd name="T35" fmla="*/ 22 h 22"/>
                  <a:gd name="T36" fmla="*/ 14 w 16"/>
                  <a:gd name="T37" fmla="*/ 22 h 22"/>
                  <a:gd name="T38" fmla="*/ 16 w 16"/>
                  <a:gd name="T39" fmla="*/ 20 h 22"/>
                  <a:gd name="T40" fmla="*/ 16 w 16"/>
                  <a:gd name="T41" fmla="*/ 16 h 22"/>
                  <a:gd name="T42" fmla="*/ 16 w 16"/>
                  <a:gd name="T43" fmla="*/ 16 h 22"/>
                  <a:gd name="T44" fmla="*/ 8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8" y="0"/>
                    </a:moveTo>
                    <a:lnTo>
                      <a:pt x="8" y="0"/>
                    </a:lnTo>
                    <a:lnTo>
                      <a:pt x="0" y="4"/>
                    </a:lnTo>
                    <a:lnTo>
                      <a:pt x="0" y="4"/>
                    </a:lnTo>
                    <a:lnTo>
                      <a:pt x="6" y="0"/>
                    </a:lnTo>
                    <a:lnTo>
                      <a:pt x="6" y="0"/>
                    </a:lnTo>
                    <a:lnTo>
                      <a:pt x="16" y="18"/>
                    </a:lnTo>
                    <a:lnTo>
                      <a:pt x="16" y="18"/>
                    </a:lnTo>
                    <a:lnTo>
                      <a:pt x="16" y="20"/>
                    </a:lnTo>
                    <a:lnTo>
                      <a:pt x="12" y="22"/>
                    </a:lnTo>
                    <a:lnTo>
                      <a:pt x="12" y="22"/>
                    </a:lnTo>
                    <a:lnTo>
                      <a:pt x="12" y="22"/>
                    </a:lnTo>
                    <a:lnTo>
                      <a:pt x="12" y="22"/>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5" name="Freeform 1171"/>
              <p:cNvSpPr>
                <a:spLocks/>
              </p:cNvSpPr>
              <p:nvPr/>
            </p:nvSpPr>
            <p:spPr bwMode="auto">
              <a:xfrm>
                <a:off x="5056" y="2268"/>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0 w 18"/>
                  <a:gd name="T25" fmla="*/ 26 h 26"/>
                  <a:gd name="T26" fmla="*/ 10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6" name="Freeform 1172"/>
              <p:cNvSpPr>
                <a:spLocks/>
              </p:cNvSpPr>
              <p:nvPr/>
            </p:nvSpPr>
            <p:spPr bwMode="auto">
              <a:xfrm>
                <a:off x="5056" y="2268"/>
                <a:ext cx="18" cy="26"/>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0 w 18"/>
                  <a:gd name="T25" fmla="*/ 26 h 26"/>
                  <a:gd name="T26" fmla="*/ 10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7" name="Freeform 1173"/>
              <p:cNvSpPr>
                <a:spLocks noEditPoints="1"/>
              </p:cNvSpPr>
              <p:nvPr/>
            </p:nvSpPr>
            <p:spPr bwMode="auto">
              <a:xfrm>
                <a:off x="5056" y="2268"/>
                <a:ext cx="14" cy="26"/>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2 w 14"/>
                  <a:gd name="T27" fmla="*/ 26 h 26"/>
                  <a:gd name="T28" fmla="*/ 2 w 14"/>
                  <a:gd name="T29" fmla="*/ 26 h 26"/>
                  <a:gd name="T30" fmla="*/ 0 w 14"/>
                  <a:gd name="T31" fmla="*/ 26 h 26"/>
                  <a:gd name="T32" fmla="*/ 14 w 14"/>
                  <a:gd name="T33" fmla="*/ 0 h 26"/>
                  <a:gd name="T34" fmla="*/ 14 w 14"/>
                  <a:gd name="T35" fmla="*/ 0 h 26"/>
                  <a:gd name="T36" fmla="*/ 12 w 14"/>
                  <a:gd name="T37" fmla="*/ 6 h 26"/>
                  <a:gd name="T38" fmla="*/ 12 w 14"/>
                  <a:gd name="T39" fmla="*/ 6 h 26"/>
                  <a:gd name="T40" fmla="*/ 14 w 14"/>
                  <a:gd name="T41" fmla="*/ 0 h 26"/>
                  <a:gd name="T42" fmla="*/ 14 w 14"/>
                  <a:gd name="T43" fmla="*/ 0 h 26"/>
                  <a:gd name="T44" fmla="*/ 14 w 14"/>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8" name="Freeform 1174"/>
              <p:cNvSpPr>
                <a:spLocks/>
              </p:cNvSpPr>
              <p:nvPr/>
            </p:nvSpPr>
            <p:spPr bwMode="auto">
              <a:xfrm>
                <a:off x="5064" y="2294"/>
                <a:ext cx="2"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59" name="Freeform 1175"/>
              <p:cNvSpPr>
                <a:spLocks/>
              </p:cNvSpPr>
              <p:nvPr/>
            </p:nvSpPr>
            <p:spPr bwMode="auto">
              <a:xfrm>
                <a:off x="5056" y="2294"/>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0" name="Freeform 1176"/>
              <p:cNvSpPr>
                <a:spLocks/>
              </p:cNvSpPr>
              <p:nvPr/>
            </p:nvSpPr>
            <p:spPr bwMode="auto">
              <a:xfrm>
                <a:off x="5068" y="2268"/>
                <a:ext cx="2" cy="6"/>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1" name="Freeform 1177"/>
              <p:cNvSpPr>
                <a:spLocks/>
              </p:cNvSpPr>
              <p:nvPr/>
            </p:nvSpPr>
            <p:spPr bwMode="auto">
              <a:xfrm>
                <a:off x="4956" y="2214"/>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6" y="16"/>
                    </a:lnTo>
                    <a:lnTo>
                      <a:pt x="6"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2" name="Freeform 1178"/>
              <p:cNvSpPr>
                <a:spLocks/>
              </p:cNvSpPr>
              <p:nvPr/>
            </p:nvSpPr>
            <p:spPr bwMode="auto">
              <a:xfrm>
                <a:off x="4956" y="2214"/>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6" y="16"/>
                    </a:lnTo>
                    <a:lnTo>
                      <a:pt x="6"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3" name="Freeform 1179"/>
              <p:cNvSpPr>
                <a:spLocks noEditPoints="1"/>
              </p:cNvSpPr>
              <p:nvPr/>
            </p:nvSpPr>
            <p:spPr bwMode="auto">
              <a:xfrm>
                <a:off x="4958" y="2214"/>
                <a:ext cx="8" cy="2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4" name="Freeform 1180"/>
              <p:cNvSpPr>
                <a:spLocks/>
              </p:cNvSpPr>
              <p:nvPr/>
            </p:nvSpPr>
            <p:spPr bwMode="auto">
              <a:xfrm>
                <a:off x="4960" y="2232"/>
                <a:ext cx="4" cy="2"/>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5" name="Freeform 1181"/>
              <p:cNvSpPr>
                <a:spLocks/>
              </p:cNvSpPr>
              <p:nvPr/>
            </p:nvSpPr>
            <p:spPr bwMode="auto">
              <a:xfrm>
                <a:off x="4960" y="223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6" name="Freeform 1182"/>
              <p:cNvSpPr>
                <a:spLocks/>
              </p:cNvSpPr>
              <p:nvPr/>
            </p:nvSpPr>
            <p:spPr bwMode="auto">
              <a:xfrm>
                <a:off x="4964" y="222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7" name="Freeform 1183"/>
              <p:cNvSpPr>
                <a:spLocks/>
              </p:cNvSpPr>
              <p:nvPr/>
            </p:nvSpPr>
            <p:spPr bwMode="auto">
              <a:xfrm>
                <a:off x="4958" y="2216"/>
                <a:ext cx="4" cy="12"/>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8" name="Freeform 1184"/>
              <p:cNvSpPr>
                <a:spLocks/>
              </p:cNvSpPr>
              <p:nvPr/>
            </p:nvSpPr>
            <p:spPr bwMode="auto">
              <a:xfrm>
                <a:off x="4960" y="2214"/>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69" name="Freeform 1185"/>
              <p:cNvSpPr>
                <a:spLocks noEditPoints="1"/>
              </p:cNvSpPr>
              <p:nvPr/>
            </p:nvSpPr>
            <p:spPr bwMode="auto">
              <a:xfrm>
                <a:off x="5070" y="2202"/>
                <a:ext cx="18" cy="14"/>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6 w 18"/>
                  <a:gd name="T39" fmla="*/ 8 h 14"/>
                  <a:gd name="T40" fmla="*/ 6 w 18"/>
                  <a:gd name="T41" fmla="*/ 8 h 14"/>
                  <a:gd name="T42" fmla="*/ 8 w 18"/>
                  <a:gd name="T43" fmla="*/ 8 h 14"/>
                  <a:gd name="T44" fmla="*/ 12 w 18"/>
                  <a:gd name="T45" fmla="*/ 0 h 14"/>
                  <a:gd name="T46" fmla="*/ 12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2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6" y="8"/>
                    </a:lnTo>
                    <a:lnTo>
                      <a:pt x="6" y="8"/>
                    </a:lnTo>
                    <a:lnTo>
                      <a:pt x="8" y="8"/>
                    </a:lnTo>
                    <a:close/>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0" name="Freeform 1186"/>
              <p:cNvSpPr>
                <a:spLocks/>
              </p:cNvSpPr>
              <p:nvPr/>
            </p:nvSpPr>
            <p:spPr bwMode="auto">
              <a:xfrm>
                <a:off x="5074" y="2210"/>
                <a:ext cx="6" cy="4"/>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2 w 6"/>
                  <a:gd name="T39" fmla="*/ 0 h 4"/>
                  <a:gd name="T40" fmla="*/ 2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2" y="0"/>
                    </a:lnTo>
                    <a:lnTo>
                      <a:pt x="2"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1" name="Freeform 1187"/>
              <p:cNvSpPr>
                <a:spLocks/>
              </p:cNvSpPr>
              <p:nvPr/>
            </p:nvSpPr>
            <p:spPr bwMode="auto">
              <a:xfrm>
                <a:off x="5070" y="2202"/>
                <a:ext cx="18" cy="14"/>
              </a:xfrm>
              <a:custGeom>
                <a:avLst/>
                <a:gdLst>
                  <a:gd name="T0" fmla="*/ 12 w 18"/>
                  <a:gd name="T1" fmla="*/ 0 h 14"/>
                  <a:gd name="T2" fmla="*/ 12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2" name="Freeform 1188"/>
              <p:cNvSpPr>
                <a:spLocks/>
              </p:cNvSpPr>
              <p:nvPr/>
            </p:nvSpPr>
            <p:spPr bwMode="auto">
              <a:xfrm>
                <a:off x="5024" y="21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3" name="Freeform 1189"/>
              <p:cNvSpPr>
                <a:spLocks/>
              </p:cNvSpPr>
              <p:nvPr/>
            </p:nvSpPr>
            <p:spPr bwMode="auto">
              <a:xfrm>
                <a:off x="5024" y="21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4" name="Freeform 1190"/>
              <p:cNvSpPr>
                <a:spLocks/>
              </p:cNvSpPr>
              <p:nvPr/>
            </p:nvSpPr>
            <p:spPr bwMode="auto">
              <a:xfrm>
                <a:off x="5120"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5" name="Freeform 1191"/>
              <p:cNvSpPr>
                <a:spLocks/>
              </p:cNvSpPr>
              <p:nvPr/>
            </p:nvSpPr>
            <p:spPr bwMode="auto">
              <a:xfrm>
                <a:off x="5120" y="21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6" name="Freeform 1192"/>
              <p:cNvSpPr>
                <a:spLocks/>
              </p:cNvSpPr>
              <p:nvPr/>
            </p:nvSpPr>
            <p:spPr bwMode="auto">
              <a:xfrm>
                <a:off x="5064"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7" name="Freeform 1193"/>
              <p:cNvSpPr>
                <a:spLocks/>
              </p:cNvSpPr>
              <p:nvPr/>
            </p:nvSpPr>
            <p:spPr bwMode="auto">
              <a:xfrm>
                <a:off x="5064" y="2192"/>
                <a:ext cx="8" cy="8"/>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8" name="Freeform 1194"/>
              <p:cNvSpPr>
                <a:spLocks/>
              </p:cNvSpPr>
              <p:nvPr/>
            </p:nvSpPr>
            <p:spPr bwMode="auto">
              <a:xfrm>
                <a:off x="5078" y="2242"/>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79" name="Freeform 1195"/>
              <p:cNvSpPr>
                <a:spLocks/>
              </p:cNvSpPr>
              <p:nvPr/>
            </p:nvSpPr>
            <p:spPr bwMode="auto">
              <a:xfrm>
                <a:off x="5078" y="2242"/>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0" name="Freeform 1196"/>
              <p:cNvSpPr>
                <a:spLocks/>
              </p:cNvSpPr>
              <p:nvPr/>
            </p:nvSpPr>
            <p:spPr bwMode="auto">
              <a:xfrm>
                <a:off x="5074" y="2210"/>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2"/>
                    </a:lnTo>
                    <a:lnTo>
                      <a:pt x="0" y="2"/>
                    </a:lnTo>
                    <a:lnTo>
                      <a:pt x="2" y="4"/>
                    </a:lnTo>
                    <a:lnTo>
                      <a:pt x="2" y="4"/>
                    </a:lnTo>
                    <a:lnTo>
                      <a:pt x="6" y="2"/>
                    </a:lnTo>
                    <a:lnTo>
                      <a:pt x="6" y="2"/>
                    </a:lnTo>
                    <a:lnTo>
                      <a:pt x="6" y="0"/>
                    </a:lnTo>
                    <a:lnTo>
                      <a:pt x="6" y="0"/>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1" name="Freeform 1197"/>
              <p:cNvSpPr>
                <a:spLocks/>
              </p:cNvSpPr>
              <p:nvPr/>
            </p:nvSpPr>
            <p:spPr bwMode="auto">
              <a:xfrm>
                <a:off x="5074" y="2210"/>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0 h 4"/>
                  <a:gd name="T18" fmla="*/ 6 w 6"/>
                  <a:gd name="T19" fmla="*/ 0 h 4"/>
                  <a:gd name="T20" fmla="*/ 4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0"/>
                    </a:moveTo>
                    <a:lnTo>
                      <a:pt x="4" y="0"/>
                    </a:lnTo>
                    <a:lnTo>
                      <a:pt x="0" y="2"/>
                    </a:lnTo>
                    <a:lnTo>
                      <a:pt x="0" y="2"/>
                    </a:lnTo>
                    <a:lnTo>
                      <a:pt x="2" y="4"/>
                    </a:lnTo>
                    <a:lnTo>
                      <a:pt x="2" y="4"/>
                    </a:lnTo>
                    <a:lnTo>
                      <a:pt x="6" y="2"/>
                    </a:lnTo>
                    <a:lnTo>
                      <a:pt x="6" y="2"/>
                    </a:lnTo>
                    <a:lnTo>
                      <a:pt x="6" y="0"/>
                    </a:lnTo>
                    <a:lnTo>
                      <a:pt x="6"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2" name="Freeform 1198"/>
              <p:cNvSpPr>
                <a:spLocks noEditPoints="1"/>
              </p:cNvSpPr>
              <p:nvPr/>
            </p:nvSpPr>
            <p:spPr bwMode="auto">
              <a:xfrm>
                <a:off x="5076" y="2210"/>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3" name="Freeform 1199"/>
              <p:cNvSpPr>
                <a:spLocks/>
              </p:cNvSpPr>
              <p:nvPr/>
            </p:nvSpPr>
            <p:spPr bwMode="auto">
              <a:xfrm>
                <a:off x="5076" y="2212"/>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4" name="Freeform 1200"/>
              <p:cNvSpPr>
                <a:spLocks/>
              </p:cNvSpPr>
              <p:nvPr/>
            </p:nvSpPr>
            <p:spPr bwMode="auto">
              <a:xfrm>
                <a:off x="5078" y="2210"/>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5" name="Freeform 1201"/>
              <p:cNvSpPr>
                <a:spLocks/>
              </p:cNvSpPr>
              <p:nvPr/>
            </p:nvSpPr>
            <p:spPr bwMode="auto">
              <a:xfrm>
                <a:off x="6310" y="21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6" name="Freeform 1202"/>
              <p:cNvSpPr>
                <a:spLocks/>
              </p:cNvSpPr>
              <p:nvPr/>
            </p:nvSpPr>
            <p:spPr bwMode="auto">
              <a:xfrm>
                <a:off x="6402" y="2168"/>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7" name="Freeform 1203"/>
              <p:cNvSpPr>
                <a:spLocks/>
              </p:cNvSpPr>
              <p:nvPr/>
            </p:nvSpPr>
            <p:spPr bwMode="auto">
              <a:xfrm>
                <a:off x="6496" y="21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8" name="Freeform 1204"/>
              <p:cNvSpPr>
                <a:spLocks/>
              </p:cNvSpPr>
              <p:nvPr/>
            </p:nvSpPr>
            <p:spPr bwMode="auto">
              <a:xfrm>
                <a:off x="690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89" name="Freeform 1205"/>
              <p:cNvSpPr>
                <a:spLocks/>
              </p:cNvSpPr>
              <p:nvPr/>
            </p:nvSpPr>
            <p:spPr bwMode="auto">
              <a:xfrm>
                <a:off x="699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0" name="Freeform 1206"/>
              <p:cNvSpPr>
                <a:spLocks/>
              </p:cNvSpPr>
              <p:nvPr/>
            </p:nvSpPr>
            <p:spPr bwMode="auto">
              <a:xfrm>
                <a:off x="7090"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1" name="Freeform 1207"/>
              <p:cNvSpPr>
                <a:spLocks/>
              </p:cNvSpPr>
              <p:nvPr/>
            </p:nvSpPr>
            <p:spPr bwMode="auto">
              <a:xfrm>
                <a:off x="718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2" name="Freeform 1208"/>
              <p:cNvSpPr>
                <a:spLocks/>
              </p:cNvSpPr>
              <p:nvPr/>
            </p:nvSpPr>
            <p:spPr bwMode="auto">
              <a:xfrm>
                <a:off x="741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993" name="Freeform 1209"/>
              <p:cNvSpPr>
                <a:spLocks/>
              </p:cNvSpPr>
              <p:nvPr/>
            </p:nvSpPr>
            <p:spPr bwMode="auto">
              <a:xfrm>
                <a:off x="751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69" name="Group 1411"/>
            <p:cNvGrpSpPr>
              <a:grpSpLocks/>
            </p:cNvGrpSpPr>
            <p:nvPr/>
          </p:nvGrpSpPr>
          <p:grpSpPr bwMode="auto">
            <a:xfrm>
              <a:off x="6591277" y="2184400"/>
              <a:ext cx="5400656" cy="873125"/>
              <a:chOff x="4152" y="1576"/>
              <a:chExt cx="3402" cy="550"/>
            </a:xfrm>
          </p:grpSpPr>
          <p:sp>
            <p:nvSpPr>
              <p:cNvPr id="1594" name="Freeform 1211"/>
              <p:cNvSpPr>
                <a:spLocks/>
              </p:cNvSpPr>
              <p:nvPr/>
            </p:nvSpPr>
            <p:spPr bwMode="auto">
              <a:xfrm>
                <a:off x="7272" y="1980"/>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5" name="Freeform 1212"/>
              <p:cNvSpPr>
                <a:spLocks/>
              </p:cNvSpPr>
              <p:nvPr/>
            </p:nvSpPr>
            <p:spPr bwMode="auto">
              <a:xfrm>
                <a:off x="7272" y="1980"/>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6" name="Freeform 1213"/>
              <p:cNvSpPr>
                <a:spLocks/>
              </p:cNvSpPr>
              <p:nvPr/>
            </p:nvSpPr>
            <p:spPr bwMode="auto">
              <a:xfrm>
                <a:off x="7332" y="1980"/>
                <a:ext cx="46" cy="146"/>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7" name="Freeform 1214"/>
              <p:cNvSpPr>
                <a:spLocks/>
              </p:cNvSpPr>
              <p:nvPr/>
            </p:nvSpPr>
            <p:spPr bwMode="auto">
              <a:xfrm>
                <a:off x="7332" y="1980"/>
                <a:ext cx="46" cy="146"/>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8" name="Freeform 1215"/>
              <p:cNvSpPr>
                <a:spLocks noEditPoints="1"/>
              </p:cNvSpPr>
              <p:nvPr/>
            </p:nvSpPr>
            <p:spPr bwMode="auto">
              <a:xfrm>
                <a:off x="6130" y="19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9" name="Freeform 1216"/>
              <p:cNvSpPr>
                <a:spLocks noEditPoints="1"/>
              </p:cNvSpPr>
              <p:nvPr/>
            </p:nvSpPr>
            <p:spPr bwMode="auto">
              <a:xfrm>
                <a:off x="6268" y="19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0" name="Freeform 1217"/>
              <p:cNvSpPr>
                <a:spLocks noEditPoints="1"/>
              </p:cNvSpPr>
              <p:nvPr/>
            </p:nvSpPr>
            <p:spPr bwMode="auto">
              <a:xfrm>
                <a:off x="6680" y="1976"/>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1" name="Freeform 1218"/>
              <p:cNvSpPr>
                <a:spLocks/>
              </p:cNvSpPr>
              <p:nvPr/>
            </p:nvSpPr>
            <p:spPr bwMode="auto">
              <a:xfrm>
                <a:off x="681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2" name="Freeform 1219"/>
              <p:cNvSpPr>
                <a:spLocks/>
              </p:cNvSpPr>
              <p:nvPr/>
            </p:nvSpPr>
            <p:spPr bwMode="auto">
              <a:xfrm>
                <a:off x="6406"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3" name="Freeform 1220"/>
              <p:cNvSpPr>
                <a:spLocks/>
              </p:cNvSpPr>
              <p:nvPr/>
            </p:nvSpPr>
            <p:spPr bwMode="auto">
              <a:xfrm>
                <a:off x="649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4" name="Freeform 1221"/>
              <p:cNvSpPr>
                <a:spLocks/>
              </p:cNvSpPr>
              <p:nvPr/>
            </p:nvSpPr>
            <p:spPr bwMode="auto">
              <a:xfrm>
                <a:off x="658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5" name="Freeform 1222"/>
              <p:cNvSpPr>
                <a:spLocks/>
              </p:cNvSpPr>
              <p:nvPr/>
            </p:nvSpPr>
            <p:spPr bwMode="auto">
              <a:xfrm>
                <a:off x="4152"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6" name="Freeform 1223"/>
              <p:cNvSpPr>
                <a:spLocks/>
              </p:cNvSpPr>
              <p:nvPr/>
            </p:nvSpPr>
            <p:spPr bwMode="auto">
              <a:xfrm>
                <a:off x="4244"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7" name="Freeform 1224"/>
              <p:cNvSpPr>
                <a:spLocks/>
              </p:cNvSpPr>
              <p:nvPr/>
            </p:nvSpPr>
            <p:spPr bwMode="auto">
              <a:xfrm>
                <a:off x="4336"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8" name="Freeform 1225"/>
              <p:cNvSpPr>
                <a:spLocks/>
              </p:cNvSpPr>
              <p:nvPr/>
            </p:nvSpPr>
            <p:spPr bwMode="auto">
              <a:xfrm>
                <a:off x="4654" y="1980"/>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09" name="Freeform 1226"/>
              <p:cNvSpPr>
                <a:spLocks/>
              </p:cNvSpPr>
              <p:nvPr/>
            </p:nvSpPr>
            <p:spPr bwMode="auto">
              <a:xfrm>
                <a:off x="4654" y="1980"/>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0" name="Freeform 1227"/>
              <p:cNvSpPr>
                <a:spLocks/>
              </p:cNvSpPr>
              <p:nvPr/>
            </p:nvSpPr>
            <p:spPr bwMode="auto">
              <a:xfrm>
                <a:off x="4714" y="1980"/>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1" name="Freeform 1228"/>
              <p:cNvSpPr>
                <a:spLocks/>
              </p:cNvSpPr>
              <p:nvPr/>
            </p:nvSpPr>
            <p:spPr bwMode="auto">
              <a:xfrm>
                <a:off x="4714" y="1980"/>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2" name="Freeform 1229"/>
              <p:cNvSpPr>
                <a:spLocks/>
              </p:cNvSpPr>
              <p:nvPr/>
            </p:nvSpPr>
            <p:spPr bwMode="auto">
              <a:xfrm>
                <a:off x="48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3" name="Freeform 1230"/>
              <p:cNvSpPr>
                <a:spLocks/>
              </p:cNvSpPr>
              <p:nvPr/>
            </p:nvSpPr>
            <p:spPr bwMode="auto">
              <a:xfrm>
                <a:off x="4892"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4" name="Freeform 1231"/>
              <p:cNvSpPr>
                <a:spLocks/>
              </p:cNvSpPr>
              <p:nvPr/>
            </p:nvSpPr>
            <p:spPr bwMode="auto">
              <a:xfrm>
                <a:off x="4982"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5" name="Freeform 1232"/>
              <p:cNvSpPr>
                <a:spLocks noEditPoints="1"/>
              </p:cNvSpPr>
              <p:nvPr/>
            </p:nvSpPr>
            <p:spPr bwMode="auto">
              <a:xfrm>
                <a:off x="4426" y="1978"/>
                <a:ext cx="188" cy="146"/>
              </a:xfrm>
              <a:custGeom>
                <a:avLst/>
                <a:gdLst>
                  <a:gd name="T0" fmla="*/ 118 w 188"/>
                  <a:gd name="T1" fmla="*/ 104 h 146"/>
                  <a:gd name="T2" fmla="*/ 118 w 188"/>
                  <a:gd name="T3" fmla="*/ 130 h 146"/>
                  <a:gd name="T4" fmla="*/ 104 w 188"/>
                  <a:gd name="T5" fmla="*/ 130 h 146"/>
                  <a:gd name="T6" fmla="*/ 24 w 188"/>
                  <a:gd name="T7" fmla="*/ 116 h 146"/>
                  <a:gd name="T8" fmla="*/ 20 w 188"/>
                  <a:gd name="T9" fmla="*/ 122 h 146"/>
                  <a:gd name="T10" fmla="*/ 10 w 188"/>
                  <a:gd name="T11" fmla="*/ 50 h 146"/>
                  <a:gd name="T12" fmla="*/ 10 w 188"/>
                  <a:gd name="T13" fmla="*/ 50 h 146"/>
                  <a:gd name="T14" fmla="*/ 6 w 188"/>
                  <a:gd name="T15" fmla="*/ 64 h 146"/>
                  <a:gd name="T16" fmla="*/ 10 w 188"/>
                  <a:gd name="T17" fmla="*/ 66 h 146"/>
                  <a:gd name="T18" fmla="*/ 14 w 188"/>
                  <a:gd name="T19" fmla="*/ 64 h 146"/>
                  <a:gd name="T20" fmla="*/ 6 w 188"/>
                  <a:gd name="T21" fmla="*/ 68 h 146"/>
                  <a:gd name="T22" fmla="*/ 8 w 188"/>
                  <a:gd name="T23" fmla="*/ 50 h 146"/>
                  <a:gd name="T24" fmla="*/ 96 w 188"/>
                  <a:gd name="T25" fmla="*/ 8 h 146"/>
                  <a:gd name="T26" fmla="*/ 146 w 188"/>
                  <a:gd name="T27" fmla="*/ 22 h 146"/>
                  <a:gd name="T28" fmla="*/ 150 w 188"/>
                  <a:gd name="T29" fmla="*/ 40 h 146"/>
                  <a:gd name="T30" fmla="*/ 146 w 188"/>
                  <a:gd name="T31" fmla="*/ 48 h 146"/>
                  <a:gd name="T32" fmla="*/ 150 w 188"/>
                  <a:gd name="T33" fmla="*/ 56 h 146"/>
                  <a:gd name="T34" fmla="*/ 160 w 188"/>
                  <a:gd name="T35" fmla="*/ 50 h 146"/>
                  <a:gd name="T36" fmla="*/ 164 w 188"/>
                  <a:gd name="T37" fmla="*/ 36 h 146"/>
                  <a:gd name="T38" fmla="*/ 184 w 188"/>
                  <a:gd name="T39" fmla="*/ 40 h 146"/>
                  <a:gd name="T40" fmla="*/ 166 w 188"/>
                  <a:gd name="T41" fmla="*/ 88 h 146"/>
                  <a:gd name="T42" fmla="*/ 130 w 188"/>
                  <a:gd name="T43" fmla="*/ 96 h 146"/>
                  <a:gd name="T44" fmla="*/ 138 w 188"/>
                  <a:gd name="T45" fmla="*/ 98 h 146"/>
                  <a:gd name="T46" fmla="*/ 140 w 188"/>
                  <a:gd name="T47" fmla="*/ 100 h 146"/>
                  <a:gd name="T48" fmla="*/ 116 w 188"/>
                  <a:gd name="T49" fmla="*/ 92 h 146"/>
                  <a:gd name="T50" fmla="*/ 106 w 188"/>
                  <a:gd name="T51" fmla="*/ 120 h 146"/>
                  <a:gd name="T52" fmla="*/ 80 w 188"/>
                  <a:gd name="T53" fmla="*/ 142 h 146"/>
                  <a:gd name="T54" fmla="*/ 70 w 188"/>
                  <a:gd name="T55" fmla="*/ 122 h 146"/>
                  <a:gd name="T56" fmla="*/ 70 w 188"/>
                  <a:gd name="T57" fmla="*/ 116 h 146"/>
                  <a:gd name="T58" fmla="*/ 54 w 188"/>
                  <a:gd name="T59" fmla="*/ 110 h 146"/>
                  <a:gd name="T60" fmla="*/ 50 w 188"/>
                  <a:gd name="T61" fmla="*/ 130 h 146"/>
                  <a:gd name="T62" fmla="*/ 26 w 188"/>
                  <a:gd name="T63" fmla="*/ 136 h 146"/>
                  <a:gd name="T64" fmla="*/ 26 w 188"/>
                  <a:gd name="T65" fmla="*/ 114 h 146"/>
                  <a:gd name="T66" fmla="*/ 20 w 188"/>
                  <a:gd name="T67" fmla="*/ 60 h 146"/>
                  <a:gd name="T68" fmla="*/ 58 w 188"/>
                  <a:gd name="T69" fmla="*/ 34 h 146"/>
                  <a:gd name="T70" fmla="*/ 46 w 188"/>
                  <a:gd name="T71" fmla="*/ 74 h 146"/>
                  <a:gd name="T72" fmla="*/ 56 w 188"/>
                  <a:gd name="T73" fmla="*/ 96 h 146"/>
                  <a:gd name="T74" fmla="*/ 92 w 188"/>
                  <a:gd name="T75" fmla="*/ 88 h 146"/>
                  <a:gd name="T76" fmla="*/ 92 w 188"/>
                  <a:gd name="T77" fmla="*/ 44 h 146"/>
                  <a:gd name="T78" fmla="*/ 88 w 188"/>
                  <a:gd name="T79" fmla="*/ 86 h 146"/>
                  <a:gd name="T80" fmla="*/ 54 w 188"/>
                  <a:gd name="T81" fmla="*/ 90 h 146"/>
                  <a:gd name="T82" fmla="*/ 52 w 188"/>
                  <a:gd name="T83" fmla="*/ 78 h 146"/>
                  <a:gd name="T84" fmla="*/ 50 w 188"/>
                  <a:gd name="T85" fmla="*/ 50 h 146"/>
                  <a:gd name="T86" fmla="*/ 90 w 188"/>
                  <a:gd name="T87" fmla="*/ 20 h 146"/>
                  <a:gd name="T88" fmla="*/ 84 w 188"/>
                  <a:gd name="T89" fmla="*/ 12 h 146"/>
                  <a:gd name="T90" fmla="*/ 54 w 188"/>
                  <a:gd name="T91" fmla="*/ 32 h 146"/>
                  <a:gd name="T92" fmla="*/ 12 w 188"/>
                  <a:gd name="T93" fmla="*/ 62 h 146"/>
                  <a:gd name="T94" fmla="*/ 12 w 188"/>
                  <a:gd name="T95" fmla="*/ 50 h 146"/>
                  <a:gd name="T96" fmla="*/ 4 w 188"/>
                  <a:gd name="T97" fmla="*/ 68 h 146"/>
                  <a:gd name="T98" fmla="*/ 12 w 188"/>
                  <a:gd name="T99" fmla="*/ 94 h 146"/>
                  <a:gd name="T100" fmla="*/ 10 w 188"/>
                  <a:gd name="T101" fmla="*/ 120 h 146"/>
                  <a:gd name="T102" fmla="*/ 22 w 188"/>
                  <a:gd name="T103" fmla="*/ 138 h 146"/>
                  <a:gd name="T104" fmla="*/ 48 w 188"/>
                  <a:gd name="T105" fmla="*/ 142 h 146"/>
                  <a:gd name="T106" fmla="*/ 68 w 188"/>
                  <a:gd name="T107" fmla="*/ 120 h 146"/>
                  <a:gd name="T108" fmla="*/ 80 w 188"/>
                  <a:gd name="T109" fmla="*/ 146 h 146"/>
                  <a:gd name="T110" fmla="*/ 100 w 188"/>
                  <a:gd name="T111" fmla="*/ 132 h 146"/>
                  <a:gd name="T112" fmla="*/ 122 w 188"/>
                  <a:gd name="T113" fmla="*/ 114 h 146"/>
                  <a:gd name="T114" fmla="*/ 124 w 188"/>
                  <a:gd name="T115" fmla="*/ 102 h 146"/>
                  <a:gd name="T116" fmla="*/ 146 w 188"/>
                  <a:gd name="T117" fmla="*/ 96 h 146"/>
                  <a:gd name="T118" fmla="*/ 168 w 188"/>
                  <a:gd name="T119" fmla="*/ 90 h 146"/>
                  <a:gd name="T120" fmla="*/ 186 w 188"/>
                  <a:gd name="T121" fmla="*/ 38 h 146"/>
                  <a:gd name="T122" fmla="*/ 170 w 188"/>
                  <a:gd name="T123" fmla="*/ 28 h 146"/>
                  <a:gd name="T124" fmla="*/ 152 w 188"/>
                  <a:gd name="T125"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4" y="130"/>
                    </a:moveTo>
                    <a:lnTo>
                      <a:pt x="104" y="130"/>
                    </a:lnTo>
                    <a:lnTo>
                      <a:pt x="102" y="130"/>
                    </a:lnTo>
                    <a:lnTo>
                      <a:pt x="102" y="130"/>
                    </a:lnTo>
                    <a:lnTo>
                      <a:pt x="116" y="102"/>
                    </a:lnTo>
                    <a:lnTo>
                      <a:pt x="116" y="102"/>
                    </a:lnTo>
                    <a:lnTo>
                      <a:pt x="118" y="104"/>
                    </a:lnTo>
                    <a:lnTo>
                      <a:pt x="118" y="104"/>
                    </a:lnTo>
                    <a:lnTo>
                      <a:pt x="118" y="104"/>
                    </a:lnTo>
                    <a:lnTo>
                      <a:pt x="118" y="104"/>
                    </a:lnTo>
                    <a:lnTo>
                      <a:pt x="120" y="112"/>
                    </a:lnTo>
                    <a:lnTo>
                      <a:pt x="120" y="112"/>
                    </a:lnTo>
                    <a:lnTo>
                      <a:pt x="120" y="126"/>
                    </a:lnTo>
                    <a:lnTo>
                      <a:pt x="120" y="126"/>
                    </a:lnTo>
                    <a:lnTo>
                      <a:pt x="118" y="130"/>
                    </a:lnTo>
                    <a:lnTo>
                      <a:pt x="118" y="130"/>
                    </a:lnTo>
                    <a:lnTo>
                      <a:pt x="114" y="130"/>
                    </a:lnTo>
                    <a:lnTo>
                      <a:pt x="114" y="130"/>
                    </a:lnTo>
                    <a:lnTo>
                      <a:pt x="112" y="130"/>
                    </a:lnTo>
                    <a:lnTo>
                      <a:pt x="112" y="130"/>
                    </a:lnTo>
                    <a:lnTo>
                      <a:pt x="106" y="130"/>
                    </a:lnTo>
                    <a:lnTo>
                      <a:pt x="106" y="130"/>
                    </a:lnTo>
                    <a:lnTo>
                      <a:pt x="104" y="130"/>
                    </a:lnTo>
                    <a:lnTo>
                      <a:pt x="104" y="130"/>
                    </a:lnTo>
                    <a:lnTo>
                      <a:pt x="104" y="130"/>
                    </a:lnTo>
                    <a:close/>
                    <a:moveTo>
                      <a:pt x="6" y="106"/>
                    </a:moveTo>
                    <a:lnTo>
                      <a:pt x="6" y="106"/>
                    </a:lnTo>
                    <a:lnTo>
                      <a:pt x="8" y="104"/>
                    </a:lnTo>
                    <a:lnTo>
                      <a:pt x="8" y="104"/>
                    </a:lnTo>
                    <a:lnTo>
                      <a:pt x="14" y="100"/>
                    </a:lnTo>
                    <a:lnTo>
                      <a:pt x="14" y="100"/>
                    </a:lnTo>
                    <a:lnTo>
                      <a:pt x="24" y="116"/>
                    </a:lnTo>
                    <a:lnTo>
                      <a:pt x="24" y="116"/>
                    </a:lnTo>
                    <a:lnTo>
                      <a:pt x="24" y="118"/>
                    </a:lnTo>
                    <a:lnTo>
                      <a:pt x="24" y="120"/>
                    </a:lnTo>
                    <a:lnTo>
                      <a:pt x="24" y="120"/>
                    </a:lnTo>
                    <a:lnTo>
                      <a:pt x="22" y="122"/>
                    </a:lnTo>
                    <a:lnTo>
                      <a:pt x="20" y="122"/>
                    </a:lnTo>
                    <a:lnTo>
                      <a:pt x="20" y="122"/>
                    </a:lnTo>
                    <a:lnTo>
                      <a:pt x="20" y="122"/>
                    </a:lnTo>
                    <a:lnTo>
                      <a:pt x="20" y="122"/>
                    </a:lnTo>
                    <a:lnTo>
                      <a:pt x="14" y="120"/>
                    </a:lnTo>
                    <a:lnTo>
                      <a:pt x="10" y="118"/>
                    </a:lnTo>
                    <a:lnTo>
                      <a:pt x="6" y="114"/>
                    </a:lnTo>
                    <a:lnTo>
                      <a:pt x="6" y="110"/>
                    </a:lnTo>
                    <a:lnTo>
                      <a:pt x="6" y="110"/>
                    </a:lnTo>
                    <a:lnTo>
                      <a:pt x="6" y="106"/>
                    </a:lnTo>
                    <a:close/>
                    <a:moveTo>
                      <a:pt x="10" y="50"/>
                    </a:moveTo>
                    <a:lnTo>
                      <a:pt x="10" y="50"/>
                    </a:lnTo>
                    <a:lnTo>
                      <a:pt x="10" y="50"/>
                    </a:lnTo>
                    <a:lnTo>
                      <a:pt x="10" y="50"/>
                    </a:lnTo>
                    <a:lnTo>
                      <a:pt x="8" y="50"/>
                    </a:lnTo>
                    <a:lnTo>
                      <a:pt x="8" y="50"/>
                    </a:lnTo>
                    <a:lnTo>
                      <a:pt x="10" y="50"/>
                    </a:lnTo>
                    <a:lnTo>
                      <a:pt x="10" y="50"/>
                    </a:lnTo>
                    <a:lnTo>
                      <a:pt x="10" y="50"/>
                    </a:lnTo>
                    <a:lnTo>
                      <a:pt x="10" y="50"/>
                    </a:lnTo>
                    <a:lnTo>
                      <a:pt x="8" y="52"/>
                    </a:lnTo>
                    <a:lnTo>
                      <a:pt x="8" y="52"/>
                    </a:lnTo>
                    <a:lnTo>
                      <a:pt x="6" y="60"/>
                    </a:lnTo>
                    <a:lnTo>
                      <a:pt x="6" y="60"/>
                    </a:lnTo>
                    <a:lnTo>
                      <a:pt x="6" y="64"/>
                    </a:lnTo>
                    <a:lnTo>
                      <a:pt x="6" y="64"/>
                    </a:lnTo>
                    <a:lnTo>
                      <a:pt x="6" y="64"/>
                    </a:lnTo>
                    <a:lnTo>
                      <a:pt x="6" y="64"/>
                    </a:lnTo>
                    <a:lnTo>
                      <a:pt x="6" y="64"/>
                    </a:lnTo>
                    <a:lnTo>
                      <a:pt x="6" y="64"/>
                    </a:lnTo>
                    <a:lnTo>
                      <a:pt x="6" y="64"/>
                    </a:lnTo>
                    <a:lnTo>
                      <a:pt x="6" y="64"/>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6"/>
                    </a:lnTo>
                    <a:lnTo>
                      <a:pt x="12" y="68"/>
                    </a:lnTo>
                    <a:lnTo>
                      <a:pt x="12" y="68"/>
                    </a:lnTo>
                    <a:lnTo>
                      <a:pt x="8" y="70"/>
                    </a:lnTo>
                    <a:lnTo>
                      <a:pt x="8" y="70"/>
                    </a:lnTo>
                    <a:lnTo>
                      <a:pt x="6" y="68"/>
                    </a:lnTo>
                    <a:lnTo>
                      <a:pt x="6" y="68"/>
                    </a:lnTo>
                    <a:lnTo>
                      <a:pt x="6" y="68"/>
                    </a:lnTo>
                    <a:lnTo>
                      <a:pt x="6" y="68"/>
                    </a:lnTo>
                    <a:lnTo>
                      <a:pt x="2" y="62"/>
                    </a:lnTo>
                    <a:lnTo>
                      <a:pt x="2" y="54"/>
                    </a:lnTo>
                    <a:lnTo>
                      <a:pt x="2" y="54"/>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6"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8" y="112"/>
                    </a:lnTo>
                    <a:lnTo>
                      <a:pt x="76" y="114"/>
                    </a:lnTo>
                    <a:lnTo>
                      <a:pt x="70" y="116"/>
                    </a:lnTo>
                    <a:lnTo>
                      <a:pt x="70" y="116"/>
                    </a:lnTo>
                    <a:lnTo>
                      <a:pt x="66" y="116"/>
                    </a:lnTo>
                    <a:lnTo>
                      <a:pt x="66" y="116"/>
                    </a:lnTo>
                    <a:lnTo>
                      <a:pt x="60" y="116"/>
                    </a:lnTo>
                    <a:lnTo>
                      <a:pt x="60" y="116"/>
                    </a:lnTo>
                    <a:lnTo>
                      <a:pt x="56" y="116"/>
                    </a:lnTo>
                    <a:lnTo>
                      <a:pt x="54" y="114"/>
                    </a:lnTo>
                    <a:lnTo>
                      <a:pt x="54" y="110"/>
                    </a:lnTo>
                    <a:lnTo>
                      <a:pt x="54" y="110"/>
                    </a:lnTo>
                    <a:lnTo>
                      <a:pt x="54" y="112"/>
                    </a:lnTo>
                    <a:lnTo>
                      <a:pt x="54" y="112"/>
                    </a:lnTo>
                    <a:lnTo>
                      <a:pt x="54" y="114"/>
                    </a:lnTo>
                    <a:lnTo>
                      <a:pt x="54" y="114"/>
                    </a:lnTo>
                    <a:lnTo>
                      <a:pt x="52" y="122"/>
                    </a:lnTo>
                    <a:lnTo>
                      <a:pt x="52" y="126"/>
                    </a:lnTo>
                    <a:lnTo>
                      <a:pt x="50" y="130"/>
                    </a:lnTo>
                    <a:lnTo>
                      <a:pt x="50"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6" y="72"/>
                    </a:lnTo>
                    <a:lnTo>
                      <a:pt x="96" y="58"/>
                    </a:lnTo>
                    <a:lnTo>
                      <a:pt x="96" y="58"/>
                    </a:lnTo>
                    <a:lnTo>
                      <a:pt x="92" y="44"/>
                    </a:lnTo>
                    <a:lnTo>
                      <a:pt x="92" y="44"/>
                    </a:lnTo>
                    <a:lnTo>
                      <a:pt x="92" y="60"/>
                    </a:lnTo>
                    <a:lnTo>
                      <a:pt x="92" y="60"/>
                    </a:lnTo>
                    <a:lnTo>
                      <a:pt x="92" y="80"/>
                    </a:lnTo>
                    <a:lnTo>
                      <a:pt x="92" y="80"/>
                    </a:lnTo>
                    <a:lnTo>
                      <a:pt x="90"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0" y="50"/>
                    </a:lnTo>
                    <a:lnTo>
                      <a:pt x="50"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0"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10" y="120"/>
                    </a:lnTo>
                    <a:lnTo>
                      <a:pt x="10"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2"/>
                    </a:lnTo>
                    <a:lnTo>
                      <a:pt x="50"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6" name="Freeform 1233"/>
              <p:cNvSpPr>
                <a:spLocks/>
              </p:cNvSpPr>
              <p:nvPr/>
            </p:nvSpPr>
            <p:spPr bwMode="auto">
              <a:xfrm>
                <a:off x="4528" y="2080"/>
                <a:ext cx="18" cy="28"/>
              </a:xfrm>
              <a:custGeom>
                <a:avLst/>
                <a:gdLst>
                  <a:gd name="T0" fmla="*/ 2 w 18"/>
                  <a:gd name="T1" fmla="*/ 28 h 28"/>
                  <a:gd name="T2" fmla="*/ 2 w 18"/>
                  <a:gd name="T3" fmla="*/ 28 h 28"/>
                  <a:gd name="T4" fmla="*/ 0 w 18"/>
                  <a:gd name="T5" fmla="*/ 28 h 28"/>
                  <a:gd name="T6" fmla="*/ 0 w 18"/>
                  <a:gd name="T7" fmla="*/ 28 h 28"/>
                  <a:gd name="T8" fmla="*/ 14 w 18"/>
                  <a:gd name="T9" fmla="*/ 0 h 28"/>
                  <a:gd name="T10" fmla="*/ 14 w 18"/>
                  <a:gd name="T11" fmla="*/ 0 h 28"/>
                  <a:gd name="T12" fmla="*/ 16 w 18"/>
                  <a:gd name="T13" fmla="*/ 2 h 28"/>
                  <a:gd name="T14" fmla="*/ 16 w 18"/>
                  <a:gd name="T15" fmla="*/ 2 h 28"/>
                  <a:gd name="T16" fmla="*/ 16 w 18"/>
                  <a:gd name="T17" fmla="*/ 2 h 28"/>
                  <a:gd name="T18" fmla="*/ 16 w 18"/>
                  <a:gd name="T19" fmla="*/ 2 h 28"/>
                  <a:gd name="T20" fmla="*/ 18 w 18"/>
                  <a:gd name="T21" fmla="*/ 10 h 28"/>
                  <a:gd name="T22" fmla="*/ 18 w 18"/>
                  <a:gd name="T23" fmla="*/ 10 h 28"/>
                  <a:gd name="T24" fmla="*/ 18 w 18"/>
                  <a:gd name="T25" fmla="*/ 24 h 28"/>
                  <a:gd name="T26" fmla="*/ 18 w 18"/>
                  <a:gd name="T27" fmla="*/ 24 h 28"/>
                  <a:gd name="T28" fmla="*/ 16 w 18"/>
                  <a:gd name="T29" fmla="*/ 28 h 28"/>
                  <a:gd name="T30" fmla="*/ 16 w 18"/>
                  <a:gd name="T31" fmla="*/ 28 h 28"/>
                  <a:gd name="T32" fmla="*/ 12 w 18"/>
                  <a:gd name="T33" fmla="*/ 28 h 28"/>
                  <a:gd name="T34" fmla="*/ 12 w 18"/>
                  <a:gd name="T35" fmla="*/ 28 h 28"/>
                  <a:gd name="T36" fmla="*/ 10 w 18"/>
                  <a:gd name="T37" fmla="*/ 28 h 28"/>
                  <a:gd name="T38" fmla="*/ 10 w 18"/>
                  <a:gd name="T39" fmla="*/ 28 h 28"/>
                  <a:gd name="T40" fmla="*/ 4 w 18"/>
                  <a:gd name="T41" fmla="*/ 28 h 28"/>
                  <a:gd name="T42" fmla="*/ 4 w 18"/>
                  <a:gd name="T43" fmla="*/ 28 h 28"/>
                  <a:gd name="T44" fmla="*/ 2 w 18"/>
                  <a:gd name="T45" fmla="*/ 28 h 28"/>
                  <a:gd name="T46" fmla="*/ 2 w 18"/>
                  <a:gd name="T47" fmla="*/ 28 h 28"/>
                  <a:gd name="T48" fmla="*/ 2 w 18"/>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8">
                    <a:moveTo>
                      <a:pt x="2" y="28"/>
                    </a:moveTo>
                    <a:lnTo>
                      <a:pt x="2" y="28"/>
                    </a:lnTo>
                    <a:lnTo>
                      <a:pt x="0" y="28"/>
                    </a:lnTo>
                    <a:lnTo>
                      <a:pt x="0" y="28"/>
                    </a:lnTo>
                    <a:lnTo>
                      <a:pt x="14" y="0"/>
                    </a:lnTo>
                    <a:lnTo>
                      <a:pt x="14" y="0"/>
                    </a:lnTo>
                    <a:lnTo>
                      <a:pt x="16" y="2"/>
                    </a:lnTo>
                    <a:lnTo>
                      <a:pt x="16" y="2"/>
                    </a:lnTo>
                    <a:lnTo>
                      <a:pt x="16" y="2"/>
                    </a:lnTo>
                    <a:lnTo>
                      <a:pt x="16" y="2"/>
                    </a:lnTo>
                    <a:lnTo>
                      <a:pt x="18" y="10"/>
                    </a:lnTo>
                    <a:lnTo>
                      <a:pt x="18" y="10"/>
                    </a:lnTo>
                    <a:lnTo>
                      <a:pt x="18" y="24"/>
                    </a:lnTo>
                    <a:lnTo>
                      <a:pt x="18" y="24"/>
                    </a:lnTo>
                    <a:lnTo>
                      <a:pt x="16" y="28"/>
                    </a:lnTo>
                    <a:lnTo>
                      <a:pt x="16" y="28"/>
                    </a:lnTo>
                    <a:lnTo>
                      <a:pt x="12" y="28"/>
                    </a:lnTo>
                    <a:lnTo>
                      <a:pt x="12" y="28"/>
                    </a:lnTo>
                    <a:lnTo>
                      <a:pt x="10" y="28"/>
                    </a:lnTo>
                    <a:lnTo>
                      <a:pt x="10" y="28"/>
                    </a:lnTo>
                    <a:lnTo>
                      <a:pt x="4" y="28"/>
                    </a:lnTo>
                    <a:lnTo>
                      <a:pt x="4" y="28"/>
                    </a:lnTo>
                    <a:lnTo>
                      <a:pt x="2" y="28"/>
                    </a:lnTo>
                    <a:lnTo>
                      <a:pt x="2" y="28"/>
                    </a:lnTo>
                    <a:lnTo>
                      <a:pt x="2"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7" name="Freeform 1234"/>
              <p:cNvSpPr>
                <a:spLocks/>
              </p:cNvSpPr>
              <p:nvPr/>
            </p:nvSpPr>
            <p:spPr bwMode="auto">
              <a:xfrm>
                <a:off x="4432" y="2078"/>
                <a:ext cx="18" cy="22"/>
              </a:xfrm>
              <a:custGeom>
                <a:avLst/>
                <a:gdLst>
                  <a:gd name="T0" fmla="*/ 0 w 18"/>
                  <a:gd name="T1" fmla="*/ 6 h 22"/>
                  <a:gd name="T2" fmla="*/ 0 w 18"/>
                  <a:gd name="T3" fmla="*/ 6 h 22"/>
                  <a:gd name="T4" fmla="*/ 2 w 18"/>
                  <a:gd name="T5" fmla="*/ 4 h 22"/>
                  <a:gd name="T6" fmla="*/ 2 w 18"/>
                  <a:gd name="T7" fmla="*/ 4 h 22"/>
                  <a:gd name="T8" fmla="*/ 8 w 18"/>
                  <a:gd name="T9" fmla="*/ 0 h 22"/>
                  <a:gd name="T10" fmla="*/ 8 w 18"/>
                  <a:gd name="T11" fmla="*/ 0 h 22"/>
                  <a:gd name="T12" fmla="*/ 18 w 18"/>
                  <a:gd name="T13" fmla="*/ 16 h 22"/>
                  <a:gd name="T14" fmla="*/ 18 w 18"/>
                  <a:gd name="T15" fmla="*/ 16 h 22"/>
                  <a:gd name="T16" fmla="*/ 18 w 18"/>
                  <a:gd name="T17" fmla="*/ 18 h 22"/>
                  <a:gd name="T18" fmla="*/ 18 w 18"/>
                  <a:gd name="T19" fmla="*/ 20 h 22"/>
                  <a:gd name="T20" fmla="*/ 18 w 18"/>
                  <a:gd name="T21" fmla="*/ 20 h 22"/>
                  <a:gd name="T22" fmla="*/ 16 w 18"/>
                  <a:gd name="T23" fmla="*/ 22 h 22"/>
                  <a:gd name="T24" fmla="*/ 14 w 18"/>
                  <a:gd name="T25" fmla="*/ 22 h 22"/>
                  <a:gd name="T26" fmla="*/ 14 w 18"/>
                  <a:gd name="T27" fmla="*/ 22 h 22"/>
                  <a:gd name="T28" fmla="*/ 14 w 18"/>
                  <a:gd name="T29" fmla="*/ 22 h 22"/>
                  <a:gd name="T30" fmla="*/ 14 w 18"/>
                  <a:gd name="T31" fmla="*/ 22 h 22"/>
                  <a:gd name="T32" fmla="*/ 8 w 18"/>
                  <a:gd name="T33" fmla="*/ 20 h 22"/>
                  <a:gd name="T34" fmla="*/ 4 w 18"/>
                  <a:gd name="T35" fmla="*/ 18 h 22"/>
                  <a:gd name="T36" fmla="*/ 0 w 18"/>
                  <a:gd name="T37" fmla="*/ 14 h 22"/>
                  <a:gd name="T38" fmla="*/ 0 w 18"/>
                  <a:gd name="T39" fmla="*/ 10 h 22"/>
                  <a:gd name="T40" fmla="*/ 0 w 18"/>
                  <a:gd name="T41" fmla="*/ 10 h 22"/>
                  <a:gd name="T42" fmla="*/ 0 w 18"/>
                  <a:gd name="T4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6"/>
                    </a:moveTo>
                    <a:lnTo>
                      <a:pt x="0" y="6"/>
                    </a:lnTo>
                    <a:lnTo>
                      <a:pt x="2" y="4"/>
                    </a:lnTo>
                    <a:lnTo>
                      <a:pt x="2" y="4"/>
                    </a:lnTo>
                    <a:lnTo>
                      <a:pt x="8" y="0"/>
                    </a:lnTo>
                    <a:lnTo>
                      <a:pt x="8" y="0"/>
                    </a:lnTo>
                    <a:lnTo>
                      <a:pt x="18" y="16"/>
                    </a:lnTo>
                    <a:lnTo>
                      <a:pt x="18" y="16"/>
                    </a:lnTo>
                    <a:lnTo>
                      <a:pt x="18" y="18"/>
                    </a:lnTo>
                    <a:lnTo>
                      <a:pt x="18" y="20"/>
                    </a:lnTo>
                    <a:lnTo>
                      <a:pt x="18" y="20"/>
                    </a:lnTo>
                    <a:lnTo>
                      <a:pt x="16" y="22"/>
                    </a:lnTo>
                    <a:lnTo>
                      <a:pt x="14" y="22"/>
                    </a:lnTo>
                    <a:lnTo>
                      <a:pt x="14" y="22"/>
                    </a:lnTo>
                    <a:lnTo>
                      <a:pt x="14" y="22"/>
                    </a:lnTo>
                    <a:lnTo>
                      <a:pt x="14" y="22"/>
                    </a:lnTo>
                    <a:lnTo>
                      <a:pt x="8" y="20"/>
                    </a:lnTo>
                    <a:lnTo>
                      <a:pt x="4" y="18"/>
                    </a:lnTo>
                    <a:lnTo>
                      <a:pt x="0" y="14"/>
                    </a:lnTo>
                    <a:lnTo>
                      <a:pt x="0" y="10"/>
                    </a:lnTo>
                    <a:lnTo>
                      <a:pt x="0" y="1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8" name="Freeform 1235"/>
              <p:cNvSpPr>
                <a:spLocks/>
              </p:cNvSpPr>
              <p:nvPr/>
            </p:nvSpPr>
            <p:spPr bwMode="auto">
              <a:xfrm>
                <a:off x="4428" y="2028"/>
                <a:ext cx="12" cy="20"/>
              </a:xfrm>
              <a:custGeom>
                <a:avLst/>
                <a:gdLst>
                  <a:gd name="T0" fmla="*/ 8 w 12"/>
                  <a:gd name="T1" fmla="*/ 0 h 20"/>
                  <a:gd name="T2" fmla="*/ 8 w 12"/>
                  <a:gd name="T3" fmla="*/ 0 h 20"/>
                  <a:gd name="T4" fmla="*/ 8 w 12"/>
                  <a:gd name="T5" fmla="*/ 0 h 20"/>
                  <a:gd name="T6" fmla="*/ 8 w 12"/>
                  <a:gd name="T7" fmla="*/ 0 h 20"/>
                  <a:gd name="T8" fmla="*/ 6 w 12"/>
                  <a:gd name="T9" fmla="*/ 0 h 20"/>
                  <a:gd name="T10" fmla="*/ 6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0 h 20"/>
                  <a:gd name="T26" fmla="*/ 4 w 12"/>
                  <a:gd name="T27" fmla="*/ 10 h 20"/>
                  <a:gd name="T28" fmla="*/ 4 w 12"/>
                  <a:gd name="T29" fmla="*/ 14 h 20"/>
                  <a:gd name="T30" fmla="*/ 4 w 12"/>
                  <a:gd name="T31" fmla="*/ 14 h 20"/>
                  <a:gd name="T32" fmla="*/ 4 w 12"/>
                  <a:gd name="T33" fmla="*/ 14 h 20"/>
                  <a:gd name="T34" fmla="*/ 4 w 12"/>
                  <a:gd name="T35" fmla="*/ 14 h 20"/>
                  <a:gd name="T36" fmla="*/ 4 w 12"/>
                  <a:gd name="T37" fmla="*/ 14 h 20"/>
                  <a:gd name="T38" fmla="*/ 4 w 12"/>
                  <a:gd name="T39" fmla="*/ 14 h 20"/>
                  <a:gd name="T40" fmla="*/ 4 w 12"/>
                  <a:gd name="T41" fmla="*/ 14 h 20"/>
                  <a:gd name="T42" fmla="*/ 4 w 12"/>
                  <a:gd name="T43" fmla="*/ 14 h 20"/>
                  <a:gd name="T44" fmla="*/ 4 w 12"/>
                  <a:gd name="T45" fmla="*/ 16 h 20"/>
                  <a:gd name="T46" fmla="*/ 4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0 w 12"/>
                  <a:gd name="T69" fmla="*/ 16 h 20"/>
                  <a:gd name="T70" fmla="*/ 10 w 12"/>
                  <a:gd name="T71" fmla="*/ 18 h 20"/>
                  <a:gd name="T72" fmla="*/ 10 w 12"/>
                  <a:gd name="T73" fmla="*/ 18 h 20"/>
                  <a:gd name="T74" fmla="*/ 6 w 12"/>
                  <a:gd name="T75" fmla="*/ 20 h 20"/>
                  <a:gd name="T76" fmla="*/ 6 w 12"/>
                  <a:gd name="T77" fmla="*/ 20 h 20"/>
                  <a:gd name="T78" fmla="*/ 4 w 12"/>
                  <a:gd name="T79" fmla="*/ 18 h 20"/>
                  <a:gd name="T80" fmla="*/ 4 w 12"/>
                  <a:gd name="T81" fmla="*/ 18 h 20"/>
                  <a:gd name="T82" fmla="*/ 4 w 12"/>
                  <a:gd name="T83" fmla="*/ 18 h 20"/>
                  <a:gd name="T84" fmla="*/ 4 w 12"/>
                  <a:gd name="T85" fmla="*/ 18 h 20"/>
                  <a:gd name="T86" fmla="*/ 0 w 12"/>
                  <a:gd name="T87" fmla="*/ 12 h 20"/>
                  <a:gd name="T88" fmla="*/ 0 w 12"/>
                  <a:gd name="T89" fmla="*/ 4 h 20"/>
                  <a:gd name="T90" fmla="*/ 0 w 12"/>
                  <a:gd name="T91" fmla="*/ 4 h 20"/>
                  <a:gd name="T92" fmla="*/ 6 w 12"/>
                  <a:gd name="T93" fmla="*/ 0 h 20"/>
                  <a:gd name="T94" fmla="*/ 6 w 12"/>
                  <a:gd name="T95" fmla="*/ 0 h 20"/>
                  <a:gd name="T96" fmla="*/ 6 w 12"/>
                  <a:gd name="T97" fmla="*/ 0 h 20"/>
                  <a:gd name="T98" fmla="*/ 6 w 12"/>
                  <a:gd name="T99" fmla="*/ 0 h 20"/>
                  <a:gd name="T100" fmla="*/ 8 w 12"/>
                  <a:gd name="T10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20">
                    <a:moveTo>
                      <a:pt x="8" y="0"/>
                    </a:moveTo>
                    <a:lnTo>
                      <a:pt x="8" y="0"/>
                    </a:lnTo>
                    <a:lnTo>
                      <a:pt x="8" y="0"/>
                    </a:lnTo>
                    <a:lnTo>
                      <a:pt x="8" y="0"/>
                    </a:lnTo>
                    <a:lnTo>
                      <a:pt x="6" y="0"/>
                    </a:lnTo>
                    <a:lnTo>
                      <a:pt x="6" y="0"/>
                    </a:lnTo>
                    <a:lnTo>
                      <a:pt x="8" y="0"/>
                    </a:lnTo>
                    <a:lnTo>
                      <a:pt x="8" y="0"/>
                    </a:lnTo>
                    <a:lnTo>
                      <a:pt x="8" y="0"/>
                    </a:lnTo>
                    <a:lnTo>
                      <a:pt x="8" y="0"/>
                    </a:lnTo>
                    <a:lnTo>
                      <a:pt x="6" y="2"/>
                    </a:lnTo>
                    <a:lnTo>
                      <a:pt x="6" y="2"/>
                    </a:lnTo>
                    <a:lnTo>
                      <a:pt x="4" y="10"/>
                    </a:lnTo>
                    <a:lnTo>
                      <a:pt x="4" y="10"/>
                    </a:lnTo>
                    <a:lnTo>
                      <a:pt x="4" y="14"/>
                    </a:lnTo>
                    <a:lnTo>
                      <a:pt x="4" y="14"/>
                    </a:lnTo>
                    <a:lnTo>
                      <a:pt x="4" y="14"/>
                    </a:lnTo>
                    <a:lnTo>
                      <a:pt x="4" y="14"/>
                    </a:lnTo>
                    <a:lnTo>
                      <a:pt x="4" y="14"/>
                    </a:lnTo>
                    <a:lnTo>
                      <a:pt x="4" y="14"/>
                    </a:lnTo>
                    <a:lnTo>
                      <a:pt x="4" y="14"/>
                    </a:lnTo>
                    <a:lnTo>
                      <a:pt x="4" y="14"/>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6"/>
                    </a:lnTo>
                    <a:lnTo>
                      <a:pt x="10" y="18"/>
                    </a:lnTo>
                    <a:lnTo>
                      <a:pt x="10" y="18"/>
                    </a:lnTo>
                    <a:lnTo>
                      <a:pt x="6" y="20"/>
                    </a:lnTo>
                    <a:lnTo>
                      <a:pt x="6" y="20"/>
                    </a:lnTo>
                    <a:lnTo>
                      <a:pt x="4" y="18"/>
                    </a:lnTo>
                    <a:lnTo>
                      <a:pt x="4" y="18"/>
                    </a:lnTo>
                    <a:lnTo>
                      <a:pt x="4" y="18"/>
                    </a:lnTo>
                    <a:lnTo>
                      <a:pt x="4" y="18"/>
                    </a:lnTo>
                    <a:lnTo>
                      <a:pt x="0" y="12"/>
                    </a:lnTo>
                    <a:lnTo>
                      <a:pt x="0" y="4"/>
                    </a:lnTo>
                    <a:lnTo>
                      <a:pt x="0" y="4"/>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19" name="Freeform 1236"/>
              <p:cNvSpPr>
                <a:spLocks/>
              </p:cNvSpPr>
              <p:nvPr/>
            </p:nvSpPr>
            <p:spPr bwMode="auto">
              <a:xfrm>
                <a:off x="4440" y="1982"/>
                <a:ext cx="172" cy="138"/>
              </a:xfrm>
              <a:custGeom>
                <a:avLst/>
                <a:gdLst>
                  <a:gd name="T0" fmla="*/ 74 w 172"/>
                  <a:gd name="T1" fmla="*/ 8 h 138"/>
                  <a:gd name="T2" fmla="*/ 100 w 172"/>
                  <a:gd name="T3" fmla="*/ 0 h 138"/>
                  <a:gd name="T4" fmla="*/ 130 w 172"/>
                  <a:gd name="T5" fmla="*/ 16 h 138"/>
                  <a:gd name="T6" fmla="*/ 136 w 172"/>
                  <a:gd name="T7" fmla="*/ 18 h 138"/>
                  <a:gd name="T8" fmla="*/ 134 w 172"/>
                  <a:gd name="T9" fmla="*/ 30 h 138"/>
                  <a:gd name="T10" fmla="*/ 140 w 172"/>
                  <a:gd name="T11" fmla="*/ 38 h 138"/>
                  <a:gd name="T12" fmla="*/ 144 w 172"/>
                  <a:gd name="T13" fmla="*/ 40 h 138"/>
                  <a:gd name="T14" fmla="*/ 132 w 172"/>
                  <a:gd name="T15" fmla="*/ 48 h 138"/>
                  <a:gd name="T16" fmla="*/ 138 w 172"/>
                  <a:gd name="T17" fmla="*/ 40 h 138"/>
                  <a:gd name="T18" fmla="*/ 138 w 172"/>
                  <a:gd name="T19" fmla="*/ 52 h 138"/>
                  <a:gd name="T20" fmla="*/ 144 w 172"/>
                  <a:gd name="T21" fmla="*/ 42 h 138"/>
                  <a:gd name="T22" fmla="*/ 144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0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8 w 172"/>
                  <a:gd name="T73" fmla="*/ 122 h 138"/>
                  <a:gd name="T74" fmla="*/ 32 w 172"/>
                  <a:gd name="T75" fmla="*/ 134 h 138"/>
                  <a:gd name="T76" fmla="*/ 30 w 172"/>
                  <a:gd name="T77" fmla="*/ 136 h 138"/>
                  <a:gd name="T78" fmla="*/ 10 w 172"/>
                  <a:gd name="T79" fmla="*/ 126 h 138"/>
                  <a:gd name="T80" fmla="*/ 12 w 172"/>
                  <a:gd name="T81" fmla="*/ 118 h 138"/>
                  <a:gd name="T82" fmla="*/ 6 w 172"/>
                  <a:gd name="T83" fmla="*/ 102 h 138"/>
                  <a:gd name="T84" fmla="*/ 0 w 172"/>
                  <a:gd name="T85" fmla="*/ 74 h 138"/>
                  <a:gd name="T86" fmla="*/ 16 w 172"/>
                  <a:gd name="T87" fmla="*/ 42 h 138"/>
                  <a:gd name="T88" fmla="*/ 42 w 172"/>
                  <a:gd name="T89" fmla="*/ 30 h 138"/>
                  <a:gd name="T90" fmla="*/ 32 w 172"/>
                  <a:gd name="T91" fmla="*/ 46 h 138"/>
                  <a:gd name="T92" fmla="*/ 26 w 172"/>
                  <a:gd name="T93" fmla="*/ 60 h 138"/>
                  <a:gd name="T94" fmla="*/ 34 w 172"/>
                  <a:gd name="T95" fmla="*/ 76 h 138"/>
                  <a:gd name="T96" fmla="*/ 34 w 172"/>
                  <a:gd name="T97" fmla="*/ 86 h 138"/>
                  <a:gd name="T98" fmla="*/ 50 w 172"/>
                  <a:gd name="T99" fmla="*/ 94 h 138"/>
                  <a:gd name="T100" fmla="*/ 58 w 172"/>
                  <a:gd name="T101" fmla="*/ 92 h 138"/>
                  <a:gd name="T102" fmla="*/ 80 w 172"/>
                  <a:gd name="T103" fmla="*/ 80 h 138"/>
                  <a:gd name="T104" fmla="*/ 82 w 172"/>
                  <a:gd name="T105" fmla="*/ 54 h 138"/>
                  <a:gd name="T106" fmla="*/ 78 w 172"/>
                  <a:gd name="T107" fmla="*/ 56 h 138"/>
                  <a:gd name="T108" fmla="*/ 76 w 172"/>
                  <a:gd name="T109" fmla="*/ 80 h 138"/>
                  <a:gd name="T110" fmla="*/ 58 w 172"/>
                  <a:gd name="T111" fmla="*/ 88 h 138"/>
                  <a:gd name="T112" fmla="*/ 44 w 172"/>
                  <a:gd name="T113" fmla="*/ 90 h 138"/>
                  <a:gd name="T114" fmla="*/ 38 w 172"/>
                  <a:gd name="T115" fmla="*/ 80 h 138"/>
                  <a:gd name="T116" fmla="*/ 46 w 172"/>
                  <a:gd name="T117" fmla="*/ 64 h 138"/>
                  <a:gd name="T118" fmla="*/ 30 w 172"/>
                  <a:gd name="T119" fmla="*/ 62 h 138"/>
                  <a:gd name="T120" fmla="*/ 34 w 172"/>
                  <a:gd name="T121" fmla="*/ 52 h 138"/>
                  <a:gd name="T122" fmla="*/ 58 w 172"/>
                  <a:gd name="T123" fmla="*/ 22 h 138"/>
                  <a:gd name="T124" fmla="*/ 72 w 172"/>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2"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4" y="108"/>
                    </a:lnTo>
                    <a:lnTo>
                      <a:pt x="62" y="110"/>
                    </a:lnTo>
                    <a:lnTo>
                      <a:pt x="56" y="112"/>
                    </a:lnTo>
                    <a:lnTo>
                      <a:pt x="56" y="112"/>
                    </a:lnTo>
                    <a:lnTo>
                      <a:pt x="52" y="112"/>
                    </a:lnTo>
                    <a:lnTo>
                      <a:pt x="52" y="112"/>
                    </a:lnTo>
                    <a:lnTo>
                      <a:pt x="46" y="112"/>
                    </a:lnTo>
                    <a:lnTo>
                      <a:pt x="46" y="112"/>
                    </a:lnTo>
                    <a:lnTo>
                      <a:pt x="42" y="112"/>
                    </a:lnTo>
                    <a:lnTo>
                      <a:pt x="40" y="110"/>
                    </a:lnTo>
                    <a:lnTo>
                      <a:pt x="40" y="106"/>
                    </a:lnTo>
                    <a:lnTo>
                      <a:pt x="40" y="106"/>
                    </a:lnTo>
                    <a:lnTo>
                      <a:pt x="40" y="108"/>
                    </a:lnTo>
                    <a:lnTo>
                      <a:pt x="40" y="108"/>
                    </a:lnTo>
                    <a:lnTo>
                      <a:pt x="40" y="110"/>
                    </a:lnTo>
                    <a:lnTo>
                      <a:pt x="40" y="110"/>
                    </a:lnTo>
                    <a:lnTo>
                      <a:pt x="38" y="118"/>
                    </a:lnTo>
                    <a:lnTo>
                      <a:pt x="38" y="122"/>
                    </a:lnTo>
                    <a:lnTo>
                      <a:pt x="36" y="126"/>
                    </a:lnTo>
                    <a:lnTo>
                      <a:pt x="36"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2"/>
                    </a:lnTo>
                    <a:lnTo>
                      <a:pt x="0"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2" y="68"/>
                    </a:lnTo>
                    <a:lnTo>
                      <a:pt x="82" y="54"/>
                    </a:lnTo>
                    <a:lnTo>
                      <a:pt x="82" y="54"/>
                    </a:lnTo>
                    <a:lnTo>
                      <a:pt x="78" y="40"/>
                    </a:lnTo>
                    <a:lnTo>
                      <a:pt x="78" y="40"/>
                    </a:lnTo>
                    <a:lnTo>
                      <a:pt x="78" y="56"/>
                    </a:lnTo>
                    <a:lnTo>
                      <a:pt x="78" y="56"/>
                    </a:lnTo>
                    <a:lnTo>
                      <a:pt x="78" y="76"/>
                    </a:lnTo>
                    <a:lnTo>
                      <a:pt x="78" y="76"/>
                    </a:lnTo>
                    <a:lnTo>
                      <a:pt x="76"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6" y="46"/>
                    </a:lnTo>
                    <a:lnTo>
                      <a:pt x="36"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0" name="Freeform 1237"/>
              <p:cNvSpPr>
                <a:spLocks/>
              </p:cNvSpPr>
              <p:nvPr/>
            </p:nvSpPr>
            <p:spPr bwMode="auto">
              <a:xfrm>
                <a:off x="4426" y="1978"/>
                <a:ext cx="188" cy="146"/>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0"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10" y="120"/>
                    </a:lnTo>
                    <a:lnTo>
                      <a:pt x="10"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2"/>
                    </a:lnTo>
                    <a:lnTo>
                      <a:pt x="50"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8" y="146"/>
                    </a:lnTo>
                    <a:lnTo>
                      <a:pt x="80" y="146"/>
                    </a:lnTo>
                    <a:lnTo>
                      <a:pt x="80" y="146"/>
                    </a:lnTo>
                    <a:lnTo>
                      <a:pt x="84"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30"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6" y="72"/>
                    </a:lnTo>
                    <a:lnTo>
                      <a:pt x="186" y="72"/>
                    </a:lnTo>
                    <a:lnTo>
                      <a:pt x="188" y="58"/>
                    </a:lnTo>
                    <a:lnTo>
                      <a:pt x="188" y="46"/>
                    </a:lnTo>
                    <a:lnTo>
                      <a:pt x="188" y="46"/>
                    </a:lnTo>
                    <a:lnTo>
                      <a:pt x="186" y="38"/>
                    </a:lnTo>
                    <a:lnTo>
                      <a:pt x="182" y="28"/>
                    </a:lnTo>
                    <a:lnTo>
                      <a:pt x="182"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1" name="Freeform 1238"/>
              <p:cNvSpPr>
                <a:spLocks/>
              </p:cNvSpPr>
              <p:nvPr/>
            </p:nvSpPr>
            <p:spPr bwMode="auto">
              <a:xfrm>
                <a:off x="4432" y="2078"/>
                <a:ext cx="18" cy="22"/>
              </a:xfrm>
              <a:custGeom>
                <a:avLst/>
                <a:gdLst>
                  <a:gd name="T0" fmla="*/ 8 w 18"/>
                  <a:gd name="T1" fmla="*/ 0 h 22"/>
                  <a:gd name="T2" fmla="*/ 8 w 18"/>
                  <a:gd name="T3" fmla="*/ 0 h 22"/>
                  <a:gd name="T4" fmla="*/ 0 w 18"/>
                  <a:gd name="T5" fmla="*/ 6 h 22"/>
                  <a:gd name="T6" fmla="*/ 0 w 18"/>
                  <a:gd name="T7" fmla="*/ 6 h 22"/>
                  <a:gd name="T8" fmla="*/ 0 w 18"/>
                  <a:gd name="T9" fmla="*/ 6 h 22"/>
                  <a:gd name="T10" fmla="*/ 0 w 18"/>
                  <a:gd name="T11" fmla="*/ 6 h 22"/>
                  <a:gd name="T12" fmla="*/ 0 w 18"/>
                  <a:gd name="T13" fmla="*/ 8 h 22"/>
                  <a:gd name="T14" fmla="*/ 0 w 18"/>
                  <a:gd name="T15" fmla="*/ 8 h 22"/>
                  <a:gd name="T16" fmla="*/ 2 w 18"/>
                  <a:gd name="T17" fmla="*/ 12 h 22"/>
                  <a:gd name="T18" fmla="*/ 4 w 18"/>
                  <a:gd name="T19" fmla="*/ 16 h 22"/>
                  <a:gd name="T20" fmla="*/ 8 w 18"/>
                  <a:gd name="T21" fmla="*/ 20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20 h 22"/>
                  <a:gd name="T34" fmla="*/ 16 w 18"/>
                  <a:gd name="T35" fmla="*/ 16 h 22"/>
                  <a:gd name="T36" fmla="*/ 16 w 18"/>
                  <a:gd name="T37" fmla="*/ 16 h 22"/>
                  <a:gd name="T38" fmla="*/ 8 w 18"/>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2">
                    <a:moveTo>
                      <a:pt x="8" y="0"/>
                    </a:moveTo>
                    <a:lnTo>
                      <a:pt x="8" y="0"/>
                    </a:lnTo>
                    <a:lnTo>
                      <a:pt x="0" y="6"/>
                    </a:lnTo>
                    <a:lnTo>
                      <a:pt x="0" y="6"/>
                    </a:lnTo>
                    <a:lnTo>
                      <a:pt x="0" y="6"/>
                    </a:lnTo>
                    <a:lnTo>
                      <a:pt x="0" y="6"/>
                    </a:lnTo>
                    <a:lnTo>
                      <a:pt x="0" y="8"/>
                    </a:lnTo>
                    <a:lnTo>
                      <a:pt x="0" y="8"/>
                    </a:lnTo>
                    <a:lnTo>
                      <a:pt x="2" y="12"/>
                    </a:lnTo>
                    <a:lnTo>
                      <a:pt x="4" y="16"/>
                    </a:lnTo>
                    <a:lnTo>
                      <a:pt x="8" y="20"/>
                    </a:lnTo>
                    <a:lnTo>
                      <a:pt x="14" y="22"/>
                    </a:lnTo>
                    <a:lnTo>
                      <a:pt x="14" y="22"/>
                    </a:lnTo>
                    <a:lnTo>
                      <a:pt x="14" y="22"/>
                    </a:lnTo>
                    <a:lnTo>
                      <a:pt x="14" y="22"/>
                    </a:lnTo>
                    <a:lnTo>
                      <a:pt x="18" y="20"/>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2" name="Freeform 1239"/>
              <p:cNvSpPr>
                <a:spLocks/>
              </p:cNvSpPr>
              <p:nvPr/>
            </p:nvSpPr>
            <p:spPr bwMode="auto">
              <a:xfrm>
                <a:off x="4432" y="2078"/>
                <a:ext cx="18" cy="22"/>
              </a:xfrm>
              <a:custGeom>
                <a:avLst/>
                <a:gdLst>
                  <a:gd name="T0" fmla="*/ 8 w 18"/>
                  <a:gd name="T1" fmla="*/ 0 h 22"/>
                  <a:gd name="T2" fmla="*/ 8 w 18"/>
                  <a:gd name="T3" fmla="*/ 0 h 22"/>
                  <a:gd name="T4" fmla="*/ 0 w 18"/>
                  <a:gd name="T5" fmla="*/ 6 h 22"/>
                  <a:gd name="T6" fmla="*/ 0 w 18"/>
                  <a:gd name="T7" fmla="*/ 6 h 22"/>
                  <a:gd name="T8" fmla="*/ 0 w 18"/>
                  <a:gd name="T9" fmla="*/ 6 h 22"/>
                  <a:gd name="T10" fmla="*/ 0 w 18"/>
                  <a:gd name="T11" fmla="*/ 6 h 22"/>
                  <a:gd name="T12" fmla="*/ 0 w 18"/>
                  <a:gd name="T13" fmla="*/ 8 h 22"/>
                  <a:gd name="T14" fmla="*/ 0 w 18"/>
                  <a:gd name="T15" fmla="*/ 8 h 22"/>
                  <a:gd name="T16" fmla="*/ 2 w 18"/>
                  <a:gd name="T17" fmla="*/ 12 h 22"/>
                  <a:gd name="T18" fmla="*/ 4 w 18"/>
                  <a:gd name="T19" fmla="*/ 16 h 22"/>
                  <a:gd name="T20" fmla="*/ 8 w 18"/>
                  <a:gd name="T21" fmla="*/ 20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20 h 22"/>
                  <a:gd name="T34" fmla="*/ 16 w 18"/>
                  <a:gd name="T35" fmla="*/ 16 h 22"/>
                  <a:gd name="T36" fmla="*/ 16 w 18"/>
                  <a:gd name="T37" fmla="*/ 16 h 22"/>
                  <a:gd name="T38" fmla="*/ 8 w 18"/>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2">
                    <a:moveTo>
                      <a:pt x="8" y="0"/>
                    </a:moveTo>
                    <a:lnTo>
                      <a:pt x="8" y="0"/>
                    </a:lnTo>
                    <a:lnTo>
                      <a:pt x="0" y="6"/>
                    </a:lnTo>
                    <a:lnTo>
                      <a:pt x="0" y="6"/>
                    </a:lnTo>
                    <a:lnTo>
                      <a:pt x="0" y="6"/>
                    </a:lnTo>
                    <a:lnTo>
                      <a:pt x="0" y="6"/>
                    </a:lnTo>
                    <a:lnTo>
                      <a:pt x="0" y="8"/>
                    </a:lnTo>
                    <a:lnTo>
                      <a:pt x="0" y="8"/>
                    </a:lnTo>
                    <a:lnTo>
                      <a:pt x="2" y="12"/>
                    </a:lnTo>
                    <a:lnTo>
                      <a:pt x="4" y="16"/>
                    </a:lnTo>
                    <a:lnTo>
                      <a:pt x="8" y="20"/>
                    </a:lnTo>
                    <a:lnTo>
                      <a:pt x="14" y="22"/>
                    </a:lnTo>
                    <a:lnTo>
                      <a:pt x="14" y="22"/>
                    </a:lnTo>
                    <a:lnTo>
                      <a:pt x="14" y="22"/>
                    </a:lnTo>
                    <a:lnTo>
                      <a:pt x="14" y="22"/>
                    </a:lnTo>
                    <a:lnTo>
                      <a:pt x="18" y="20"/>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3" name="Freeform 1240"/>
              <p:cNvSpPr>
                <a:spLocks/>
              </p:cNvSpPr>
              <p:nvPr/>
            </p:nvSpPr>
            <p:spPr bwMode="auto">
              <a:xfrm>
                <a:off x="4432" y="2078"/>
                <a:ext cx="18" cy="20"/>
              </a:xfrm>
              <a:custGeom>
                <a:avLst/>
                <a:gdLst>
                  <a:gd name="T0" fmla="*/ 8 w 18"/>
                  <a:gd name="T1" fmla="*/ 0 h 20"/>
                  <a:gd name="T2" fmla="*/ 8 w 18"/>
                  <a:gd name="T3" fmla="*/ 0 h 20"/>
                  <a:gd name="T4" fmla="*/ 2 w 18"/>
                  <a:gd name="T5" fmla="*/ 4 h 20"/>
                  <a:gd name="T6" fmla="*/ 2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8 w 18"/>
                  <a:gd name="T25" fmla="*/ 20 h 20"/>
                  <a:gd name="T26" fmla="*/ 18 w 18"/>
                  <a:gd name="T27" fmla="*/ 20 h 20"/>
                  <a:gd name="T28" fmla="*/ 18 w 18"/>
                  <a:gd name="T29" fmla="*/ 18 h 20"/>
                  <a:gd name="T30" fmla="*/ 18 w 18"/>
                  <a:gd name="T31" fmla="*/ 16 h 20"/>
                  <a:gd name="T32" fmla="*/ 18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2" y="4"/>
                    </a:lnTo>
                    <a:lnTo>
                      <a:pt x="2" y="4"/>
                    </a:lnTo>
                    <a:lnTo>
                      <a:pt x="0" y="6"/>
                    </a:lnTo>
                    <a:lnTo>
                      <a:pt x="0" y="6"/>
                    </a:lnTo>
                    <a:lnTo>
                      <a:pt x="0" y="6"/>
                    </a:lnTo>
                    <a:lnTo>
                      <a:pt x="0" y="6"/>
                    </a:lnTo>
                    <a:lnTo>
                      <a:pt x="8" y="0"/>
                    </a:lnTo>
                    <a:lnTo>
                      <a:pt x="8" y="0"/>
                    </a:lnTo>
                    <a:lnTo>
                      <a:pt x="16" y="16"/>
                    </a:lnTo>
                    <a:lnTo>
                      <a:pt x="16" y="16"/>
                    </a:lnTo>
                    <a:lnTo>
                      <a:pt x="18" y="20"/>
                    </a:lnTo>
                    <a:lnTo>
                      <a:pt x="18" y="20"/>
                    </a:lnTo>
                    <a:lnTo>
                      <a:pt x="18" y="18"/>
                    </a:lnTo>
                    <a:lnTo>
                      <a:pt x="18" y="16"/>
                    </a:lnTo>
                    <a:lnTo>
                      <a:pt x="18" y="16"/>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4" name="Freeform 1241"/>
              <p:cNvSpPr>
                <a:spLocks/>
              </p:cNvSpPr>
              <p:nvPr/>
            </p:nvSpPr>
            <p:spPr bwMode="auto">
              <a:xfrm>
                <a:off x="4432" y="2078"/>
                <a:ext cx="18" cy="20"/>
              </a:xfrm>
              <a:custGeom>
                <a:avLst/>
                <a:gdLst>
                  <a:gd name="T0" fmla="*/ 8 w 18"/>
                  <a:gd name="T1" fmla="*/ 0 h 20"/>
                  <a:gd name="T2" fmla="*/ 8 w 18"/>
                  <a:gd name="T3" fmla="*/ 0 h 20"/>
                  <a:gd name="T4" fmla="*/ 2 w 18"/>
                  <a:gd name="T5" fmla="*/ 4 h 20"/>
                  <a:gd name="T6" fmla="*/ 2 w 18"/>
                  <a:gd name="T7" fmla="*/ 4 h 20"/>
                  <a:gd name="T8" fmla="*/ 0 w 18"/>
                  <a:gd name="T9" fmla="*/ 6 h 20"/>
                  <a:gd name="T10" fmla="*/ 0 w 18"/>
                  <a:gd name="T11" fmla="*/ 6 h 20"/>
                  <a:gd name="T12" fmla="*/ 0 w 18"/>
                  <a:gd name="T13" fmla="*/ 6 h 20"/>
                  <a:gd name="T14" fmla="*/ 0 w 18"/>
                  <a:gd name="T15" fmla="*/ 6 h 20"/>
                  <a:gd name="T16" fmla="*/ 8 w 18"/>
                  <a:gd name="T17" fmla="*/ 0 h 20"/>
                  <a:gd name="T18" fmla="*/ 8 w 18"/>
                  <a:gd name="T19" fmla="*/ 0 h 20"/>
                  <a:gd name="T20" fmla="*/ 16 w 18"/>
                  <a:gd name="T21" fmla="*/ 16 h 20"/>
                  <a:gd name="T22" fmla="*/ 16 w 18"/>
                  <a:gd name="T23" fmla="*/ 16 h 20"/>
                  <a:gd name="T24" fmla="*/ 18 w 18"/>
                  <a:gd name="T25" fmla="*/ 20 h 20"/>
                  <a:gd name="T26" fmla="*/ 18 w 18"/>
                  <a:gd name="T27" fmla="*/ 20 h 20"/>
                  <a:gd name="T28" fmla="*/ 18 w 18"/>
                  <a:gd name="T29" fmla="*/ 18 h 20"/>
                  <a:gd name="T30" fmla="*/ 18 w 18"/>
                  <a:gd name="T31" fmla="*/ 16 h 20"/>
                  <a:gd name="T32" fmla="*/ 18 w 18"/>
                  <a:gd name="T33" fmla="*/ 16 h 20"/>
                  <a:gd name="T34" fmla="*/ 8 w 1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0">
                    <a:moveTo>
                      <a:pt x="8" y="0"/>
                    </a:moveTo>
                    <a:lnTo>
                      <a:pt x="8" y="0"/>
                    </a:lnTo>
                    <a:lnTo>
                      <a:pt x="2" y="4"/>
                    </a:lnTo>
                    <a:lnTo>
                      <a:pt x="2" y="4"/>
                    </a:lnTo>
                    <a:lnTo>
                      <a:pt x="0" y="6"/>
                    </a:lnTo>
                    <a:lnTo>
                      <a:pt x="0" y="6"/>
                    </a:lnTo>
                    <a:lnTo>
                      <a:pt x="0" y="6"/>
                    </a:lnTo>
                    <a:lnTo>
                      <a:pt x="0" y="6"/>
                    </a:lnTo>
                    <a:lnTo>
                      <a:pt x="8" y="0"/>
                    </a:lnTo>
                    <a:lnTo>
                      <a:pt x="8" y="0"/>
                    </a:lnTo>
                    <a:lnTo>
                      <a:pt x="16" y="16"/>
                    </a:lnTo>
                    <a:lnTo>
                      <a:pt x="16" y="16"/>
                    </a:lnTo>
                    <a:lnTo>
                      <a:pt x="18" y="20"/>
                    </a:lnTo>
                    <a:lnTo>
                      <a:pt x="18" y="20"/>
                    </a:lnTo>
                    <a:lnTo>
                      <a:pt x="18" y="18"/>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5" name="Freeform 1242"/>
              <p:cNvSpPr>
                <a:spLocks/>
              </p:cNvSpPr>
              <p:nvPr/>
            </p:nvSpPr>
            <p:spPr bwMode="auto">
              <a:xfrm>
                <a:off x="4530" y="2082"/>
                <a:ext cx="16" cy="26"/>
              </a:xfrm>
              <a:custGeom>
                <a:avLst/>
                <a:gdLst>
                  <a:gd name="T0" fmla="*/ 14 w 16"/>
                  <a:gd name="T1" fmla="*/ 0 h 26"/>
                  <a:gd name="T2" fmla="*/ 14 w 16"/>
                  <a:gd name="T3" fmla="*/ 0 h 26"/>
                  <a:gd name="T4" fmla="*/ 0 w 16"/>
                  <a:gd name="T5" fmla="*/ 26 h 26"/>
                  <a:gd name="T6" fmla="*/ 0 w 16"/>
                  <a:gd name="T7" fmla="*/ 26 h 26"/>
                  <a:gd name="T8" fmla="*/ 2 w 16"/>
                  <a:gd name="T9" fmla="*/ 26 h 26"/>
                  <a:gd name="T10" fmla="*/ 2 w 16"/>
                  <a:gd name="T11" fmla="*/ 26 h 26"/>
                  <a:gd name="T12" fmla="*/ 8 w 16"/>
                  <a:gd name="T13" fmla="*/ 26 h 26"/>
                  <a:gd name="T14" fmla="*/ 8 w 16"/>
                  <a:gd name="T15" fmla="*/ 26 h 26"/>
                  <a:gd name="T16" fmla="*/ 10 w 16"/>
                  <a:gd name="T17" fmla="*/ 26 h 26"/>
                  <a:gd name="T18" fmla="*/ 10 w 16"/>
                  <a:gd name="T19" fmla="*/ 26 h 26"/>
                  <a:gd name="T20" fmla="*/ 14 w 16"/>
                  <a:gd name="T21" fmla="*/ 26 h 26"/>
                  <a:gd name="T22" fmla="*/ 14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0" y="26"/>
                    </a:lnTo>
                    <a:lnTo>
                      <a:pt x="0" y="26"/>
                    </a:lnTo>
                    <a:lnTo>
                      <a:pt x="2" y="26"/>
                    </a:lnTo>
                    <a:lnTo>
                      <a:pt x="2" y="26"/>
                    </a:lnTo>
                    <a:lnTo>
                      <a:pt x="8" y="26"/>
                    </a:lnTo>
                    <a:lnTo>
                      <a:pt x="8" y="26"/>
                    </a:lnTo>
                    <a:lnTo>
                      <a:pt x="10" y="26"/>
                    </a:lnTo>
                    <a:lnTo>
                      <a:pt x="10" y="26"/>
                    </a:lnTo>
                    <a:lnTo>
                      <a:pt x="14" y="26"/>
                    </a:lnTo>
                    <a:lnTo>
                      <a:pt x="14"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6" name="Freeform 1243"/>
              <p:cNvSpPr>
                <a:spLocks/>
              </p:cNvSpPr>
              <p:nvPr/>
            </p:nvSpPr>
            <p:spPr bwMode="auto">
              <a:xfrm>
                <a:off x="4530" y="2082"/>
                <a:ext cx="16" cy="26"/>
              </a:xfrm>
              <a:custGeom>
                <a:avLst/>
                <a:gdLst>
                  <a:gd name="T0" fmla="*/ 14 w 16"/>
                  <a:gd name="T1" fmla="*/ 0 h 26"/>
                  <a:gd name="T2" fmla="*/ 14 w 16"/>
                  <a:gd name="T3" fmla="*/ 0 h 26"/>
                  <a:gd name="T4" fmla="*/ 0 w 16"/>
                  <a:gd name="T5" fmla="*/ 26 h 26"/>
                  <a:gd name="T6" fmla="*/ 0 w 16"/>
                  <a:gd name="T7" fmla="*/ 26 h 26"/>
                  <a:gd name="T8" fmla="*/ 2 w 16"/>
                  <a:gd name="T9" fmla="*/ 26 h 26"/>
                  <a:gd name="T10" fmla="*/ 2 w 16"/>
                  <a:gd name="T11" fmla="*/ 26 h 26"/>
                  <a:gd name="T12" fmla="*/ 8 w 16"/>
                  <a:gd name="T13" fmla="*/ 26 h 26"/>
                  <a:gd name="T14" fmla="*/ 8 w 16"/>
                  <a:gd name="T15" fmla="*/ 26 h 26"/>
                  <a:gd name="T16" fmla="*/ 10 w 16"/>
                  <a:gd name="T17" fmla="*/ 26 h 26"/>
                  <a:gd name="T18" fmla="*/ 10 w 16"/>
                  <a:gd name="T19" fmla="*/ 26 h 26"/>
                  <a:gd name="T20" fmla="*/ 14 w 16"/>
                  <a:gd name="T21" fmla="*/ 26 h 26"/>
                  <a:gd name="T22" fmla="*/ 14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0" y="26"/>
                    </a:lnTo>
                    <a:lnTo>
                      <a:pt x="0" y="26"/>
                    </a:lnTo>
                    <a:lnTo>
                      <a:pt x="2" y="26"/>
                    </a:lnTo>
                    <a:lnTo>
                      <a:pt x="2" y="26"/>
                    </a:lnTo>
                    <a:lnTo>
                      <a:pt x="8" y="26"/>
                    </a:lnTo>
                    <a:lnTo>
                      <a:pt x="8"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7" name="Freeform 1244"/>
              <p:cNvSpPr>
                <a:spLocks noEditPoints="1"/>
              </p:cNvSpPr>
              <p:nvPr/>
            </p:nvSpPr>
            <p:spPr bwMode="auto">
              <a:xfrm>
                <a:off x="4528" y="2080"/>
                <a:ext cx="16" cy="28"/>
              </a:xfrm>
              <a:custGeom>
                <a:avLst/>
                <a:gdLst>
                  <a:gd name="T0" fmla="*/ 4 w 16"/>
                  <a:gd name="T1" fmla="*/ 28 h 28"/>
                  <a:gd name="T2" fmla="*/ 4 w 16"/>
                  <a:gd name="T3" fmla="*/ 28 h 28"/>
                  <a:gd name="T4" fmla="*/ 10 w 16"/>
                  <a:gd name="T5" fmla="*/ 28 h 28"/>
                  <a:gd name="T6" fmla="*/ 10 w 16"/>
                  <a:gd name="T7" fmla="*/ 28 h 28"/>
                  <a:gd name="T8" fmla="*/ 4 w 16"/>
                  <a:gd name="T9" fmla="*/ 28 h 28"/>
                  <a:gd name="T10" fmla="*/ 14 w 16"/>
                  <a:gd name="T11" fmla="*/ 0 h 28"/>
                  <a:gd name="T12" fmla="*/ 14 w 16"/>
                  <a:gd name="T13" fmla="*/ 0 h 28"/>
                  <a:gd name="T14" fmla="*/ 0 w 16"/>
                  <a:gd name="T15" fmla="*/ 28 h 28"/>
                  <a:gd name="T16" fmla="*/ 0 w 16"/>
                  <a:gd name="T17" fmla="*/ 28 h 28"/>
                  <a:gd name="T18" fmla="*/ 2 w 16"/>
                  <a:gd name="T19" fmla="*/ 28 h 28"/>
                  <a:gd name="T20" fmla="*/ 2 w 16"/>
                  <a:gd name="T21" fmla="*/ 28 h 28"/>
                  <a:gd name="T22" fmla="*/ 16 w 16"/>
                  <a:gd name="T23" fmla="*/ 2 h 28"/>
                  <a:gd name="T24" fmla="*/ 16 w 16"/>
                  <a:gd name="T25" fmla="*/ 2 h 28"/>
                  <a:gd name="T26" fmla="*/ 14 w 16"/>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8">
                    <a:moveTo>
                      <a:pt x="4" y="28"/>
                    </a:moveTo>
                    <a:lnTo>
                      <a:pt x="4" y="28"/>
                    </a:lnTo>
                    <a:lnTo>
                      <a:pt x="10" y="28"/>
                    </a:lnTo>
                    <a:lnTo>
                      <a:pt x="10" y="28"/>
                    </a:lnTo>
                    <a:lnTo>
                      <a:pt x="4" y="28"/>
                    </a:lnTo>
                    <a:close/>
                    <a:moveTo>
                      <a:pt x="14" y="0"/>
                    </a:moveTo>
                    <a:lnTo>
                      <a:pt x="14" y="0"/>
                    </a:lnTo>
                    <a:lnTo>
                      <a:pt x="0" y="28"/>
                    </a:lnTo>
                    <a:lnTo>
                      <a:pt x="0" y="28"/>
                    </a:lnTo>
                    <a:lnTo>
                      <a:pt x="2" y="28"/>
                    </a:lnTo>
                    <a:lnTo>
                      <a:pt x="2" y="28"/>
                    </a:lnTo>
                    <a:lnTo>
                      <a:pt x="16" y="2"/>
                    </a:lnTo>
                    <a:lnTo>
                      <a:pt x="16" y="2"/>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8" name="Rectangle 1245"/>
              <p:cNvSpPr>
                <a:spLocks noChangeArrowheads="1"/>
              </p:cNvSpPr>
              <p:nvPr/>
            </p:nvSpPr>
            <p:spPr bwMode="auto">
              <a:xfrm>
                <a:off x="4532" y="2108"/>
                <a:ext cx="6"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29" name="Freeform 1246"/>
              <p:cNvSpPr>
                <a:spLocks/>
              </p:cNvSpPr>
              <p:nvPr/>
            </p:nvSpPr>
            <p:spPr bwMode="auto">
              <a:xfrm>
                <a:off x="4528" y="2080"/>
                <a:ext cx="16" cy="28"/>
              </a:xfrm>
              <a:custGeom>
                <a:avLst/>
                <a:gdLst>
                  <a:gd name="T0" fmla="*/ 14 w 16"/>
                  <a:gd name="T1" fmla="*/ 0 h 28"/>
                  <a:gd name="T2" fmla="*/ 14 w 16"/>
                  <a:gd name="T3" fmla="*/ 0 h 28"/>
                  <a:gd name="T4" fmla="*/ 0 w 16"/>
                  <a:gd name="T5" fmla="*/ 28 h 28"/>
                  <a:gd name="T6" fmla="*/ 0 w 16"/>
                  <a:gd name="T7" fmla="*/ 28 h 28"/>
                  <a:gd name="T8" fmla="*/ 2 w 16"/>
                  <a:gd name="T9" fmla="*/ 28 h 28"/>
                  <a:gd name="T10" fmla="*/ 2 w 16"/>
                  <a:gd name="T11" fmla="*/ 28 h 28"/>
                  <a:gd name="T12" fmla="*/ 16 w 16"/>
                  <a:gd name="T13" fmla="*/ 2 h 28"/>
                  <a:gd name="T14" fmla="*/ 16 w 16"/>
                  <a:gd name="T15" fmla="*/ 2 h 28"/>
                  <a:gd name="T16" fmla="*/ 14 w 1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8">
                    <a:moveTo>
                      <a:pt x="14" y="0"/>
                    </a:moveTo>
                    <a:lnTo>
                      <a:pt x="14" y="0"/>
                    </a:lnTo>
                    <a:lnTo>
                      <a:pt x="0" y="28"/>
                    </a:lnTo>
                    <a:lnTo>
                      <a:pt x="0" y="28"/>
                    </a:lnTo>
                    <a:lnTo>
                      <a:pt x="2" y="28"/>
                    </a:lnTo>
                    <a:lnTo>
                      <a:pt x="2" y="28"/>
                    </a:lnTo>
                    <a:lnTo>
                      <a:pt x="16" y="2"/>
                    </a:lnTo>
                    <a:lnTo>
                      <a:pt x="16" y="2"/>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0" name="Freeform 1247"/>
              <p:cNvSpPr>
                <a:spLocks/>
              </p:cNvSpPr>
              <p:nvPr/>
            </p:nvSpPr>
            <p:spPr bwMode="auto">
              <a:xfrm>
                <a:off x="4428" y="20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4 w 12"/>
                  <a:gd name="T49" fmla="*/ 16 h 20"/>
                  <a:gd name="T50" fmla="*/ 4 w 12"/>
                  <a:gd name="T51" fmla="*/ 16 h 20"/>
                  <a:gd name="T52" fmla="*/ 4 w 12"/>
                  <a:gd name="T53" fmla="*/ 14 h 20"/>
                  <a:gd name="T54" fmla="*/ 4 w 12"/>
                  <a:gd name="T55" fmla="*/ 14 h 20"/>
                  <a:gd name="T56" fmla="*/ 4 w 12"/>
                  <a:gd name="T57" fmla="*/ 14 h 20"/>
                  <a:gd name="T58" fmla="*/ 4 w 12"/>
                  <a:gd name="T59" fmla="*/ 14 h 20"/>
                  <a:gd name="T60" fmla="*/ 4 w 12"/>
                  <a:gd name="T61" fmla="*/ 10 h 20"/>
                  <a:gd name="T62" fmla="*/ 4 w 12"/>
                  <a:gd name="T63" fmla="*/ 10 h 20"/>
                  <a:gd name="T64" fmla="*/ 6 w 12"/>
                  <a:gd name="T65" fmla="*/ 2 h 20"/>
                  <a:gd name="T66" fmla="*/ 6 w 12"/>
                  <a:gd name="T67" fmla="*/ 2 h 20"/>
                  <a:gd name="T68" fmla="*/ 6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4" y="16"/>
                    </a:lnTo>
                    <a:lnTo>
                      <a:pt x="4" y="16"/>
                    </a:lnTo>
                    <a:lnTo>
                      <a:pt x="4" y="14"/>
                    </a:lnTo>
                    <a:lnTo>
                      <a:pt x="4" y="14"/>
                    </a:lnTo>
                    <a:lnTo>
                      <a:pt x="4" y="14"/>
                    </a:lnTo>
                    <a:lnTo>
                      <a:pt x="4" y="14"/>
                    </a:lnTo>
                    <a:lnTo>
                      <a:pt x="4" y="10"/>
                    </a:lnTo>
                    <a:lnTo>
                      <a:pt x="4" y="10"/>
                    </a:lnTo>
                    <a:lnTo>
                      <a:pt x="6" y="2"/>
                    </a:lnTo>
                    <a:lnTo>
                      <a:pt x="6"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1" name="Freeform 1248"/>
              <p:cNvSpPr>
                <a:spLocks/>
              </p:cNvSpPr>
              <p:nvPr/>
            </p:nvSpPr>
            <p:spPr bwMode="auto">
              <a:xfrm>
                <a:off x="4428" y="2028"/>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0 w 12"/>
                  <a:gd name="T13" fmla="*/ 4 h 20"/>
                  <a:gd name="T14" fmla="*/ 0 w 12"/>
                  <a:gd name="T15" fmla="*/ 4 h 20"/>
                  <a:gd name="T16" fmla="*/ 0 w 12"/>
                  <a:gd name="T17" fmla="*/ 12 h 20"/>
                  <a:gd name="T18" fmla="*/ 4 w 12"/>
                  <a:gd name="T19" fmla="*/ 18 h 20"/>
                  <a:gd name="T20" fmla="*/ 4 w 12"/>
                  <a:gd name="T21" fmla="*/ 18 h 20"/>
                  <a:gd name="T22" fmla="*/ 4 w 12"/>
                  <a:gd name="T23" fmla="*/ 18 h 20"/>
                  <a:gd name="T24" fmla="*/ 4 w 12"/>
                  <a:gd name="T25" fmla="*/ 18 h 20"/>
                  <a:gd name="T26" fmla="*/ 6 w 12"/>
                  <a:gd name="T27" fmla="*/ 20 h 20"/>
                  <a:gd name="T28" fmla="*/ 6 w 12"/>
                  <a:gd name="T29" fmla="*/ 20 h 20"/>
                  <a:gd name="T30" fmla="*/ 10 w 12"/>
                  <a:gd name="T31" fmla="*/ 18 h 20"/>
                  <a:gd name="T32" fmla="*/ 10 w 12"/>
                  <a:gd name="T33" fmla="*/ 18 h 20"/>
                  <a:gd name="T34" fmla="*/ 10 w 12"/>
                  <a:gd name="T35" fmla="*/ 16 h 20"/>
                  <a:gd name="T36" fmla="*/ 12 w 12"/>
                  <a:gd name="T37" fmla="*/ 14 h 20"/>
                  <a:gd name="T38" fmla="*/ 12 w 12"/>
                  <a:gd name="T39" fmla="*/ 14 h 20"/>
                  <a:gd name="T40" fmla="*/ 10 w 12"/>
                  <a:gd name="T41" fmla="*/ 16 h 20"/>
                  <a:gd name="T42" fmla="*/ 10 w 12"/>
                  <a:gd name="T43" fmla="*/ 16 h 20"/>
                  <a:gd name="T44" fmla="*/ 8 w 12"/>
                  <a:gd name="T45" fmla="*/ 16 h 20"/>
                  <a:gd name="T46" fmla="*/ 8 w 12"/>
                  <a:gd name="T47" fmla="*/ 16 h 20"/>
                  <a:gd name="T48" fmla="*/ 4 w 12"/>
                  <a:gd name="T49" fmla="*/ 16 h 20"/>
                  <a:gd name="T50" fmla="*/ 4 w 12"/>
                  <a:gd name="T51" fmla="*/ 16 h 20"/>
                  <a:gd name="T52" fmla="*/ 4 w 12"/>
                  <a:gd name="T53" fmla="*/ 14 h 20"/>
                  <a:gd name="T54" fmla="*/ 4 w 12"/>
                  <a:gd name="T55" fmla="*/ 14 h 20"/>
                  <a:gd name="T56" fmla="*/ 4 w 12"/>
                  <a:gd name="T57" fmla="*/ 14 h 20"/>
                  <a:gd name="T58" fmla="*/ 4 w 12"/>
                  <a:gd name="T59" fmla="*/ 14 h 20"/>
                  <a:gd name="T60" fmla="*/ 4 w 12"/>
                  <a:gd name="T61" fmla="*/ 10 h 20"/>
                  <a:gd name="T62" fmla="*/ 4 w 12"/>
                  <a:gd name="T63" fmla="*/ 10 h 20"/>
                  <a:gd name="T64" fmla="*/ 6 w 12"/>
                  <a:gd name="T65" fmla="*/ 2 h 20"/>
                  <a:gd name="T66" fmla="*/ 6 w 12"/>
                  <a:gd name="T67" fmla="*/ 2 h 20"/>
                  <a:gd name="T68" fmla="*/ 6 w 1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0">
                    <a:moveTo>
                      <a:pt x="6" y="0"/>
                    </a:moveTo>
                    <a:lnTo>
                      <a:pt x="6" y="0"/>
                    </a:lnTo>
                    <a:lnTo>
                      <a:pt x="6" y="0"/>
                    </a:lnTo>
                    <a:lnTo>
                      <a:pt x="6" y="0"/>
                    </a:lnTo>
                    <a:lnTo>
                      <a:pt x="6" y="0"/>
                    </a:lnTo>
                    <a:lnTo>
                      <a:pt x="6" y="0"/>
                    </a:lnTo>
                    <a:lnTo>
                      <a:pt x="0" y="4"/>
                    </a:lnTo>
                    <a:lnTo>
                      <a:pt x="0" y="4"/>
                    </a:lnTo>
                    <a:lnTo>
                      <a:pt x="0" y="12"/>
                    </a:lnTo>
                    <a:lnTo>
                      <a:pt x="4" y="18"/>
                    </a:lnTo>
                    <a:lnTo>
                      <a:pt x="4" y="18"/>
                    </a:lnTo>
                    <a:lnTo>
                      <a:pt x="4" y="18"/>
                    </a:lnTo>
                    <a:lnTo>
                      <a:pt x="4" y="18"/>
                    </a:lnTo>
                    <a:lnTo>
                      <a:pt x="6" y="20"/>
                    </a:lnTo>
                    <a:lnTo>
                      <a:pt x="6" y="20"/>
                    </a:lnTo>
                    <a:lnTo>
                      <a:pt x="10" y="18"/>
                    </a:lnTo>
                    <a:lnTo>
                      <a:pt x="10" y="18"/>
                    </a:lnTo>
                    <a:lnTo>
                      <a:pt x="10" y="16"/>
                    </a:lnTo>
                    <a:lnTo>
                      <a:pt x="12" y="14"/>
                    </a:lnTo>
                    <a:lnTo>
                      <a:pt x="12" y="14"/>
                    </a:lnTo>
                    <a:lnTo>
                      <a:pt x="10" y="16"/>
                    </a:lnTo>
                    <a:lnTo>
                      <a:pt x="10" y="16"/>
                    </a:lnTo>
                    <a:lnTo>
                      <a:pt x="8" y="16"/>
                    </a:lnTo>
                    <a:lnTo>
                      <a:pt x="8" y="16"/>
                    </a:lnTo>
                    <a:lnTo>
                      <a:pt x="4" y="16"/>
                    </a:lnTo>
                    <a:lnTo>
                      <a:pt x="4" y="16"/>
                    </a:lnTo>
                    <a:lnTo>
                      <a:pt x="4" y="14"/>
                    </a:lnTo>
                    <a:lnTo>
                      <a:pt x="4" y="14"/>
                    </a:lnTo>
                    <a:lnTo>
                      <a:pt x="4" y="14"/>
                    </a:lnTo>
                    <a:lnTo>
                      <a:pt x="4" y="14"/>
                    </a:lnTo>
                    <a:lnTo>
                      <a:pt x="4" y="10"/>
                    </a:lnTo>
                    <a:lnTo>
                      <a:pt x="4" y="10"/>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2" name="Freeform 1249"/>
              <p:cNvSpPr>
                <a:spLocks noEditPoints="1"/>
              </p:cNvSpPr>
              <p:nvPr/>
            </p:nvSpPr>
            <p:spPr bwMode="auto">
              <a:xfrm>
                <a:off x="4432" y="2028"/>
                <a:ext cx="8" cy="20"/>
              </a:xfrm>
              <a:custGeom>
                <a:avLst/>
                <a:gdLst>
                  <a:gd name="T0" fmla="*/ 0 w 8"/>
                  <a:gd name="T1" fmla="*/ 18 h 20"/>
                  <a:gd name="T2" fmla="*/ 0 w 8"/>
                  <a:gd name="T3" fmla="*/ 18 h 20"/>
                  <a:gd name="T4" fmla="*/ 0 w 8"/>
                  <a:gd name="T5" fmla="*/ 18 h 20"/>
                  <a:gd name="T6" fmla="*/ 0 w 8"/>
                  <a:gd name="T7" fmla="*/ 18 h 20"/>
                  <a:gd name="T8" fmla="*/ 2 w 8"/>
                  <a:gd name="T9" fmla="*/ 20 h 20"/>
                  <a:gd name="T10" fmla="*/ 2 w 8"/>
                  <a:gd name="T11" fmla="*/ 20 h 20"/>
                  <a:gd name="T12" fmla="*/ 6 w 8"/>
                  <a:gd name="T13" fmla="*/ 18 h 20"/>
                  <a:gd name="T14" fmla="*/ 6 w 8"/>
                  <a:gd name="T15" fmla="*/ 18 h 20"/>
                  <a:gd name="T16" fmla="*/ 2 w 8"/>
                  <a:gd name="T17" fmla="*/ 20 h 20"/>
                  <a:gd name="T18" fmla="*/ 2 w 8"/>
                  <a:gd name="T19" fmla="*/ 20 h 20"/>
                  <a:gd name="T20" fmla="*/ 0 w 8"/>
                  <a:gd name="T21" fmla="*/ 18 h 20"/>
                  <a:gd name="T22" fmla="*/ 0 w 8"/>
                  <a:gd name="T23" fmla="*/ 18 h 20"/>
                  <a:gd name="T24" fmla="*/ 0 w 8"/>
                  <a:gd name="T25" fmla="*/ 18 h 20"/>
                  <a:gd name="T26" fmla="*/ 0 w 8"/>
                  <a:gd name="T27" fmla="*/ 14 h 20"/>
                  <a:gd name="T28" fmla="*/ 0 w 8"/>
                  <a:gd name="T29" fmla="*/ 14 h 20"/>
                  <a:gd name="T30" fmla="*/ 0 w 8"/>
                  <a:gd name="T31" fmla="*/ 16 h 20"/>
                  <a:gd name="T32" fmla="*/ 0 w 8"/>
                  <a:gd name="T33" fmla="*/ 16 h 20"/>
                  <a:gd name="T34" fmla="*/ 0 w 8"/>
                  <a:gd name="T35" fmla="*/ 14 h 20"/>
                  <a:gd name="T36" fmla="*/ 0 w 8"/>
                  <a:gd name="T37" fmla="*/ 14 h 20"/>
                  <a:gd name="T38" fmla="*/ 0 w 8"/>
                  <a:gd name="T39" fmla="*/ 14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0 h 20"/>
                  <a:gd name="T60" fmla="*/ 0 w 8"/>
                  <a:gd name="T61" fmla="*/ 10 h 20"/>
                  <a:gd name="T62" fmla="*/ 0 w 8"/>
                  <a:gd name="T63" fmla="*/ 14 h 20"/>
                  <a:gd name="T64" fmla="*/ 0 w 8"/>
                  <a:gd name="T65" fmla="*/ 14 h 20"/>
                  <a:gd name="T66" fmla="*/ 0 w 8"/>
                  <a:gd name="T67" fmla="*/ 10 h 20"/>
                  <a:gd name="T68" fmla="*/ 0 w 8"/>
                  <a:gd name="T69" fmla="*/ 10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2 w 8"/>
                  <a:gd name="T85" fmla="*/ 0 h 20"/>
                  <a:gd name="T86" fmla="*/ 2 w 8"/>
                  <a:gd name="T87" fmla="*/ 0 h 20"/>
                  <a:gd name="T88" fmla="*/ 2 w 8"/>
                  <a:gd name="T89" fmla="*/ 0 h 20"/>
                  <a:gd name="T90" fmla="*/ 2 w 8"/>
                  <a:gd name="T91" fmla="*/ 0 h 20"/>
                  <a:gd name="T92" fmla="*/ 4 w 8"/>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20">
                    <a:moveTo>
                      <a:pt x="0" y="18"/>
                    </a:moveTo>
                    <a:lnTo>
                      <a:pt x="0" y="18"/>
                    </a:lnTo>
                    <a:lnTo>
                      <a:pt x="0" y="18"/>
                    </a:lnTo>
                    <a:lnTo>
                      <a:pt x="0" y="18"/>
                    </a:lnTo>
                    <a:lnTo>
                      <a:pt x="2" y="20"/>
                    </a:lnTo>
                    <a:lnTo>
                      <a:pt x="2" y="20"/>
                    </a:lnTo>
                    <a:lnTo>
                      <a:pt x="6" y="18"/>
                    </a:lnTo>
                    <a:lnTo>
                      <a:pt x="6" y="18"/>
                    </a:lnTo>
                    <a:lnTo>
                      <a:pt x="2" y="20"/>
                    </a:lnTo>
                    <a:lnTo>
                      <a:pt x="2" y="20"/>
                    </a:lnTo>
                    <a:lnTo>
                      <a:pt x="0" y="18"/>
                    </a:lnTo>
                    <a:lnTo>
                      <a:pt x="0" y="18"/>
                    </a:lnTo>
                    <a:lnTo>
                      <a:pt x="0" y="18"/>
                    </a:lnTo>
                    <a:close/>
                    <a:moveTo>
                      <a:pt x="0" y="14"/>
                    </a:moveTo>
                    <a:lnTo>
                      <a:pt x="0" y="14"/>
                    </a:lnTo>
                    <a:lnTo>
                      <a:pt x="0" y="16"/>
                    </a:lnTo>
                    <a:lnTo>
                      <a:pt x="0" y="16"/>
                    </a:lnTo>
                    <a:lnTo>
                      <a:pt x="0" y="14"/>
                    </a:lnTo>
                    <a:lnTo>
                      <a:pt x="0" y="14"/>
                    </a:lnTo>
                    <a:lnTo>
                      <a:pt x="0" y="14"/>
                    </a:lnTo>
                    <a:close/>
                    <a:moveTo>
                      <a:pt x="8" y="14"/>
                    </a:moveTo>
                    <a:lnTo>
                      <a:pt x="8" y="14"/>
                    </a:lnTo>
                    <a:lnTo>
                      <a:pt x="6" y="16"/>
                    </a:lnTo>
                    <a:lnTo>
                      <a:pt x="6" y="16"/>
                    </a:lnTo>
                    <a:lnTo>
                      <a:pt x="8" y="14"/>
                    </a:lnTo>
                    <a:lnTo>
                      <a:pt x="8" y="14"/>
                    </a:lnTo>
                    <a:lnTo>
                      <a:pt x="8" y="14"/>
                    </a:lnTo>
                    <a:close/>
                    <a:moveTo>
                      <a:pt x="2" y="2"/>
                    </a:moveTo>
                    <a:lnTo>
                      <a:pt x="2" y="2"/>
                    </a:lnTo>
                    <a:lnTo>
                      <a:pt x="0" y="10"/>
                    </a:lnTo>
                    <a:lnTo>
                      <a:pt x="0" y="10"/>
                    </a:lnTo>
                    <a:lnTo>
                      <a:pt x="0" y="14"/>
                    </a:lnTo>
                    <a:lnTo>
                      <a:pt x="0" y="14"/>
                    </a:lnTo>
                    <a:lnTo>
                      <a:pt x="0" y="10"/>
                    </a:lnTo>
                    <a:lnTo>
                      <a:pt x="0" y="10"/>
                    </a:lnTo>
                    <a:lnTo>
                      <a:pt x="2" y="2"/>
                    </a:lnTo>
                    <a:close/>
                    <a:moveTo>
                      <a:pt x="4" y="0"/>
                    </a:moveTo>
                    <a:lnTo>
                      <a:pt x="4" y="0"/>
                    </a:lnTo>
                    <a:lnTo>
                      <a:pt x="2" y="0"/>
                    </a:lnTo>
                    <a:lnTo>
                      <a:pt x="2" y="0"/>
                    </a:lnTo>
                    <a:lnTo>
                      <a:pt x="2" y="0"/>
                    </a:lnTo>
                    <a:lnTo>
                      <a:pt x="2" y="0"/>
                    </a:lnTo>
                    <a:lnTo>
                      <a:pt x="2" y="0"/>
                    </a:lnTo>
                    <a:lnTo>
                      <a:pt x="2" y="0"/>
                    </a:lnTo>
                    <a:lnTo>
                      <a:pt x="2" y="0"/>
                    </a:lnTo>
                    <a:lnTo>
                      <a:pt x="2"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3" name="Freeform 1250"/>
              <p:cNvSpPr>
                <a:spLocks/>
              </p:cNvSpPr>
              <p:nvPr/>
            </p:nvSpPr>
            <p:spPr bwMode="auto">
              <a:xfrm>
                <a:off x="4432" y="2046"/>
                <a:ext cx="6" cy="2"/>
              </a:xfrm>
              <a:custGeom>
                <a:avLst/>
                <a:gdLst>
                  <a:gd name="T0" fmla="*/ 0 w 6"/>
                  <a:gd name="T1" fmla="*/ 0 h 2"/>
                  <a:gd name="T2" fmla="*/ 0 w 6"/>
                  <a:gd name="T3" fmla="*/ 0 h 2"/>
                  <a:gd name="T4" fmla="*/ 0 w 6"/>
                  <a:gd name="T5" fmla="*/ 0 h 2"/>
                  <a:gd name="T6" fmla="*/ 0 w 6"/>
                  <a:gd name="T7" fmla="*/ 0 h 2"/>
                  <a:gd name="T8" fmla="*/ 2 w 6"/>
                  <a:gd name="T9" fmla="*/ 2 h 2"/>
                  <a:gd name="T10" fmla="*/ 2 w 6"/>
                  <a:gd name="T11" fmla="*/ 2 h 2"/>
                  <a:gd name="T12" fmla="*/ 6 w 6"/>
                  <a:gd name="T13" fmla="*/ 0 h 2"/>
                  <a:gd name="T14" fmla="*/ 6 w 6"/>
                  <a:gd name="T15" fmla="*/ 0 h 2"/>
                  <a:gd name="T16" fmla="*/ 2 w 6"/>
                  <a:gd name="T17" fmla="*/ 2 h 2"/>
                  <a:gd name="T18" fmla="*/ 2 w 6"/>
                  <a:gd name="T19" fmla="*/ 2 h 2"/>
                  <a:gd name="T20" fmla="*/ 0 w 6"/>
                  <a:gd name="T21" fmla="*/ 0 h 2"/>
                  <a:gd name="T22" fmla="*/ 0 w 6"/>
                  <a:gd name="T23" fmla="*/ 0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0" y="0"/>
                    </a:lnTo>
                    <a:lnTo>
                      <a:pt x="0" y="0"/>
                    </a:lnTo>
                    <a:lnTo>
                      <a:pt x="2" y="2"/>
                    </a:lnTo>
                    <a:lnTo>
                      <a:pt x="2" y="2"/>
                    </a:lnTo>
                    <a:lnTo>
                      <a:pt x="6" y="0"/>
                    </a:lnTo>
                    <a:lnTo>
                      <a:pt x="6"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4" name="Freeform 1251"/>
              <p:cNvSpPr>
                <a:spLocks/>
              </p:cNvSpPr>
              <p:nvPr/>
            </p:nvSpPr>
            <p:spPr bwMode="auto">
              <a:xfrm>
                <a:off x="4432" y="2042"/>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5" name="Freeform 1252"/>
              <p:cNvSpPr>
                <a:spLocks/>
              </p:cNvSpPr>
              <p:nvPr/>
            </p:nvSpPr>
            <p:spPr bwMode="auto">
              <a:xfrm>
                <a:off x="4438" y="20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6" name="Freeform 1253"/>
              <p:cNvSpPr>
                <a:spLocks/>
              </p:cNvSpPr>
              <p:nvPr/>
            </p:nvSpPr>
            <p:spPr bwMode="auto">
              <a:xfrm>
                <a:off x="4432" y="2030"/>
                <a:ext cx="2" cy="12"/>
              </a:xfrm>
              <a:custGeom>
                <a:avLst/>
                <a:gdLst>
                  <a:gd name="T0" fmla="*/ 2 w 2"/>
                  <a:gd name="T1" fmla="*/ 0 h 12"/>
                  <a:gd name="T2" fmla="*/ 2 w 2"/>
                  <a:gd name="T3" fmla="*/ 0 h 12"/>
                  <a:gd name="T4" fmla="*/ 0 w 2"/>
                  <a:gd name="T5" fmla="*/ 8 h 12"/>
                  <a:gd name="T6" fmla="*/ 0 w 2"/>
                  <a:gd name="T7" fmla="*/ 8 h 12"/>
                  <a:gd name="T8" fmla="*/ 0 w 2"/>
                  <a:gd name="T9" fmla="*/ 12 h 12"/>
                  <a:gd name="T10" fmla="*/ 0 w 2"/>
                  <a:gd name="T11" fmla="*/ 12 h 12"/>
                  <a:gd name="T12" fmla="*/ 0 w 2"/>
                  <a:gd name="T13" fmla="*/ 8 h 12"/>
                  <a:gd name="T14" fmla="*/ 0 w 2"/>
                  <a:gd name="T15" fmla="*/ 8 h 12"/>
                  <a:gd name="T16" fmla="*/ 2 w 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2">
                    <a:moveTo>
                      <a:pt x="2" y="0"/>
                    </a:moveTo>
                    <a:lnTo>
                      <a:pt x="2" y="0"/>
                    </a:lnTo>
                    <a:lnTo>
                      <a:pt x="0" y="8"/>
                    </a:lnTo>
                    <a:lnTo>
                      <a:pt x="0" y="8"/>
                    </a:lnTo>
                    <a:lnTo>
                      <a:pt x="0" y="12"/>
                    </a:lnTo>
                    <a:lnTo>
                      <a:pt x="0" y="12"/>
                    </a:lnTo>
                    <a:lnTo>
                      <a:pt x="0" y="8"/>
                    </a:lnTo>
                    <a:lnTo>
                      <a:pt x="0" y="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7" name="Freeform 1254"/>
              <p:cNvSpPr>
                <a:spLocks/>
              </p:cNvSpPr>
              <p:nvPr/>
            </p:nvSpPr>
            <p:spPr bwMode="auto">
              <a:xfrm>
                <a:off x="4434" y="2028"/>
                <a:ext cx="2" cy="0"/>
              </a:xfrm>
              <a:custGeom>
                <a:avLst/>
                <a:gdLst>
                  <a:gd name="T0" fmla="*/ 2 w 2"/>
                  <a:gd name="T1" fmla="*/ 2 w 2"/>
                  <a:gd name="T2" fmla="*/ 0 w 2"/>
                  <a:gd name="T3" fmla="*/ 0 w 2"/>
                  <a:gd name="T4" fmla="*/ 0 w 2"/>
                  <a:gd name="T5" fmla="*/ 0 w 2"/>
                  <a:gd name="T6" fmla="*/ 0 w 2"/>
                  <a:gd name="T7" fmla="*/ 0 w 2"/>
                  <a:gd name="T8" fmla="*/ 0 w 2"/>
                  <a:gd name="T9" fmla="*/ 0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2" y="0"/>
                    </a:lnTo>
                    <a:lnTo>
                      <a:pt x="0" y="0"/>
                    </a:lnTo>
                    <a:lnTo>
                      <a:pt x="0" y="0"/>
                    </a:lnTo>
                    <a:lnTo>
                      <a:pt x="0" y="0"/>
                    </a:lnTo>
                    <a:lnTo>
                      <a:pt x="0" y="0"/>
                    </a:lnTo>
                    <a:lnTo>
                      <a:pt x="0" y="0"/>
                    </a:lnTo>
                    <a:lnTo>
                      <a:pt x="0" y="0"/>
                    </a:lnTo>
                    <a:lnTo>
                      <a:pt x="0" y="0"/>
                    </a:ln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8" name="Freeform 1255"/>
              <p:cNvSpPr>
                <a:spLocks noEditPoints="1"/>
              </p:cNvSpPr>
              <p:nvPr/>
            </p:nvSpPr>
            <p:spPr bwMode="auto">
              <a:xfrm>
                <a:off x="4542" y="2016"/>
                <a:ext cx="20" cy="14"/>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6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6"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39" name="Freeform 1256"/>
              <p:cNvSpPr>
                <a:spLocks/>
              </p:cNvSpPr>
              <p:nvPr/>
            </p:nvSpPr>
            <p:spPr bwMode="auto">
              <a:xfrm>
                <a:off x="4548" y="2022"/>
                <a:ext cx="6" cy="6"/>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0" name="Freeform 1257"/>
              <p:cNvSpPr>
                <a:spLocks/>
              </p:cNvSpPr>
              <p:nvPr/>
            </p:nvSpPr>
            <p:spPr bwMode="auto">
              <a:xfrm>
                <a:off x="4542" y="2016"/>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1" name="Freeform 1258"/>
              <p:cNvSpPr>
                <a:spLocks/>
              </p:cNvSpPr>
              <p:nvPr/>
            </p:nvSpPr>
            <p:spPr bwMode="auto">
              <a:xfrm>
                <a:off x="4496" y="2006"/>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0 h 18"/>
                  <a:gd name="T22" fmla="*/ 8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2" name="Freeform 1259"/>
              <p:cNvSpPr>
                <a:spLocks/>
              </p:cNvSpPr>
              <p:nvPr/>
            </p:nvSpPr>
            <p:spPr bwMode="auto">
              <a:xfrm>
                <a:off x="4496" y="2006"/>
                <a:ext cx="22" cy="18"/>
              </a:xfrm>
              <a:custGeom>
                <a:avLst/>
                <a:gdLst>
                  <a:gd name="T0" fmla="*/ 16 w 22"/>
                  <a:gd name="T1" fmla="*/ 0 h 18"/>
                  <a:gd name="T2" fmla="*/ 16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8 w 22"/>
                  <a:gd name="T21" fmla="*/ 10 h 18"/>
                  <a:gd name="T22" fmla="*/ 8 w 22"/>
                  <a:gd name="T23" fmla="*/ 10 h 18"/>
                  <a:gd name="T24" fmla="*/ 14 w 22"/>
                  <a:gd name="T25" fmla="*/ 4 h 18"/>
                  <a:gd name="T26" fmla="*/ 16 w 22"/>
                  <a:gd name="T27" fmla="*/ 0 h 18"/>
                  <a:gd name="T28" fmla="*/ 22 w 22"/>
                  <a:gd name="T29" fmla="*/ 0 h 18"/>
                  <a:gd name="T30" fmla="*/ 22 w 22"/>
                  <a:gd name="T31" fmla="*/ 0 h 18"/>
                  <a:gd name="T32" fmla="*/ 16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3" name="Freeform 1260"/>
              <p:cNvSpPr>
                <a:spLocks/>
              </p:cNvSpPr>
              <p:nvPr/>
            </p:nvSpPr>
            <p:spPr bwMode="auto">
              <a:xfrm>
                <a:off x="4592" y="200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4" name="Freeform 1261"/>
              <p:cNvSpPr>
                <a:spLocks/>
              </p:cNvSpPr>
              <p:nvPr/>
            </p:nvSpPr>
            <p:spPr bwMode="auto">
              <a:xfrm>
                <a:off x="4592" y="200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5" name="Freeform 1262"/>
              <p:cNvSpPr>
                <a:spLocks/>
              </p:cNvSpPr>
              <p:nvPr/>
            </p:nvSpPr>
            <p:spPr bwMode="auto">
              <a:xfrm>
                <a:off x="4538"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6" name="Freeform 1263"/>
              <p:cNvSpPr>
                <a:spLocks/>
              </p:cNvSpPr>
              <p:nvPr/>
            </p:nvSpPr>
            <p:spPr bwMode="auto">
              <a:xfrm>
                <a:off x="4538" y="20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7" name="Freeform 1264"/>
              <p:cNvSpPr>
                <a:spLocks/>
              </p:cNvSpPr>
              <p:nvPr/>
            </p:nvSpPr>
            <p:spPr bwMode="auto">
              <a:xfrm>
                <a:off x="455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8" name="Freeform 1265"/>
              <p:cNvSpPr>
                <a:spLocks/>
              </p:cNvSpPr>
              <p:nvPr/>
            </p:nvSpPr>
            <p:spPr bwMode="auto">
              <a:xfrm>
                <a:off x="4550" y="2056"/>
                <a:ext cx="6" cy="2"/>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49" name="Freeform 1266"/>
              <p:cNvSpPr>
                <a:spLocks/>
              </p:cNvSpPr>
              <p:nvPr/>
            </p:nvSpPr>
            <p:spPr bwMode="auto">
              <a:xfrm>
                <a:off x="4548"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0" name="Freeform 1267"/>
              <p:cNvSpPr>
                <a:spLocks/>
              </p:cNvSpPr>
              <p:nvPr/>
            </p:nvSpPr>
            <p:spPr bwMode="auto">
              <a:xfrm>
                <a:off x="4548" y="2024"/>
                <a:ext cx="6" cy="4"/>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1" name="Freeform 1268"/>
              <p:cNvSpPr>
                <a:spLocks/>
              </p:cNvSpPr>
              <p:nvPr/>
            </p:nvSpPr>
            <p:spPr bwMode="auto">
              <a:xfrm>
                <a:off x="4548"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2" name="Freeform 1269"/>
              <p:cNvSpPr>
                <a:spLocks/>
              </p:cNvSpPr>
              <p:nvPr/>
            </p:nvSpPr>
            <p:spPr bwMode="auto">
              <a:xfrm>
                <a:off x="4548" y="2024"/>
                <a:ext cx="6" cy="4"/>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3" name="Freeform 1270"/>
              <p:cNvSpPr>
                <a:spLocks/>
              </p:cNvSpPr>
              <p:nvPr/>
            </p:nvSpPr>
            <p:spPr bwMode="auto">
              <a:xfrm>
                <a:off x="5072" y="19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4" name="Freeform 1271"/>
              <p:cNvSpPr>
                <a:spLocks/>
              </p:cNvSpPr>
              <p:nvPr/>
            </p:nvSpPr>
            <p:spPr bwMode="auto">
              <a:xfrm>
                <a:off x="5308"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5" name="Freeform 1272"/>
              <p:cNvSpPr>
                <a:spLocks/>
              </p:cNvSpPr>
              <p:nvPr/>
            </p:nvSpPr>
            <p:spPr bwMode="auto">
              <a:xfrm>
                <a:off x="5400" y="19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6" name="Freeform 1273"/>
              <p:cNvSpPr>
                <a:spLocks/>
              </p:cNvSpPr>
              <p:nvPr/>
            </p:nvSpPr>
            <p:spPr bwMode="auto">
              <a:xfrm>
                <a:off x="5492"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7" name="Freeform 1274"/>
              <p:cNvSpPr>
                <a:spLocks/>
              </p:cNvSpPr>
              <p:nvPr/>
            </p:nvSpPr>
            <p:spPr bwMode="auto">
              <a:xfrm>
                <a:off x="5162"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8" name="Freeform 1275"/>
              <p:cNvSpPr>
                <a:spLocks/>
              </p:cNvSpPr>
              <p:nvPr/>
            </p:nvSpPr>
            <p:spPr bwMode="auto">
              <a:xfrm>
                <a:off x="5162" y="1980"/>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59" name="Freeform 1276"/>
              <p:cNvSpPr>
                <a:spLocks/>
              </p:cNvSpPr>
              <p:nvPr/>
            </p:nvSpPr>
            <p:spPr bwMode="auto">
              <a:xfrm>
                <a:off x="5222" y="19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0" name="Freeform 1277"/>
              <p:cNvSpPr>
                <a:spLocks/>
              </p:cNvSpPr>
              <p:nvPr/>
            </p:nvSpPr>
            <p:spPr bwMode="auto">
              <a:xfrm>
                <a:off x="5222" y="1980"/>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1" name="Freeform 1278"/>
              <p:cNvSpPr>
                <a:spLocks noEditPoints="1"/>
              </p:cNvSpPr>
              <p:nvPr/>
            </p:nvSpPr>
            <p:spPr bwMode="auto">
              <a:xfrm>
                <a:off x="5582" y="19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2" name="Freeform 1279"/>
              <p:cNvSpPr>
                <a:spLocks noEditPoints="1"/>
              </p:cNvSpPr>
              <p:nvPr/>
            </p:nvSpPr>
            <p:spPr bwMode="auto">
              <a:xfrm>
                <a:off x="5720" y="19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3" name="Freeform 1280"/>
              <p:cNvSpPr>
                <a:spLocks/>
              </p:cNvSpPr>
              <p:nvPr/>
            </p:nvSpPr>
            <p:spPr bwMode="auto">
              <a:xfrm>
                <a:off x="5858" y="19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4" name="Freeform 1281"/>
              <p:cNvSpPr>
                <a:spLocks/>
              </p:cNvSpPr>
              <p:nvPr/>
            </p:nvSpPr>
            <p:spPr bwMode="auto">
              <a:xfrm>
                <a:off x="5948" y="19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5" name="Freeform 1282"/>
              <p:cNvSpPr>
                <a:spLocks/>
              </p:cNvSpPr>
              <p:nvPr/>
            </p:nvSpPr>
            <p:spPr bwMode="auto">
              <a:xfrm>
                <a:off x="6040" y="19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6" name="Freeform 1283"/>
              <p:cNvSpPr>
                <a:spLocks noEditPoints="1"/>
              </p:cNvSpPr>
              <p:nvPr/>
            </p:nvSpPr>
            <p:spPr bwMode="auto">
              <a:xfrm>
                <a:off x="5670" y="1762"/>
                <a:ext cx="100" cy="150"/>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7" name="Freeform 1284"/>
              <p:cNvSpPr>
                <a:spLocks/>
              </p:cNvSpPr>
              <p:nvPr/>
            </p:nvSpPr>
            <p:spPr bwMode="auto">
              <a:xfrm>
                <a:off x="581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8" name="Freeform 1285"/>
              <p:cNvSpPr>
                <a:spLocks/>
              </p:cNvSpPr>
              <p:nvPr/>
            </p:nvSpPr>
            <p:spPr bwMode="auto">
              <a:xfrm>
                <a:off x="590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69" name="Freeform 1286"/>
              <p:cNvSpPr>
                <a:spLocks/>
              </p:cNvSpPr>
              <p:nvPr/>
            </p:nvSpPr>
            <p:spPr bwMode="auto">
              <a:xfrm>
                <a:off x="5994"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0" name="Freeform 1287"/>
              <p:cNvSpPr>
                <a:spLocks/>
              </p:cNvSpPr>
              <p:nvPr/>
            </p:nvSpPr>
            <p:spPr bwMode="auto">
              <a:xfrm>
                <a:off x="6086"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1" name="Freeform 1288"/>
              <p:cNvSpPr>
                <a:spLocks/>
              </p:cNvSpPr>
              <p:nvPr/>
            </p:nvSpPr>
            <p:spPr bwMode="auto">
              <a:xfrm>
                <a:off x="632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2" name="Freeform 1289"/>
              <p:cNvSpPr>
                <a:spLocks/>
              </p:cNvSpPr>
              <p:nvPr/>
            </p:nvSpPr>
            <p:spPr bwMode="auto">
              <a:xfrm>
                <a:off x="642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3" name="Freeform 1290"/>
              <p:cNvSpPr>
                <a:spLocks/>
              </p:cNvSpPr>
              <p:nvPr/>
            </p:nvSpPr>
            <p:spPr bwMode="auto">
              <a:xfrm>
                <a:off x="651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4" name="Freeform 1291"/>
              <p:cNvSpPr>
                <a:spLocks/>
              </p:cNvSpPr>
              <p:nvPr/>
            </p:nvSpPr>
            <p:spPr bwMode="auto">
              <a:xfrm>
                <a:off x="6608"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5" name="Freeform 1292"/>
              <p:cNvSpPr>
                <a:spLocks/>
              </p:cNvSpPr>
              <p:nvPr/>
            </p:nvSpPr>
            <p:spPr bwMode="auto">
              <a:xfrm>
                <a:off x="6178"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6" name="Freeform 1293"/>
              <p:cNvSpPr>
                <a:spLocks/>
              </p:cNvSpPr>
              <p:nvPr/>
            </p:nvSpPr>
            <p:spPr bwMode="auto">
              <a:xfrm>
                <a:off x="6178" y="1766"/>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7" name="Freeform 1294"/>
              <p:cNvSpPr>
                <a:spLocks/>
              </p:cNvSpPr>
              <p:nvPr/>
            </p:nvSpPr>
            <p:spPr bwMode="auto">
              <a:xfrm>
                <a:off x="6240"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8" name="Freeform 1295"/>
              <p:cNvSpPr>
                <a:spLocks/>
              </p:cNvSpPr>
              <p:nvPr/>
            </p:nvSpPr>
            <p:spPr bwMode="auto">
              <a:xfrm>
                <a:off x="6240"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79" name="Freeform 1296"/>
              <p:cNvSpPr>
                <a:spLocks/>
              </p:cNvSpPr>
              <p:nvPr/>
            </p:nvSpPr>
            <p:spPr bwMode="auto">
              <a:xfrm>
                <a:off x="6928"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0" name="Freeform 1297"/>
              <p:cNvSpPr>
                <a:spLocks/>
              </p:cNvSpPr>
              <p:nvPr/>
            </p:nvSpPr>
            <p:spPr bwMode="auto">
              <a:xfrm>
                <a:off x="6928" y="17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1" name="Freeform 1298"/>
              <p:cNvSpPr>
                <a:spLocks/>
              </p:cNvSpPr>
              <p:nvPr/>
            </p:nvSpPr>
            <p:spPr bwMode="auto">
              <a:xfrm>
                <a:off x="6990"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2" name="Freeform 1299"/>
              <p:cNvSpPr>
                <a:spLocks/>
              </p:cNvSpPr>
              <p:nvPr/>
            </p:nvSpPr>
            <p:spPr bwMode="auto">
              <a:xfrm>
                <a:off x="6990" y="1766"/>
                <a:ext cx="46" cy="146"/>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3" name="Freeform 1300"/>
              <p:cNvSpPr>
                <a:spLocks/>
              </p:cNvSpPr>
              <p:nvPr/>
            </p:nvSpPr>
            <p:spPr bwMode="auto">
              <a:xfrm>
                <a:off x="7076"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4" name="Freeform 1301"/>
              <p:cNvSpPr>
                <a:spLocks/>
              </p:cNvSpPr>
              <p:nvPr/>
            </p:nvSpPr>
            <p:spPr bwMode="auto">
              <a:xfrm>
                <a:off x="717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5" name="Freeform 1302"/>
              <p:cNvSpPr>
                <a:spLocks/>
              </p:cNvSpPr>
              <p:nvPr/>
            </p:nvSpPr>
            <p:spPr bwMode="auto">
              <a:xfrm>
                <a:off x="7262"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6" name="Freeform 1303"/>
              <p:cNvSpPr>
                <a:spLocks/>
              </p:cNvSpPr>
              <p:nvPr/>
            </p:nvSpPr>
            <p:spPr bwMode="auto">
              <a:xfrm>
                <a:off x="7502"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7" name="Freeform 1304"/>
              <p:cNvSpPr>
                <a:spLocks/>
              </p:cNvSpPr>
              <p:nvPr/>
            </p:nvSpPr>
            <p:spPr bwMode="auto">
              <a:xfrm>
                <a:off x="7354" y="1766"/>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8" name="Freeform 1305"/>
              <p:cNvSpPr>
                <a:spLocks/>
              </p:cNvSpPr>
              <p:nvPr/>
            </p:nvSpPr>
            <p:spPr bwMode="auto">
              <a:xfrm>
                <a:off x="7354" y="1766"/>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89" name="Freeform 1306"/>
              <p:cNvSpPr>
                <a:spLocks/>
              </p:cNvSpPr>
              <p:nvPr/>
            </p:nvSpPr>
            <p:spPr bwMode="auto">
              <a:xfrm>
                <a:off x="7414"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0" name="Freeform 1307"/>
              <p:cNvSpPr>
                <a:spLocks/>
              </p:cNvSpPr>
              <p:nvPr/>
            </p:nvSpPr>
            <p:spPr bwMode="auto">
              <a:xfrm>
                <a:off x="7414" y="1766"/>
                <a:ext cx="48" cy="146"/>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1" name="Freeform 1308"/>
              <p:cNvSpPr>
                <a:spLocks noEditPoints="1"/>
              </p:cNvSpPr>
              <p:nvPr/>
            </p:nvSpPr>
            <p:spPr bwMode="auto">
              <a:xfrm>
                <a:off x="5660" y="1576"/>
                <a:ext cx="188" cy="146"/>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2" name="Freeform 1309"/>
              <p:cNvSpPr>
                <a:spLocks/>
              </p:cNvSpPr>
              <p:nvPr/>
            </p:nvSpPr>
            <p:spPr bwMode="auto">
              <a:xfrm>
                <a:off x="5764" y="1680"/>
                <a:ext cx="16" cy="28"/>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3" name="Freeform 1310"/>
              <p:cNvSpPr>
                <a:spLocks/>
              </p:cNvSpPr>
              <p:nvPr/>
            </p:nvSpPr>
            <p:spPr bwMode="auto">
              <a:xfrm>
                <a:off x="5666" y="1676"/>
                <a:ext cx="18" cy="24"/>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4" name="Freeform 1311"/>
              <p:cNvSpPr>
                <a:spLocks/>
              </p:cNvSpPr>
              <p:nvPr/>
            </p:nvSpPr>
            <p:spPr bwMode="auto">
              <a:xfrm>
                <a:off x="5662" y="1626"/>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5" name="Freeform 1312"/>
              <p:cNvSpPr>
                <a:spLocks/>
              </p:cNvSpPr>
              <p:nvPr/>
            </p:nvSpPr>
            <p:spPr bwMode="auto">
              <a:xfrm>
                <a:off x="5676" y="1580"/>
                <a:ext cx="170" cy="138"/>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6" name="Freeform 1313"/>
              <p:cNvSpPr>
                <a:spLocks/>
              </p:cNvSpPr>
              <p:nvPr/>
            </p:nvSpPr>
            <p:spPr bwMode="auto">
              <a:xfrm>
                <a:off x="5660" y="1576"/>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7" name="Freeform 1314"/>
              <p:cNvSpPr>
                <a:spLocks/>
              </p:cNvSpPr>
              <p:nvPr/>
            </p:nvSpPr>
            <p:spPr bwMode="auto">
              <a:xfrm>
                <a:off x="5666"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8" name="Freeform 1315"/>
              <p:cNvSpPr>
                <a:spLocks/>
              </p:cNvSpPr>
              <p:nvPr/>
            </p:nvSpPr>
            <p:spPr bwMode="auto">
              <a:xfrm>
                <a:off x="5666"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699" name="Freeform 1316"/>
              <p:cNvSpPr>
                <a:spLocks/>
              </p:cNvSpPr>
              <p:nvPr/>
            </p:nvSpPr>
            <p:spPr bwMode="auto">
              <a:xfrm>
                <a:off x="5668"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0" name="Freeform 1317"/>
              <p:cNvSpPr>
                <a:spLocks/>
              </p:cNvSpPr>
              <p:nvPr/>
            </p:nvSpPr>
            <p:spPr bwMode="auto">
              <a:xfrm>
                <a:off x="5668"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1" name="Freeform 1318"/>
              <p:cNvSpPr>
                <a:spLocks/>
              </p:cNvSpPr>
              <p:nvPr/>
            </p:nvSpPr>
            <p:spPr bwMode="auto">
              <a:xfrm>
                <a:off x="5764" y="1680"/>
                <a:ext cx="16" cy="28"/>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2" name="Freeform 1319"/>
              <p:cNvSpPr>
                <a:spLocks/>
              </p:cNvSpPr>
              <p:nvPr/>
            </p:nvSpPr>
            <p:spPr bwMode="auto">
              <a:xfrm>
                <a:off x="5764" y="1680"/>
                <a:ext cx="16" cy="28"/>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3" name="Freeform 1320"/>
              <p:cNvSpPr>
                <a:spLocks/>
              </p:cNvSpPr>
              <p:nvPr/>
            </p:nvSpPr>
            <p:spPr bwMode="auto">
              <a:xfrm>
                <a:off x="5768" y="1680"/>
                <a:ext cx="10" cy="18"/>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4" name="Freeform 1321"/>
              <p:cNvSpPr>
                <a:spLocks/>
              </p:cNvSpPr>
              <p:nvPr/>
            </p:nvSpPr>
            <p:spPr bwMode="auto">
              <a:xfrm>
                <a:off x="5768" y="1680"/>
                <a:ext cx="10" cy="18"/>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5" name="Freeform 1322"/>
              <p:cNvSpPr>
                <a:spLocks/>
              </p:cNvSpPr>
              <p:nvPr/>
            </p:nvSpPr>
            <p:spPr bwMode="auto">
              <a:xfrm>
                <a:off x="5662" y="1626"/>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6" name="Freeform 1323"/>
              <p:cNvSpPr>
                <a:spLocks/>
              </p:cNvSpPr>
              <p:nvPr/>
            </p:nvSpPr>
            <p:spPr bwMode="auto">
              <a:xfrm>
                <a:off x="5662" y="1626"/>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7" name="Freeform 1324"/>
              <p:cNvSpPr>
                <a:spLocks noEditPoints="1"/>
              </p:cNvSpPr>
              <p:nvPr/>
            </p:nvSpPr>
            <p:spPr bwMode="auto">
              <a:xfrm>
                <a:off x="5666" y="1626"/>
                <a:ext cx="8" cy="2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8" name="Freeform 1325"/>
              <p:cNvSpPr>
                <a:spLocks/>
              </p:cNvSpPr>
              <p:nvPr/>
            </p:nvSpPr>
            <p:spPr bwMode="auto">
              <a:xfrm>
                <a:off x="5666" y="1644"/>
                <a:ext cx="6" cy="2"/>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09" name="Freeform 1326"/>
              <p:cNvSpPr>
                <a:spLocks/>
              </p:cNvSpPr>
              <p:nvPr/>
            </p:nvSpPr>
            <p:spPr bwMode="auto">
              <a:xfrm>
                <a:off x="5668" y="164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0" name="Freeform 1327"/>
              <p:cNvSpPr>
                <a:spLocks/>
              </p:cNvSpPr>
              <p:nvPr/>
            </p:nvSpPr>
            <p:spPr bwMode="auto">
              <a:xfrm>
                <a:off x="5672" y="1640"/>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1" name="Freeform 1328"/>
              <p:cNvSpPr>
                <a:spLocks/>
              </p:cNvSpPr>
              <p:nvPr/>
            </p:nvSpPr>
            <p:spPr bwMode="auto">
              <a:xfrm>
                <a:off x="5666" y="1628"/>
                <a:ext cx="2" cy="14"/>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2" name="Freeform 1329"/>
              <p:cNvSpPr>
                <a:spLocks/>
              </p:cNvSpPr>
              <p:nvPr/>
            </p:nvSpPr>
            <p:spPr bwMode="auto">
              <a:xfrm>
                <a:off x="5668" y="1626"/>
                <a:ext cx="2"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3" name="Freeform 1330"/>
              <p:cNvSpPr>
                <a:spLocks noEditPoints="1"/>
              </p:cNvSpPr>
              <p:nvPr/>
            </p:nvSpPr>
            <p:spPr bwMode="auto">
              <a:xfrm>
                <a:off x="5776" y="1616"/>
                <a:ext cx="20" cy="12"/>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4" name="Freeform 1331"/>
              <p:cNvSpPr>
                <a:spLocks/>
              </p:cNvSpPr>
              <p:nvPr/>
            </p:nvSpPr>
            <p:spPr bwMode="auto">
              <a:xfrm>
                <a:off x="5782" y="1622"/>
                <a:ext cx="6" cy="4"/>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5" name="Freeform 1332"/>
              <p:cNvSpPr>
                <a:spLocks/>
              </p:cNvSpPr>
              <p:nvPr/>
            </p:nvSpPr>
            <p:spPr bwMode="auto">
              <a:xfrm>
                <a:off x="5776" y="1616"/>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6" name="Freeform 1333"/>
              <p:cNvSpPr>
                <a:spLocks/>
              </p:cNvSpPr>
              <p:nvPr/>
            </p:nvSpPr>
            <p:spPr bwMode="auto">
              <a:xfrm>
                <a:off x="5730"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7" name="Freeform 1334"/>
              <p:cNvSpPr>
                <a:spLocks/>
              </p:cNvSpPr>
              <p:nvPr/>
            </p:nvSpPr>
            <p:spPr bwMode="auto">
              <a:xfrm>
                <a:off x="5730"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8" name="Freeform 1335"/>
              <p:cNvSpPr>
                <a:spLocks/>
              </p:cNvSpPr>
              <p:nvPr/>
            </p:nvSpPr>
            <p:spPr bwMode="auto">
              <a:xfrm>
                <a:off x="5826"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19" name="Freeform 1336"/>
              <p:cNvSpPr>
                <a:spLocks/>
              </p:cNvSpPr>
              <p:nvPr/>
            </p:nvSpPr>
            <p:spPr bwMode="auto">
              <a:xfrm>
                <a:off x="5826"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0" name="Freeform 1337"/>
              <p:cNvSpPr>
                <a:spLocks/>
              </p:cNvSpPr>
              <p:nvPr/>
            </p:nvSpPr>
            <p:spPr bwMode="auto">
              <a:xfrm>
                <a:off x="5772"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1" name="Freeform 1338"/>
              <p:cNvSpPr>
                <a:spLocks/>
              </p:cNvSpPr>
              <p:nvPr/>
            </p:nvSpPr>
            <p:spPr bwMode="auto">
              <a:xfrm>
                <a:off x="5772"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2" name="Freeform 1339"/>
              <p:cNvSpPr>
                <a:spLocks/>
              </p:cNvSpPr>
              <p:nvPr/>
            </p:nvSpPr>
            <p:spPr bwMode="auto">
              <a:xfrm>
                <a:off x="5786"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3" name="Freeform 1340"/>
              <p:cNvSpPr>
                <a:spLocks/>
              </p:cNvSpPr>
              <p:nvPr/>
            </p:nvSpPr>
            <p:spPr bwMode="auto">
              <a:xfrm>
                <a:off x="5786"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4" name="Freeform 1341"/>
              <p:cNvSpPr>
                <a:spLocks/>
              </p:cNvSpPr>
              <p:nvPr/>
            </p:nvSpPr>
            <p:spPr bwMode="auto">
              <a:xfrm>
                <a:off x="5782"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5" name="Freeform 1342"/>
              <p:cNvSpPr>
                <a:spLocks/>
              </p:cNvSpPr>
              <p:nvPr/>
            </p:nvSpPr>
            <p:spPr bwMode="auto">
              <a:xfrm>
                <a:off x="5782"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6" name="Freeform 1343"/>
              <p:cNvSpPr>
                <a:spLocks noEditPoints="1"/>
              </p:cNvSpPr>
              <p:nvPr/>
            </p:nvSpPr>
            <p:spPr bwMode="auto">
              <a:xfrm>
                <a:off x="5784" y="162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7" name="Freeform 1344"/>
              <p:cNvSpPr>
                <a:spLocks/>
              </p:cNvSpPr>
              <p:nvPr/>
            </p:nvSpPr>
            <p:spPr bwMode="auto">
              <a:xfrm>
                <a:off x="5784" y="162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8" name="Freeform 1345"/>
              <p:cNvSpPr>
                <a:spLocks/>
              </p:cNvSpPr>
              <p:nvPr/>
            </p:nvSpPr>
            <p:spPr bwMode="auto">
              <a:xfrm>
                <a:off x="5784"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29" name="Freeform 1346"/>
              <p:cNvSpPr>
                <a:spLocks noEditPoints="1"/>
              </p:cNvSpPr>
              <p:nvPr/>
            </p:nvSpPr>
            <p:spPr bwMode="auto">
              <a:xfrm>
                <a:off x="6700" y="1766"/>
                <a:ext cx="188" cy="144"/>
              </a:xfrm>
              <a:custGeom>
                <a:avLst/>
                <a:gdLst>
                  <a:gd name="T0" fmla="*/ 116 w 188"/>
                  <a:gd name="T1" fmla="*/ 102 h 144"/>
                  <a:gd name="T2" fmla="*/ 112 w 188"/>
                  <a:gd name="T3" fmla="*/ 130 h 144"/>
                  <a:gd name="T4" fmla="*/ 22 w 188"/>
                  <a:gd name="T5" fmla="*/ 116 h 144"/>
                  <a:gd name="T6" fmla="*/ 18 w 188"/>
                  <a:gd name="T7" fmla="*/ 122 h 144"/>
                  <a:gd name="T8" fmla="*/ 8 w 188"/>
                  <a:gd name="T9" fmla="*/ 104 h 144"/>
                  <a:gd name="T10" fmla="*/ 6 w 188"/>
                  <a:gd name="T11" fmla="*/ 64 h 144"/>
                  <a:gd name="T12" fmla="*/ 12 w 188"/>
                  <a:gd name="T13" fmla="*/ 64 h 144"/>
                  <a:gd name="T14" fmla="*/ 6 w 188"/>
                  <a:gd name="T15" fmla="*/ 68 h 144"/>
                  <a:gd name="T16" fmla="*/ 6 w 188"/>
                  <a:gd name="T17" fmla="*/ 48 h 144"/>
                  <a:gd name="T18" fmla="*/ 84 w 188"/>
                  <a:gd name="T19" fmla="*/ 14 h 144"/>
                  <a:gd name="T20" fmla="*/ 128 w 188"/>
                  <a:gd name="T21" fmla="*/ 6 h 144"/>
                  <a:gd name="T22" fmla="*/ 158 w 188"/>
                  <a:gd name="T23" fmla="*/ 32 h 144"/>
                  <a:gd name="T24" fmla="*/ 158 w 188"/>
                  <a:gd name="T25" fmla="*/ 42 h 144"/>
                  <a:gd name="T26" fmla="*/ 152 w 188"/>
                  <a:gd name="T27" fmla="*/ 44 h 144"/>
                  <a:gd name="T28" fmla="*/ 158 w 188"/>
                  <a:gd name="T29" fmla="*/ 46 h 144"/>
                  <a:gd name="T30" fmla="*/ 160 w 188"/>
                  <a:gd name="T31" fmla="*/ 40 h 144"/>
                  <a:gd name="T32" fmla="*/ 176 w 188"/>
                  <a:gd name="T33" fmla="*/ 26 h 144"/>
                  <a:gd name="T34" fmla="*/ 182 w 188"/>
                  <a:gd name="T35" fmla="*/ 68 h 144"/>
                  <a:gd name="T36" fmla="*/ 140 w 188"/>
                  <a:gd name="T37" fmla="*/ 84 h 144"/>
                  <a:gd name="T38" fmla="*/ 134 w 188"/>
                  <a:gd name="T39" fmla="*/ 98 h 144"/>
                  <a:gd name="T40" fmla="*/ 144 w 188"/>
                  <a:gd name="T41" fmla="*/ 88 h 144"/>
                  <a:gd name="T42" fmla="*/ 128 w 188"/>
                  <a:gd name="T43" fmla="*/ 100 h 144"/>
                  <a:gd name="T44" fmla="*/ 114 w 188"/>
                  <a:gd name="T45" fmla="*/ 94 h 144"/>
                  <a:gd name="T46" fmla="*/ 86 w 188"/>
                  <a:gd name="T47" fmla="*/ 138 h 144"/>
                  <a:gd name="T48" fmla="*/ 68 w 188"/>
                  <a:gd name="T49" fmla="*/ 128 h 144"/>
                  <a:gd name="T50" fmla="*/ 76 w 188"/>
                  <a:gd name="T51" fmla="*/ 112 h 144"/>
                  <a:gd name="T52" fmla="*/ 56 w 188"/>
                  <a:gd name="T53" fmla="*/ 114 h 144"/>
                  <a:gd name="T54" fmla="*/ 52 w 188"/>
                  <a:gd name="T55" fmla="*/ 122 h 144"/>
                  <a:gd name="T56" fmla="*/ 44 w 188"/>
                  <a:gd name="T57" fmla="*/ 138 h 144"/>
                  <a:gd name="T58" fmla="*/ 26 w 188"/>
                  <a:gd name="T59" fmla="*/ 120 h 144"/>
                  <a:gd name="T60" fmla="*/ 14 w 188"/>
                  <a:gd name="T61" fmla="*/ 76 h 144"/>
                  <a:gd name="T62" fmla="*/ 56 w 188"/>
                  <a:gd name="T63" fmla="*/ 34 h 144"/>
                  <a:gd name="T64" fmla="*/ 40 w 188"/>
                  <a:gd name="T65" fmla="*/ 60 h 144"/>
                  <a:gd name="T66" fmla="*/ 48 w 188"/>
                  <a:gd name="T67" fmla="*/ 86 h 144"/>
                  <a:gd name="T68" fmla="*/ 72 w 188"/>
                  <a:gd name="T69" fmla="*/ 94 h 144"/>
                  <a:gd name="T70" fmla="*/ 96 w 188"/>
                  <a:gd name="T71" fmla="*/ 70 h 144"/>
                  <a:gd name="T72" fmla="*/ 92 w 188"/>
                  <a:gd name="T73" fmla="*/ 80 h 144"/>
                  <a:gd name="T74" fmla="*/ 62 w 188"/>
                  <a:gd name="T75" fmla="*/ 94 h 144"/>
                  <a:gd name="T76" fmla="*/ 56 w 188"/>
                  <a:gd name="T77" fmla="*/ 76 h 144"/>
                  <a:gd name="T78" fmla="*/ 44 w 188"/>
                  <a:gd name="T79" fmla="*/ 62 h 144"/>
                  <a:gd name="T80" fmla="*/ 86 w 188"/>
                  <a:gd name="T81" fmla="*/ 20 h 144"/>
                  <a:gd name="T82" fmla="*/ 98 w 188"/>
                  <a:gd name="T83" fmla="*/ 2 h 144"/>
                  <a:gd name="T84" fmla="*/ 70 w 188"/>
                  <a:gd name="T85" fmla="*/ 22 h 144"/>
                  <a:gd name="T86" fmla="*/ 16 w 188"/>
                  <a:gd name="T87" fmla="*/ 54 h 144"/>
                  <a:gd name="T88" fmla="*/ 12 w 188"/>
                  <a:gd name="T89" fmla="*/ 54 h 144"/>
                  <a:gd name="T90" fmla="*/ 0 w 188"/>
                  <a:gd name="T91" fmla="*/ 56 h 144"/>
                  <a:gd name="T92" fmla="*/ 10 w 188"/>
                  <a:gd name="T93" fmla="*/ 84 h 144"/>
                  <a:gd name="T94" fmla="*/ 2 w 188"/>
                  <a:gd name="T95" fmla="*/ 112 h 144"/>
                  <a:gd name="T96" fmla="*/ 20 w 188"/>
                  <a:gd name="T97" fmla="*/ 130 h 144"/>
                  <a:gd name="T98" fmla="*/ 42 w 188"/>
                  <a:gd name="T99" fmla="*/ 142 h 144"/>
                  <a:gd name="T100" fmla="*/ 50 w 188"/>
                  <a:gd name="T101" fmla="*/ 130 h 144"/>
                  <a:gd name="T102" fmla="*/ 74 w 188"/>
                  <a:gd name="T103" fmla="*/ 142 h 144"/>
                  <a:gd name="T104" fmla="*/ 96 w 188"/>
                  <a:gd name="T105" fmla="*/ 132 h 144"/>
                  <a:gd name="T106" fmla="*/ 124 w 188"/>
                  <a:gd name="T107" fmla="*/ 126 h 144"/>
                  <a:gd name="T108" fmla="*/ 116 w 188"/>
                  <a:gd name="T109" fmla="*/ 94 h 144"/>
                  <a:gd name="T110" fmla="*/ 140 w 188"/>
                  <a:gd name="T111" fmla="*/ 102 h 144"/>
                  <a:gd name="T112" fmla="*/ 154 w 188"/>
                  <a:gd name="T113" fmla="*/ 90 h 144"/>
                  <a:gd name="T114" fmla="*/ 188 w 188"/>
                  <a:gd name="T115" fmla="*/ 58 h 144"/>
                  <a:gd name="T116" fmla="*/ 176 w 188"/>
                  <a:gd name="T117" fmla="*/ 22 h 144"/>
                  <a:gd name="T118" fmla="*/ 160 w 188"/>
                  <a:gd name="T119" fmla="*/ 30 h 144"/>
                  <a:gd name="T120" fmla="*/ 126 w 188"/>
                  <a:gd name="T121"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4">
                    <a:moveTo>
                      <a:pt x="108" y="120"/>
                    </a:moveTo>
                    <a:lnTo>
                      <a:pt x="108" y="120"/>
                    </a:lnTo>
                    <a:lnTo>
                      <a:pt x="116" y="102"/>
                    </a:lnTo>
                    <a:lnTo>
                      <a:pt x="116" y="102"/>
                    </a:lnTo>
                    <a:lnTo>
                      <a:pt x="116" y="102"/>
                    </a:lnTo>
                    <a:lnTo>
                      <a:pt x="116" y="102"/>
                    </a:lnTo>
                    <a:lnTo>
                      <a:pt x="116" y="102"/>
                    </a:lnTo>
                    <a:lnTo>
                      <a:pt x="116" y="102"/>
                    </a:lnTo>
                    <a:lnTo>
                      <a:pt x="118" y="112"/>
                    </a:lnTo>
                    <a:lnTo>
                      <a:pt x="118" y="112"/>
                    </a:lnTo>
                    <a:lnTo>
                      <a:pt x="120" y="126"/>
                    </a:lnTo>
                    <a:lnTo>
                      <a:pt x="120" y="126"/>
                    </a:lnTo>
                    <a:lnTo>
                      <a:pt x="118" y="128"/>
                    </a:lnTo>
                    <a:lnTo>
                      <a:pt x="118" y="128"/>
                    </a:lnTo>
                    <a:lnTo>
                      <a:pt x="112" y="130"/>
                    </a:lnTo>
                    <a:lnTo>
                      <a:pt x="112" y="130"/>
                    </a:lnTo>
                    <a:lnTo>
                      <a:pt x="102" y="128"/>
                    </a:lnTo>
                    <a:lnTo>
                      <a:pt x="102" y="128"/>
                    </a:lnTo>
                    <a:lnTo>
                      <a:pt x="108" y="120"/>
                    </a:lnTo>
                    <a:close/>
                    <a:moveTo>
                      <a:pt x="8" y="104"/>
                    </a:moveTo>
                    <a:lnTo>
                      <a:pt x="8" y="104"/>
                    </a:lnTo>
                    <a:lnTo>
                      <a:pt x="14" y="98"/>
                    </a:lnTo>
                    <a:lnTo>
                      <a:pt x="14" y="98"/>
                    </a:lnTo>
                    <a:lnTo>
                      <a:pt x="22" y="116"/>
                    </a:lnTo>
                    <a:lnTo>
                      <a:pt x="22" y="116"/>
                    </a:lnTo>
                    <a:lnTo>
                      <a:pt x="22" y="120"/>
                    </a:lnTo>
                    <a:lnTo>
                      <a:pt x="20" y="122"/>
                    </a:lnTo>
                    <a:lnTo>
                      <a:pt x="20" y="122"/>
                    </a:lnTo>
                    <a:lnTo>
                      <a:pt x="18" y="122"/>
                    </a:lnTo>
                    <a:lnTo>
                      <a:pt x="18" y="122"/>
                    </a:lnTo>
                    <a:lnTo>
                      <a:pt x="18" y="122"/>
                    </a:lnTo>
                    <a:lnTo>
                      <a:pt x="18" y="122"/>
                    </a:lnTo>
                    <a:lnTo>
                      <a:pt x="14" y="120"/>
                    </a:lnTo>
                    <a:lnTo>
                      <a:pt x="8" y="116"/>
                    </a:lnTo>
                    <a:lnTo>
                      <a:pt x="6" y="112"/>
                    </a:lnTo>
                    <a:lnTo>
                      <a:pt x="4" y="108"/>
                    </a:lnTo>
                    <a:lnTo>
                      <a:pt x="4" y="108"/>
                    </a:lnTo>
                    <a:lnTo>
                      <a:pt x="6" y="104"/>
                    </a:lnTo>
                    <a:lnTo>
                      <a:pt x="6" y="104"/>
                    </a:lnTo>
                    <a:lnTo>
                      <a:pt x="8" y="104"/>
                    </a:lnTo>
                    <a:close/>
                    <a:moveTo>
                      <a:pt x="8" y="48"/>
                    </a:moveTo>
                    <a:lnTo>
                      <a:pt x="8" y="48"/>
                    </a:lnTo>
                    <a:lnTo>
                      <a:pt x="8" y="48"/>
                    </a:lnTo>
                    <a:lnTo>
                      <a:pt x="8" y="48"/>
                    </a:lnTo>
                    <a:lnTo>
                      <a:pt x="4" y="60"/>
                    </a:lnTo>
                    <a:lnTo>
                      <a:pt x="4" y="60"/>
                    </a:lnTo>
                    <a:lnTo>
                      <a:pt x="6" y="64"/>
                    </a:lnTo>
                    <a:lnTo>
                      <a:pt x="6" y="64"/>
                    </a:lnTo>
                    <a:lnTo>
                      <a:pt x="8" y="64"/>
                    </a:lnTo>
                    <a:lnTo>
                      <a:pt x="8" y="64"/>
                    </a:lnTo>
                    <a:lnTo>
                      <a:pt x="10" y="64"/>
                    </a:lnTo>
                    <a:lnTo>
                      <a:pt x="10" y="64"/>
                    </a:lnTo>
                    <a:lnTo>
                      <a:pt x="12" y="62"/>
                    </a:lnTo>
                    <a:lnTo>
                      <a:pt x="12" y="62"/>
                    </a:lnTo>
                    <a:lnTo>
                      <a:pt x="12" y="64"/>
                    </a:lnTo>
                    <a:lnTo>
                      <a:pt x="12" y="64"/>
                    </a:lnTo>
                    <a:lnTo>
                      <a:pt x="14" y="62"/>
                    </a:lnTo>
                    <a:lnTo>
                      <a:pt x="14" y="62"/>
                    </a:lnTo>
                    <a:lnTo>
                      <a:pt x="12" y="66"/>
                    </a:lnTo>
                    <a:lnTo>
                      <a:pt x="8" y="68"/>
                    </a:lnTo>
                    <a:lnTo>
                      <a:pt x="8" y="68"/>
                    </a:lnTo>
                    <a:lnTo>
                      <a:pt x="8" y="68"/>
                    </a:lnTo>
                    <a:lnTo>
                      <a:pt x="8" y="68"/>
                    </a:lnTo>
                    <a:lnTo>
                      <a:pt x="6" y="68"/>
                    </a:lnTo>
                    <a:lnTo>
                      <a:pt x="6" y="68"/>
                    </a:lnTo>
                    <a:lnTo>
                      <a:pt x="4" y="66"/>
                    </a:lnTo>
                    <a:lnTo>
                      <a:pt x="2" y="60"/>
                    </a:lnTo>
                    <a:lnTo>
                      <a:pt x="2" y="56"/>
                    </a:lnTo>
                    <a:lnTo>
                      <a:pt x="2" y="54"/>
                    </a:lnTo>
                    <a:lnTo>
                      <a:pt x="2" y="54"/>
                    </a:lnTo>
                    <a:lnTo>
                      <a:pt x="6" y="48"/>
                    </a:lnTo>
                    <a:lnTo>
                      <a:pt x="6" y="48"/>
                    </a:lnTo>
                    <a:lnTo>
                      <a:pt x="8" y="48"/>
                    </a:lnTo>
                    <a:lnTo>
                      <a:pt x="8" y="48"/>
                    </a:lnTo>
                    <a:lnTo>
                      <a:pt x="8" y="48"/>
                    </a:lnTo>
                    <a:lnTo>
                      <a:pt x="8" y="48"/>
                    </a:lnTo>
                    <a:lnTo>
                      <a:pt x="8" y="48"/>
                    </a:lnTo>
                    <a:close/>
                    <a:moveTo>
                      <a:pt x="82" y="18"/>
                    </a:moveTo>
                    <a:lnTo>
                      <a:pt x="82" y="18"/>
                    </a:lnTo>
                    <a:lnTo>
                      <a:pt x="84" y="14"/>
                    </a:lnTo>
                    <a:lnTo>
                      <a:pt x="88" y="12"/>
                    </a:lnTo>
                    <a:lnTo>
                      <a:pt x="96" y="6"/>
                    </a:lnTo>
                    <a:lnTo>
                      <a:pt x="96" y="6"/>
                    </a:lnTo>
                    <a:lnTo>
                      <a:pt x="114" y="2"/>
                    </a:lnTo>
                    <a:lnTo>
                      <a:pt x="114" y="2"/>
                    </a:lnTo>
                    <a:lnTo>
                      <a:pt x="122" y="4"/>
                    </a:lnTo>
                    <a:lnTo>
                      <a:pt x="128" y="6"/>
                    </a:lnTo>
                    <a:lnTo>
                      <a:pt x="128" y="6"/>
                    </a:lnTo>
                    <a:lnTo>
                      <a:pt x="144" y="18"/>
                    </a:lnTo>
                    <a:lnTo>
                      <a:pt x="144" y="18"/>
                    </a:lnTo>
                    <a:lnTo>
                      <a:pt x="146" y="20"/>
                    </a:lnTo>
                    <a:lnTo>
                      <a:pt x="146" y="20"/>
                    </a:lnTo>
                    <a:lnTo>
                      <a:pt x="150" y="22"/>
                    </a:lnTo>
                    <a:lnTo>
                      <a:pt x="152" y="24"/>
                    </a:lnTo>
                    <a:lnTo>
                      <a:pt x="158" y="32"/>
                    </a:lnTo>
                    <a:lnTo>
                      <a:pt x="158" y="32"/>
                    </a:lnTo>
                    <a:lnTo>
                      <a:pt x="148" y="34"/>
                    </a:lnTo>
                    <a:lnTo>
                      <a:pt x="148" y="34"/>
                    </a:lnTo>
                    <a:lnTo>
                      <a:pt x="150" y="38"/>
                    </a:lnTo>
                    <a:lnTo>
                      <a:pt x="154" y="40"/>
                    </a:lnTo>
                    <a:lnTo>
                      <a:pt x="154" y="40"/>
                    </a:lnTo>
                    <a:lnTo>
                      <a:pt x="156" y="40"/>
                    </a:lnTo>
                    <a:lnTo>
                      <a:pt x="156" y="40"/>
                    </a:lnTo>
                    <a:lnTo>
                      <a:pt x="158" y="42"/>
                    </a:lnTo>
                    <a:lnTo>
                      <a:pt x="158" y="42"/>
                    </a:lnTo>
                    <a:lnTo>
                      <a:pt x="148" y="44"/>
                    </a:lnTo>
                    <a:lnTo>
                      <a:pt x="146" y="48"/>
                    </a:lnTo>
                    <a:lnTo>
                      <a:pt x="146" y="52"/>
                    </a:lnTo>
                    <a:lnTo>
                      <a:pt x="146" y="52"/>
                    </a:lnTo>
                    <a:lnTo>
                      <a:pt x="148" y="48"/>
                    </a:lnTo>
                    <a:lnTo>
                      <a:pt x="148" y="48"/>
                    </a:lnTo>
                    <a:lnTo>
                      <a:pt x="152" y="44"/>
                    </a:lnTo>
                    <a:lnTo>
                      <a:pt x="152" y="44"/>
                    </a:lnTo>
                    <a:lnTo>
                      <a:pt x="150" y="54"/>
                    </a:lnTo>
                    <a:lnTo>
                      <a:pt x="150" y="54"/>
                    </a:lnTo>
                    <a:lnTo>
                      <a:pt x="150" y="54"/>
                    </a:lnTo>
                    <a:lnTo>
                      <a:pt x="150" y="54"/>
                    </a:lnTo>
                    <a:lnTo>
                      <a:pt x="156" y="46"/>
                    </a:lnTo>
                    <a:lnTo>
                      <a:pt x="156" y="46"/>
                    </a:lnTo>
                    <a:lnTo>
                      <a:pt x="158" y="46"/>
                    </a:lnTo>
                    <a:lnTo>
                      <a:pt x="158" y="46"/>
                    </a:lnTo>
                    <a:lnTo>
                      <a:pt x="160" y="48"/>
                    </a:lnTo>
                    <a:lnTo>
                      <a:pt x="160" y="48"/>
                    </a:lnTo>
                    <a:lnTo>
                      <a:pt x="158" y="60"/>
                    </a:lnTo>
                    <a:lnTo>
                      <a:pt x="158" y="60"/>
                    </a:lnTo>
                    <a:lnTo>
                      <a:pt x="160" y="50"/>
                    </a:lnTo>
                    <a:lnTo>
                      <a:pt x="160" y="40"/>
                    </a:lnTo>
                    <a:lnTo>
                      <a:pt x="160" y="40"/>
                    </a:lnTo>
                    <a:lnTo>
                      <a:pt x="160" y="38"/>
                    </a:lnTo>
                    <a:lnTo>
                      <a:pt x="162" y="36"/>
                    </a:lnTo>
                    <a:lnTo>
                      <a:pt x="162" y="36"/>
                    </a:lnTo>
                    <a:lnTo>
                      <a:pt x="168" y="32"/>
                    </a:lnTo>
                    <a:lnTo>
                      <a:pt x="172" y="28"/>
                    </a:lnTo>
                    <a:lnTo>
                      <a:pt x="172" y="28"/>
                    </a:lnTo>
                    <a:lnTo>
                      <a:pt x="176" y="26"/>
                    </a:lnTo>
                    <a:lnTo>
                      <a:pt x="176" y="26"/>
                    </a:lnTo>
                    <a:lnTo>
                      <a:pt x="180" y="28"/>
                    </a:lnTo>
                    <a:lnTo>
                      <a:pt x="180" y="28"/>
                    </a:lnTo>
                    <a:lnTo>
                      <a:pt x="182" y="40"/>
                    </a:lnTo>
                    <a:lnTo>
                      <a:pt x="182" y="40"/>
                    </a:lnTo>
                    <a:lnTo>
                      <a:pt x="184" y="54"/>
                    </a:lnTo>
                    <a:lnTo>
                      <a:pt x="184" y="62"/>
                    </a:lnTo>
                    <a:lnTo>
                      <a:pt x="182" y="68"/>
                    </a:lnTo>
                    <a:lnTo>
                      <a:pt x="182" y="68"/>
                    </a:lnTo>
                    <a:lnTo>
                      <a:pt x="178" y="78"/>
                    </a:lnTo>
                    <a:lnTo>
                      <a:pt x="172" y="82"/>
                    </a:lnTo>
                    <a:lnTo>
                      <a:pt x="166" y="86"/>
                    </a:lnTo>
                    <a:lnTo>
                      <a:pt x="158" y="86"/>
                    </a:lnTo>
                    <a:lnTo>
                      <a:pt x="158" y="86"/>
                    </a:lnTo>
                    <a:lnTo>
                      <a:pt x="150" y="86"/>
                    </a:lnTo>
                    <a:lnTo>
                      <a:pt x="150" y="86"/>
                    </a:lnTo>
                    <a:lnTo>
                      <a:pt x="140" y="84"/>
                    </a:lnTo>
                    <a:lnTo>
                      <a:pt x="130" y="82"/>
                    </a:lnTo>
                    <a:lnTo>
                      <a:pt x="130" y="82"/>
                    </a:lnTo>
                    <a:lnTo>
                      <a:pt x="128" y="94"/>
                    </a:lnTo>
                    <a:lnTo>
                      <a:pt x="128" y="94"/>
                    </a:lnTo>
                    <a:lnTo>
                      <a:pt x="130" y="96"/>
                    </a:lnTo>
                    <a:lnTo>
                      <a:pt x="132" y="98"/>
                    </a:lnTo>
                    <a:lnTo>
                      <a:pt x="132" y="98"/>
                    </a:lnTo>
                    <a:lnTo>
                      <a:pt x="134" y="98"/>
                    </a:lnTo>
                    <a:lnTo>
                      <a:pt x="134" y="98"/>
                    </a:lnTo>
                    <a:lnTo>
                      <a:pt x="138" y="98"/>
                    </a:lnTo>
                    <a:lnTo>
                      <a:pt x="138" y="98"/>
                    </a:lnTo>
                    <a:lnTo>
                      <a:pt x="140" y="94"/>
                    </a:lnTo>
                    <a:lnTo>
                      <a:pt x="142" y="90"/>
                    </a:lnTo>
                    <a:lnTo>
                      <a:pt x="142" y="90"/>
                    </a:lnTo>
                    <a:lnTo>
                      <a:pt x="144" y="88"/>
                    </a:lnTo>
                    <a:lnTo>
                      <a:pt x="144" y="88"/>
                    </a:lnTo>
                    <a:lnTo>
                      <a:pt x="144" y="92"/>
                    </a:lnTo>
                    <a:lnTo>
                      <a:pt x="142" y="96"/>
                    </a:lnTo>
                    <a:lnTo>
                      <a:pt x="140" y="98"/>
                    </a:lnTo>
                    <a:lnTo>
                      <a:pt x="136" y="100"/>
                    </a:lnTo>
                    <a:lnTo>
                      <a:pt x="136" y="100"/>
                    </a:lnTo>
                    <a:lnTo>
                      <a:pt x="132" y="100"/>
                    </a:lnTo>
                    <a:lnTo>
                      <a:pt x="132" y="100"/>
                    </a:lnTo>
                    <a:lnTo>
                      <a:pt x="128" y="100"/>
                    </a:lnTo>
                    <a:lnTo>
                      <a:pt x="126" y="98"/>
                    </a:lnTo>
                    <a:lnTo>
                      <a:pt x="126" y="98"/>
                    </a:lnTo>
                    <a:lnTo>
                      <a:pt x="116" y="90"/>
                    </a:lnTo>
                    <a:lnTo>
                      <a:pt x="106" y="86"/>
                    </a:lnTo>
                    <a:lnTo>
                      <a:pt x="106" y="86"/>
                    </a:lnTo>
                    <a:lnTo>
                      <a:pt x="112" y="92"/>
                    </a:lnTo>
                    <a:lnTo>
                      <a:pt x="112" y="92"/>
                    </a:lnTo>
                    <a:lnTo>
                      <a:pt x="114" y="94"/>
                    </a:lnTo>
                    <a:lnTo>
                      <a:pt x="114" y="94"/>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4"/>
                    </a:lnTo>
                    <a:lnTo>
                      <a:pt x="66" y="114"/>
                    </a:lnTo>
                    <a:lnTo>
                      <a:pt x="60" y="114"/>
                    </a:lnTo>
                    <a:lnTo>
                      <a:pt x="60" y="114"/>
                    </a:lnTo>
                    <a:lnTo>
                      <a:pt x="56" y="114"/>
                    </a:lnTo>
                    <a:lnTo>
                      <a:pt x="54" y="112"/>
                    </a:lnTo>
                    <a:lnTo>
                      <a:pt x="52" y="110"/>
                    </a:lnTo>
                    <a:lnTo>
                      <a:pt x="52" y="110"/>
                    </a:lnTo>
                    <a:lnTo>
                      <a:pt x="52" y="112"/>
                    </a:lnTo>
                    <a:lnTo>
                      <a:pt x="52" y="112"/>
                    </a:lnTo>
                    <a:lnTo>
                      <a:pt x="52" y="114"/>
                    </a:lnTo>
                    <a:lnTo>
                      <a:pt x="52" y="114"/>
                    </a:lnTo>
                    <a:lnTo>
                      <a:pt x="52" y="122"/>
                    </a:lnTo>
                    <a:lnTo>
                      <a:pt x="50" y="126"/>
                    </a:lnTo>
                    <a:lnTo>
                      <a:pt x="48" y="128"/>
                    </a:lnTo>
                    <a:lnTo>
                      <a:pt x="48" y="128"/>
                    </a:lnTo>
                    <a:lnTo>
                      <a:pt x="48" y="132"/>
                    </a:lnTo>
                    <a:lnTo>
                      <a:pt x="46" y="136"/>
                    </a:lnTo>
                    <a:lnTo>
                      <a:pt x="46" y="136"/>
                    </a:lnTo>
                    <a:lnTo>
                      <a:pt x="46" y="138"/>
                    </a:lnTo>
                    <a:lnTo>
                      <a:pt x="44" y="138"/>
                    </a:lnTo>
                    <a:lnTo>
                      <a:pt x="44" y="138"/>
                    </a:lnTo>
                    <a:lnTo>
                      <a:pt x="26" y="136"/>
                    </a:lnTo>
                    <a:lnTo>
                      <a:pt x="26" y="136"/>
                    </a:lnTo>
                    <a:lnTo>
                      <a:pt x="24" y="134"/>
                    </a:lnTo>
                    <a:lnTo>
                      <a:pt x="24" y="128"/>
                    </a:lnTo>
                    <a:lnTo>
                      <a:pt x="24" y="128"/>
                    </a:lnTo>
                    <a:lnTo>
                      <a:pt x="26" y="124"/>
                    </a:lnTo>
                    <a:lnTo>
                      <a:pt x="26" y="120"/>
                    </a:lnTo>
                    <a:lnTo>
                      <a:pt x="26" y="120"/>
                    </a:lnTo>
                    <a:lnTo>
                      <a:pt x="26" y="116"/>
                    </a:lnTo>
                    <a:lnTo>
                      <a:pt x="24" y="114"/>
                    </a:lnTo>
                    <a:lnTo>
                      <a:pt x="24" y="114"/>
                    </a:lnTo>
                    <a:lnTo>
                      <a:pt x="20" y="104"/>
                    </a:lnTo>
                    <a:lnTo>
                      <a:pt x="16" y="96"/>
                    </a:lnTo>
                    <a:lnTo>
                      <a:pt x="14" y="86"/>
                    </a:lnTo>
                    <a:lnTo>
                      <a:pt x="14" y="76"/>
                    </a:lnTo>
                    <a:lnTo>
                      <a:pt x="14" y="76"/>
                    </a:lnTo>
                    <a:lnTo>
                      <a:pt x="16" y="68"/>
                    </a:lnTo>
                    <a:lnTo>
                      <a:pt x="18" y="60"/>
                    </a:lnTo>
                    <a:lnTo>
                      <a:pt x="22" y="52"/>
                    </a:lnTo>
                    <a:lnTo>
                      <a:pt x="30" y="46"/>
                    </a:lnTo>
                    <a:lnTo>
                      <a:pt x="30" y="46"/>
                    </a:lnTo>
                    <a:lnTo>
                      <a:pt x="42" y="38"/>
                    </a:lnTo>
                    <a:lnTo>
                      <a:pt x="56" y="34"/>
                    </a:lnTo>
                    <a:lnTo>
                      <a:pt x="56" y="34"/>
                    </a:lnTo>
                    <a:lnTo>
                      <a:pt x="58" y="34"/>
                    </a:lnTo>
                    <a:lnTo>
                      <a:pt x="58" y="34"/>
                    </a:lnTo>
                    <a:lnTo>
                      <a:pt x="46" y="48"/>
                    </a:lnTo>
                    <a:lnTo>
                      <a:pt x="46" y="48"/>
                    </a:lnTo>
                    <a:lnTo>
                      <a:pt x="42" y="54"/>
                    </a:lnTo>
                    <a:lnTo>
                      <a:pt x="40" y="60"/>
                    </a:lnTo>
                    <a:lnTo>
                      <a:pt x="40" y="60"/>
                    </a:lnTo>
                    <a:lnTo>
                      <a:pt x="40" y="62"/>
                    </a:lnTo>
                    <a:lnTo>
                      <a:pt x="40" y="66"/>
                    </a:lnTo>
                    <a:lnTo>
                      <a:pt x="44" y="72"/>
                    </a:lnTo>
                    <a:lnTo>
                      <a:pt x="44" y="72"/>
                    </a:lnTo>
                    <a:lnTo>
                      <a:pt x="48" y="78"/>
                    </a:lnTo>
                    <a:lnTo>
                      <a:pt x="48" y="82"/>
                    </a:lnTo>
                    <a:lnTo>
                      <a:pt x="48" y="86"/>
                    </a:lnTo>
                    <a:lnTo>
                      <a:pt x="48" y="86"/>
                    </a:lnTo>
                    <a:lnTo>
                      <a:pt x="48" y="90"/>
                    </a:lnTo>
                    <a:lnTo>
                      <a:pt x="48" y="90"/>
                    </a:lnTo>
                    <a:lnTo>
                      <a:pt x="54" y="96"/>
                    </a:lnTo>
                    <a:lnTo>
                      <a:pt x="58" y="98"/>
                    </a:lnTo>
                    <a:lnTo>
                      <a:pt x="62" y="98"/>
                    </a:lnTo>
                    <a:lnTo>
                      <a:pt x="62" y="98"/>
                    </a:lnTo>
                    <a:lnTo>
                      <a:pt x="66" y="98"/>
                    </a:lnTo>
                    <a:lnTo>
                      <a:pt x="72" y="94"/>
                    </a:lnTo>
                    <a:lnTo>
                      <a:pt x="72" y="94"/>
                    </a:lnTo>
                    <a:lnTo>
                      <a:pt x="82" y="90"/>
                    </a:lnTo>
                    <a:lnTo>
                      <a:pt x="92" y="86"/>
                    </a:lnTo>
                    <a:lnTo>
                      <a:pt x="92" y="86"/>
                    </a:lnTo>
                    <a:lnTo>
                      <a:pt x="94" y="84"/>
                    </a:lnTo>
                    <a:lnTo>
                      <a:pt x="94" y="84"/>
                    </a:lnTo>
                    <a:lnTo>
                      <a:pt x="96" y="78"/>
                    </a:lnTo>
                    <a:lnTo>
                      <a:pt x="96" y="70"/>
                    </a:lnTo>
                    <a:lnTo>
                      <a:pt x="94" y="58"/>
                    </a:lnTo>
                    <a:lnTo>
                      <a:pt x="94" y="58"/>
                    </a:lnTo>
                    <a:lnTo>
                      <a:pt x="92" y="42"/>
                    </a:lnTo>
                    <a:lnTo>
                      <a:pt x="92" y="42"/>
                    </a:lnTo>
                    <a:lnTo>
                      <a:pt x="92" y="60"/>
                    </a:lnTo>
                    <a:lnTo>
                      <a:pt x="92" y="60"/>
                    </a:lnTo>
                    <a:lnTo>
                      <a:pt x="92" y="80"/>
                    </a:lnTo>
                    <a:lnTo>
                      <a:pt x="92" y="80"/>
                    </a:lnTo>
                    <a:lnTo>
                      <a:pt x="90" y="82"/>
                    </a:lnTo>
                    <a:lnTo>
                      <a:pt x="86" y="84"/>
                    </a:lnTo>
                    <a:lnTo>
                      <a:pt x="86" y="84"/>
                    </a:lnTo>
                    <a:lnTo>
                      <a:pt x="78" y="88"/>
                    </a:lnTo>
                    <a:lnTo>
                      <a:pt x="70" y="92"/>
                    </a:lnTo>
                    <a:lnTo>
                      <a:pt x="70" y="92"/>
                    </a:lnTo>
                    <a:lnTo>
                      <a:pt x="62" y="94"/>
                    </a:lnTo>
                    <a:lnTo>
                      <a:pt x="62" y="94"/>
                    </a:lnTo>
                    <a:lnTo>
                      <a:pt x="56" y="92"/>
                    </a:lnTo>
                    <a:lnTo>
                      <a:pt x="52" y="88"/>
                    </a:lnTo>
                    <a:lnTo>
                      <a:pt x="52" y="88"/>
                    </a:lnTo>
                    <a:lnTo>
                      <a:pt x="52" y="86"/>
                    </a:lnTo>
                    <a:lnTo>
                      <a:pt x="52" y="84"/>
                    </a:lnTo>
                    <a:lnTo>
                      <a:pt x="52" y="84"/>
                    </a:lnTo>
                    <a:lnTo>
                      <a:pt x="56" y="76"/>
                    </a:lnTo>
                    <a:lnTo>
                      <a:pt x="56" y="76"/>
                    </a:lnTo>
                    <a:lnTo>
                      <a:pt x="58" y="68"/>
                    </a:lnTo>
                    <a:lnTo>
                      <a:pt x="58" y="68"/>
                    </a:lnTo>
                    <a:lnTo>
                      <a:pt x="52" y="76"/>
                    </a:lnTo>
                    <a:lnTo>
                      <a:pt x="52" y="76"/>
                    </a:lnTo>
                    <a:lnTo>
                      <a:pt x="44" y="64"/>
                    </a:lnTo>
                    <a:lnTo>
                      <a:pt x="44" y="64"/>
                    </a:lnTo>
                    <a:lnTo>
                      <a:pt x="44" y="62"/>
                    </a:lnTo>
                    <a:lnTo>
                      <a:pt x="44" y="62"/>
                    </a:lnTo>
                    <a:lnTo>
                      <a:pt x="46" y="54"/>
                    </a:lnTo>
                    <a:lnTo>
                      <a:pt x="50" y="48"/>
                    </a:lnTo>
                    <a:lnTo>
                      <a:pt x="50" y="48"/>
                    </a:lnTo>
                    <a:lnTo>
                      <a:pt x="72" y="24"/>
                    </a:lnTo>
                    <a:lnTo>
                      <a:pt x="72" y="24"/>
                    </a:lnTo>
                    <a:lnTo>
                      <a:pt x="74" y="22"/>
                    </a:lnTo>
                    <a:lnTo>
                      <a:pt x="78" y="22"/>
                    </a:lnTo>
                    <a:lnTo>
                      <a:pt x="86" y="20"/>
                    </a:lnTo>
                    <a:lnTo>
                      <a:pt x="86" y="20"/>
                    </a:lnTo>
                    <a:lnTo>
                      <a:pt x="90" y="18"/>
                    </a:lnTo>
                    <a:lnTo>
                      <a:pt x="90" y="18"/>
                    </a:lnTo>
                    <a:lnTo>
                      <a:pt x="82" y="18"/>
                    </a:lnTo>
                    <a:close/>
                    <a:moveTo>
                      <a:pt x="112" y="0"/>
                    </a:moveTo>
                    <a:lnTo>
                      <a:pt x="112" y="0"/>
                    </a:lnTo>
                    <a:lnTo>
                      <a:pt x="104" y="0"/>
                    </a:lnTo>
                    <a:lnTo>
                      <a:pt x="98" y="2"/>
                    </a:lnTo>
                    <a:lnTo>
                      <a:pt x="90" y="6"/>
                    </a:lnTo>
                    <a:lnTo>
                      <a:pt x="84" y="10"/>
                    </a:lnTo>
                    <a:lnTo>
                      <a:pt x="84" y="10"/>
                    </a:lnTo>
                    <a:lnTo>
                      <a:pt x="78" y="16"/>
                    </a:lnTo>
                    <a:lnTo>
                      <a:pt x="76" y="18"/>
                    </a:lnTo>
                    <a:lnTo>
                      <a:pt x="72" y="20"/>
                    </a:lnTo>
                    <a:lnTo>
                      <a:pt x="72" y="20"/>
                    </a:lnTo>
                    <a:lnTo>
                      <a:pt x="70" y="22"/>
                    </a:lnTo>
                    <a:lnTo>
                      <a:pt x="70" y="22"/>
                    </a:lnTo>
                    <a:lnTo>
                      <a:pt x="62" y="28"/>
                    </a:lnTo>
                    <a:lnTo>
                      <a:pt x="52" y="30"/>
                    </a:lnTo>
                    <a:lnTo>
                      <a:pt x="52" y="30"/>
                    </a:lnTo>
                    <a:lnTo>
                      <a:pt x="42" y="34"/>
                    </a:lnTo>
                    <a:lnTo>
                      <a:pt x="32" y="38"/>
                    </a:lnTo>
                    <a:lnTo>
                      <a:pt x="24" y="46"/>
                    </a:lnTo>
                    <a:lnTo>
                      <a:pt x="16" y="54"/>
                    </a:lnTo>
                    <a:lnTo>
                      <a:pt x="16" y="54"/>
                    </a:lnTo>
                    <a:lnTo>
                      <a:pt x="12" y="60"/>
                    </a:lnTo>
                    <a:lnTo>
                      <a:pt x="12" y="60"/>
                    </a:lnTo>
                    <a:lnTo>
                      <a:pt x="6" y="62"/>
                    </a:lnTo>
                    <a:lnTo>
                      <a:pt x="6" y="62"/>
                    </a:lnTo>
                    <a:lnTo>
                      <a:pt x="10" y="54"/>
                    </a:lnTo>
                    <a:lnTo>
                      <a:pt x="10" y="54"/>
                    </a:lnTo>
                    <a:lnTo>
                      <a:pt x="12" y="54"/>
                    </a:lnTo>
                    <a:lnTo>
                      <a:pt x="12" y="54"/>
                    </a:lnTo>
                    <a:lnTo>
                      <a:pt x="12" y="48"/>
                    </a:lnTo>
                    <a:lnTo>
                      <a:pt x="12" y="48"/>
                    </a:lnTo>
                    <a:lnTo>
                      <a:pt x="10" y="44"/>
                    </a:lnTo>
                    <a:lnTo>
                      <a:pt x="10" y="44"/>
                    </a:lnTo>
                    <a:lnTo>
                      <a:pt x="2" y="48"/>
                    </a:lnTo>
                    <a:lnTo>
                      <a:pt x="0" y="52"/>
                    </a:lnTo>
                    <a:lnTo>
                      <a:pt x="0" y="56"/>
                    </a:lnTo>
                    <a:lnTo>
                      <a:pt x="0" y="56"/>
                    </a:lnTo>
                    <a:lnTo>
                      <a:pt x="0" y="62"/>
                    </a:lnTo>
                    <a:lnTo>
                      <a:pt x="2" y="66"/>
                    </a:lnTo>
                    <a:lnTo>
                      <a:pt x="2" y="66"/>
                    </a:lnTo>
                    <a:lnTo>
                      <a:pt x="6" y="70"/>
                    </a:lnTo>
                    <a:lnTo>
                      <a:pt x="10" y="72"/>
                    </a:lnTo>
                    <a:lnTo>
                      <a:pt x="10" y="72"/>
                    </a:lnTo>
                    <a:lnTo>
                      <a:pt x="10" y="84"/>
                    </a:lnTo>
                    <a:lnTo>
                      <a:pt x="10" y="84"/>
                    </a:lnTo>
                    <a:lnTo>
                      <a:pt x="12" y="88"/>
                    </a:lnTo>
                    <a:lnTo>
                      <a:pt x="10" y="94"/>
                    </a:lnTo>
                    <a:lnTo>
                      <a:pt x="8" y="98"/>
                    </a:lnTo>
                    <a:lnTo>
                      <a:pt x="4" y="100"/>
                    </a:lnTo>
                    <a:lnTo>
                      <a:pt x="4" y="100"/>
                    </a:lnTo>
                    <a:lnTo>
                      <a:pt x="2" y="106"/>
                    </a:lnTo>
                    <a:lnTo>
                      <a:pt x="2" y="112"/>
                    </a:lnTo>
                    <a:lnTo>
                      <a:pt x="2" y="112"/>
                    </a:lnTo>
                    <a:lnTo>
                      <a:pt x="4" y="116"/>
                    </a:lnTo>
                    <a:lnTo>
                      <a:pt x="8" y="120"/>
                    </a:lnTo>
                    <a:lnTo>
                      <a:pt x="8" y="120"/>
                    </a:lnTo>
                    <a:lnTo>
                      <a:pt x="14" y="124"/>
                    </a:lnTo>
                    <a:lnTo>
                      <a:pt x="22" y="126"/>
                    </a:lnTo>
                    <a:lnTo>
                      <a:pt x="22" y="126"/>
                    </a:lnTo>
                    <a:lnTo>
                      <a:pt x="20" y="130"/>
                    </a:lnTo>
                    <a:lnTo>
                      <a:pt x="20" y="130"/>
                    </a:lnTo>
                    <a:lnTo>
                      <a:pt x="20" y="134"/>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0" y="130"/>
                    </a:lnTo>
                    <a:lnTo>
                      <a:pt x="50" y="130"/>
                    </a:lnTo>
                    <a:lnTo>
                      <a:pt x="56" y="118"/>
                    </a:lnTo>
                    <a:lnTo>
                      <a:pt x="56" y="118"/>
                    </a:lnTo>
                    <a:lnTo>
                      <a:pt x="68" y="118"/>
                    </a:lnTo>
                    <a:lnTo>
                      <a:pt x="68" y="118"/>
                    </a:lnTo>
                    <a:lnTo>
                      <a:pt x="64" y="122"/>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6"/>
                    </a:lnTo>
                    <a:lnTo>
                      <a:pt x="122" y="122"/>
                    </a:lnTo>
                    <a:lnTo>
                      <a:pt x="122" y="122"/>
                    </a:lnTo>
                    <a:lnTo>
                      <a:pt x="122" y="114"/>
                    </a:lnTo>
                    <a:lnTo>
                      <a:pt x="122" y="114"/>
                    </a:lnTo>
                    <a:lnTo>
                      <a:pt x="120" y="104"/>
                    </a:lnTo>
                    <a:lnTo>
                      <a:pt x="120" y="104"/>
                    </a:lnTo>
                    <a:lnTo>
                      <a:pt x="116" y="94"/>
                    </a:lnTo>
                    <a:lnTo>
                      <a:pt x="116" y="94"/>
                    </a:lnTo>
                    <a:lnTo>
                      <a:pt x="118" y="94"/>
                    </a:lnTo>
                    <a:lnTo>
                      <a:pt x="118" y="94"/>
                    </a:lnTo>
                    <a:lnTo>
                      <a:pt x="124" y="100"/>
                    </a:lnTo>
                    <a:lnTo>
                      <a:pt x="124" y="100"/>
                    </a:lnTo>
                    <a:lnTo>
                      <a:pt x="128" y="102"/>
                    </a:lnTo>
                    <a:lnTo>
                      <a:pt x="132" y="104"/>
                    </a:lnTo>
                    <a:lnTo>
                      <a:pt x="132" y="104"/>
                    </a:lnTo>
                    <a:lnTo>
                      <a:pt x="140" y="102"/>
                    </a:lnTo>
                    <a:lnTo>
                      <a:pt x="144" y="98"/>
                    </a:lnTo>
                    <a:lnTo>
                      <a:pt x="146" y="94"/>
                    </a:lnTo>
                    <a:lnTo>
                      <a:pt x="146" y="94"/>
                    </a:lnTo>
                    <a:lnTo>
                      <a:pt x="148" y="90"/>
                    </a:lnTo>
                    <a:lnTo>
                      <a:pt x="150" y="90"/>
                    </a:lnTo>
                    <a:lnTo>
                      <a:pt x="150" y="90"/>
                    </a:lnTo>
                    <a:lnTo>
                      <a:pt x="154" y="90"/>
                    </a:lnTo>
                    <a:lnTo>
                      <a:pt x="154" y="90"/>
                    </a:lnTo>
                    <a:lnTo>
                      <a:pt x="158" y="90"/>
                    </a:lnTo>
                    <a:lnTo>
                      <a:pt x="158" y="90"/>
                    </a:lnTo>
                    <a:lnTo>
                      <a:pt x="166" y="88"/>
                    </a:lnTo>
                    <a:lnTo>
                      <a:pt x="174" y="86"/>
                    </a:lnTo>
                    <a:lnTo>
                      <a:pt x="180" y="78"/>
                    </a:lnTo>
                    <a:lnTo>
                      <a:pt x="184" y="70"/>
                    </a:lnTo>
                    <a:lnTo>
                      <a:pt x="184" y="70"/>
                    </a:lnTo>
                    <a:lnTo>
                      <a:pt x="188" y="58"/>
                    </a:lnTo>
                    <a:lnTo>
                      <a:pt x="186" y="46"/>
                    </a:lnTo>
                    <a:lnTo>
                      <a:pt x="186" y="46"/>
                    </a:lnTo>
                    <a:lnTo>
                      <a:pt x="186" y="36"/>
                    </a:lnTo>
                    <a:lnTo>
                      <a:pt x="182" y="28"/>
                    </a:lnTo>
                    <a:lnTo>
                      <a:pt x="182" y="28"/>
                    </a:lnTo>
                    <a:lnTo>
                      <a:pt x="180" y="24"/>
                    </a:lnTo>
                    <a:lnTo>
                      <a:pt x="176" y="22"/>
                    </a:lnTo>
                    <a:lnTo>
                      <a:pt x="176" y="22"/>
                    </a:lnTo>
                    <a:lnTo>
                      <a:pt x="172"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0" name="Freeform 1347"/>
              <p:cNvSpPr>
                <a:spLocks/>
              </p:cNvSpPr>
              <p:nvPr/>
            </p:nvSpPr>
            <p:spPr bwMode="auto">
              <a:xfrm>
                <a:off x="6802" y="1868"/>
                <a:ext cx="18" cy="28"/>
              </a:xfrm>
              <a:custGeom>
                <a:avLst/>
                <a:gdLst>
                  <a:gd name="T0" fmla="*/ 6 w 18"/>
                  <a:gd name="T1" fmla="*/ 18 h 28"/>
                  <a:gd name="T2" fmla="*/ 6 w 18"/>
                  <a:gd name="T3" fmla="*/ 18 h 28"/>
                  <a:gd name="T4" fmla="*/ 14 w 18"/>
                  <a:gd name="T5" fmla="*/ 0 h 28"/>
                  <a:gd name="T6" fmla="*/ 14 w 18"/>
                  <a:gd name="T7" fmla="*/ 0 h 28"/>
                  <a:gd name="T8" fmla="*/ 14 w 18"/>
                  <a:gd name="T9" fmla="*/ 0 h 28"/>
                  <a:gd name="T10" fmla="*/ 14 w 18"/>
                  <a:gd name="T11" fmla="*/ 0 h 28"/>
                  <a:gd name="T12" fmla="*/ 14 w 18"/>
                  <a:gd name="T13" fmla="*/ 0 h 28"/>
                  <a:gd name="T14" fmla="*/ 14 w 18"/>
                  <a:gd name="T15" fmla="*/ 0 h 28"/>
                  <a:gd name="T16" fmla="*/ 16 w 18"/>
                  <a:gd name="T17" fmla="*/ 10 h 28"/>
                  <a:gd name="T18" fmla="*/ 16 w 18"/>
                  <a:gd name="T19" fmla="*/ 10 h 28"/>
                  <a:gd name="T20" fmla="*/ 18 w 18"/>
                  <a:gd name="T21" fmla="*/ 24 h 28"/>
                  <a:gd name="T22" fmla="*/ 18 w 18"/>
                  <a:gd name="T23" fmla="*/ 24 h 28"/>
                  <a:gd name="T24" fmla="*/ 16 w 18"/>
                  <a:gd name="T25" fmla="*/ 26 h 28"/>
                  <a:gd name="T26" fmla="*/ 16 w 18"/>
                  <a:gd name="T27" fmla="*/ 26 h 28"/>
                  <a:gd name="T28" fmla="*/ 10 w 18"/>
                  <a:gd name="T29" fmla="*/ 28 h 28"/>
                  <a:gd name="T30" fmla="*/ 10 w 18"/>
                  <a:gd name="T31" fmla="*/ 28 h 28"/>
                  <a:gd name="T32" fmla="*/ 0 w 18"/>
                  <a:gd name="T33" fmla="*/ 26 h 28"/>
                  <a:gd name="T34" fmla="*/ 0 w 18"/>
                  <a:gd name="T35" fmla="*/ 26 h 28"/>
                  <a:gd name="T36" fmla="*/ 6 w 18"/>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6" y="18"/>
                    </a:moveTo>
                    <a:lnTo>
                      <a:pt x="6" y="18"/>
                    </a:lnTo>
                    <a:lnTo>
                      <a:pt x="14" y="0"/>
                    </a:lnTo>
                    <a:lnTo>
                      <a:pt x="14" y="0"/>
                    </a:lnTo>
                    <a:lnTo>
                      <a:pt x="14" y="0"/>
                    </a:lnTo>
                    <a:lnTo>
                      <a:pt x="14" y="0"/>
                    </a:lnTo>
                    <a:lnTo>
                      <a:pt x="14" y="0"/>
                    </a:lnTo>
                    <a:lnTo>
                      <a:pt x="14" y="0"/>
                    </a:lnTo>
                    <a:lnTo>
                      <a:pt x="16" y="10"/>
                    </a:lnTo>
                    <a:lnTo>
                      <a:pt x="16" y="10"/>
                    </a:lnTo>
                    <a:lnTo>
                      <a:pt x="18" y="24"/>
                    </a:lnTo>
                    <a:lnTo>
                      <a:pt x="18" y="24"/>
                    </a:lnTo>
                    <a:lnTo>
                      <a:pt x="16" y="26"/>
                    </a:lnTo>
                    <a:lnTo>
                      <a:pt x="16" y="26"/>
                    </a:lnTo>
                    <a:lnTo>
                      <a:pt x="10" y="28"/>
                    </a:lnTo>
                    <a:lnTo>
                      <a:pt x="10" y="28"/>
                    </a:lnTo>
                    <a:lnTo>
                      <a:pt x="0" y="26"/>
                    </a:lnTo>
                    <a:lnTo>
                      <a:pt x="0" y="26"/>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1" name="Freeform 1348"/>
              <p:cNvSpPr>
                <a:spLocks/>
              </p:cNvSpPr>
              <p:nvPr/>
            </p:nvSpPr>
            <p:spPr bwMode="auto">
              <a:xfrm>
                <a:off x="6704" y="1864"/>
                <a:ext cx="18" cy="24"/>
              </a:xfrm>
              <a:custGeom>
                <a:avLst/>
                <a:gdLst>
                  <a:gd name="T0" fmla="*/ 4 w 18"/>
                  <a:gd name="T1" fmla="*/ 6 h 24"/>
                  <a:gd name="T2" fmla="*/ 4 w 18"/>
                  <a:gd name="T3" fmla="*/ 6 h 24"/>
                  <a:gd name="T4" fmla="*/ 10 w 18"/>
                  <a:gd name="T5" fmla="*/ 0 h 24"/>
                  <a:gd name="T6" fmla="*/ 10 w 18"/>
                  <a:gd name="T7" fmla="*/ 0 h 24"/>
                  <a:gd name="T8" fmla="*/ 18 w 18"/>
                  <a:gd name="T9" fmla="*/ 18 h 24"/>
                  <a:gd name="T10" fmla="*/ 18 w 18"/>
                  <a:gd name="T11" fmla="*/ 18 h 24"/>
                  <a:gd name="T12" fmla="*/ 18 w 18"/>
                  <a:gd name="T13" fmla="*/ 22 h 24"/>
                  <a:gd name="T14" fmla="*/ 16 w 18"/>
                  <a:gd name="T15" fmla="*/ 24 h 24"/>
                  <a:gd name="T16" fmla="*/ 16 w 18"/>
                  <a:gd name="T17" fmla="*/ 24 h 24"/>
                  <a:gd name="T18" fmla="*/ 14 w 18"/>
                  <a:gd name="T19" fmla="*/ 24 h 24"/>
                  <a:gd name="T20" fmla="*/ 14 w 18"/>
                  <a:gd name="T21" fmla="*/ 24 h 24"/>
                  <a:gd name="T22" fmla="*/ 14 w 18"/>
                  <a:gd name="T23" fmla="*/ 24 h 24"/>
                  <a:gd name="T24" fmla="*/ 14 w 18"/>
                  <a:gd name="T25" fmla="*/ 24 h 24"/>
                  <a:gd name="T26" fmla="*/ 10 w 18"/>
                  <a:gd name="T27" fmla="*/ 22 h 24"/>
                  <a:gd name="T28" fmla="*/ 4 w 18"/>
                  <a:gd name="T29" fmla="*/ 18 h 24"/>
                  <a:gd name="T30" fmla="*/ 2 w 18"/>
                  <a:gd name="T31" fmla="*/ 14 h 24"/>
                  <a:gd name="T32" fmla="*/ 0 w 18"/>
                  <a:gd name="T33" fmla="*/ 10 h 24"/>
                  <a:gd name="T34" fmla="*/ 0 w 18"/>
                  <a:gd name="T35" fmla="*/ 10 h 24"/>
                  <a:gd name="T36" fmla="*/ 2 w 18"/>
                  <a:gd name="T37" fmla="*/ 6 h 24"/>
                  <a:gd name="T38" fmla="*/ 2 w 18"/>
                  <a:gd name="T39" fmla="*/ 6 h 24"/>
                  <a:gd name="T40" fmla="*/ 4 w 18"/>
                  <a:gd name="T41"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4" y="6"/>
                    </a:moveTo>
                    <a:lnTo>
                      <a:pt x="4" y="6"/>
                    </a:lnTo>
                    <a:lnTo>
                      <a:pt x="10" y="0"/>
                    </a:lnTo>
                    <a:lnTo>
                      <a:pt x="10" y="0"/>
                    </a:lnTo>
                    <a:lnTo>
                      <a:pt x="18" y="18"/>
                    </a:lnTo>
                    <a:lnTo>
                      <a:pt x="18" y="18"/>
                    </a:lnTo>
                    <a:lnTo>
                      <a:pt x="18" y="22"/>
                    </a:lnTo>
                    <a:lnTo>
                      <a:pt x="16" y="24"/>
                    </a:lnTo>
                    <a:lnTo>
                      <a:pt x="16" y="24"/>
                    </a:lnTo>
                    <a:lnTo>
                      <a:pt x="14" y="24"/>
                    </a:lnTo>
                    <a:lnTo>
                      <a:pt x="14" y="24"/>
                    </a:lnTo>
                    <a:lnTo>
                      <a:pt x="14" y="24"/>
                    </a:lnTo>
                    <a:lnTo>
                      <a:pt x="14" y="24"/>
                    </a:lnTo>
                    <a:lnTo>
                      <a:pt x="10" y="22"/>
                    </a:lnTo>
                    <a:lnTo>
                      <a:pt x="4" y="18"/>
                    </a:lnTo>
                    <a:lnTo>
                      <a:pt x="2" y="14"/>
                    </a:lnTo>
                    <a:lnTo>
                      <a:pt x="0" y="10"/>
                    </a:lnTo>
                    <a:lnTo>
                      <a:pt x="0" y="10"/>
                    </a:lnTo>
                    <a:lnTo>
                      <a:pt x="2" y="6"/>
                    </a:lnTo>
                    <a:lnTo>
                      <a:pt x="2" y="6"/>
                    </a:lnTo>
                    <a:lnTo>
                      <a:pt x="4"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2" name="Freeform 1349"/>
              <p:cNvSpPr>
                <a:spLocks/>
              </p:cNvSpPr>
              <p:nvPr/>
            </p:nvSpPr>
            <p:spPr bwMode="auto">
              <a:xfrm>
                <a:off x="6702" y="1814"/>
                <a:ext cx="12" cy="20"/>
              </a:xfrm>
              <a:custGeom>
                <a:avLst/>
                <a:gdLst>
                  <a:gd name="T0" fmla="*/ 6 w 12"/>
                  <a:gd name="T1" fmla="*/ 0 h 20"/>
                  <a:gd name="T2" fmla="*/ 6 w 12"/>
                  <a:gd name="T3" fmla="*/ 0 h 20"/>
                  <a:gd name="T4" fmla="*/ 6 w 12"/>
                  <a:gd name="T5" fmla="*/ 0 h 20"/>
                  <a:gd name="T6" fmla="*/ 6 w 12"/>
                  <a:gd name="T7" fmla="*/ 0 h 20"/>
                  <a:gd name="T8" fmla="*/ 2 w 12"/>
                  <a:gd name="T9" fmla="*/ 12 h 20"/>
                  <a:gd name="T10" fmla="*/ 2 w 12"/>
                  <a:gd name="T11" fmla="*/ 12 h 20"/>
                  <a:gd name="T12" fmla="*/ 4 w 12"/>
                  <a:gd name="T13" fmla="*/ 16 h 20"/>
                  <a:gd name="T14" fmla="*/ 4 w 12"/>
                  <a:gd name="T15" fmla="*/ 16 h 20"/>
                  <a:gd name="T16" fmla="*/ 6 w 12"/>
                  <a:gd name="T17" fmla="*/ 16 h 20"/>
                  <a:gd name="T18" fmla="*/ 6 w 12"/>
                  <a:gd name="T19" fmla="*/ 16 h 20"/>
                  <a:gd name="T20" fmla="*/ 8 w 12"/>
                  <a:gd name="T21" fmla="*/ 16 h 20"/>
                  <a:gd name="T22" fmla="*/ 8 w 12"/>
                  <a:gd name="T23" fmla="*/ 16 h 20"/>
                  <a:gd name="T24" fmla="*/ 10 w 12"/>
                  <a:gd name="T25" fmla="*/ 14 h 20"/>
                  <a:gd name="T26" fmla="*/ 10 w 12"/>
                  <a:gd name="T27" fmla="*/ 14 h 20"/>
                  <a:gd name="T28" fmla="*/ 10 w 12"/>
                  <a:gd name="T29" fmla="*/ 16 h 20"/>
                  <a:gd name="T30" fmla="*/ 10 w 12"/>
                  <a:gd name="T31" fmla="*/ 16 h 20"/>
                  <a:gd name="T32" fmla="*/ 12 w 12"/>
                  <a:gd name="T33" fmla="*/ 14 h 20"/>
                  <a:gd name="T34" fmla="*/ 12 w 12"/>
                  <a:gd name="T35" fmla="*/ 14 h 20"/>
                  <a:gd name="T36" fmla="*/ 10 w 12"/>
                  <a:gd name="T37" fmla="*/ 18 h 20"/>
                  <a:gd name="T38" fmla="*/ 6 w 12"/>
                  <a:gd name="T39" fmla="*/ 20 h 20"/>
                  <a:gd name="T40" fmla="*/ 6 w 12"/>
                  <a:gd name="T41" fmla="*/ 20 h 20"/>
                  <a:gd name="T42" fmla="*/ 6 w 12"/>
                  <a:gd name="T43" fmla="*/ 20 h 20"/>
                  <a:gd name="T44" fmla="*/ 6 w 12"/>
                  <a:gd name="T45" fmla="*/ 20 h 20"/>
                  <a:gd name="T46" fmla="*/ 4 w 12"/>
                  <a:gd name="T47" fmla="*/ 20 h 20"/>
                  <a:gd name="T48" fmla="*/ 4 w 12"/>
                  <a:gd name="T49" fmla="*/ 20 h 20"/>
                  <a:gd name="T50" fmla="*/ 2 w 12"/>
                  <a:gd name="T51" fmla="*/ 18 h 20"/>
                  <a:gd name="T52" fmla="*/ 0 w 12"/>
                  <a:gd name="T53" fmla="*/ 12 h 20"/>
                  <a:gd name="T54" fmla="*/ 0 w 12"/>
                  <a:gd name="T55" fmla="*/ 8 h 20"/>
                  <a:gd name="T56" fmla="*/ 0 w 12"/>
                  <a:gd name="T57" fmla="*/ 6 h 20"/>
                  <a:gd name="T58" fmla="*/ 0 w 12"/>
                  <a:gd name="T59" fmla="*/ 6 h 20"/>
                  <a:gd name="T60" fmla="*/ 4 w 12"/>
                  <a:gd name="T61" fmla="*/ 0 h 20"/>
                  <a:gd name="T62" fmla="*/ 4 w 12"/>
                  <a:gd name="T63" fmla="*/ 0 h 20"/>
                  <a:gd name="T64" fmla="*/ 6 w 12"/>
                  <a:gd name="T65" fmla="*/ 0 h 20"/>
                  <a:gd name="T66" fmla="*/ 6 w 12"/>
                  <a:gd name="T67" fmla="*/ 0 h 20"/>
                  <a:gd name="T68" fmla="*/ 6 w 12"/>
                  <a:gd name="T69" fmla="*/ 0 h 20"/>
                  <a:gd name="T70" fmla="*/ 6 w 12"/>
                  <a:gd name="T71" fmla="*/ 0 h 20"/>
                  <a:gd name="T72" fmla="*/ 6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6" y="0"/>
                    </a:moveTo>
                    <a:lnTo>
                      <a:pt x="6" y="0"/>
                    </a:lnTo>
                    <a:lnTo>
                      <a:pt x="6" y="0"/>
                    </a:lnTo>
                    <a:lnTo>
                      <a:pt x="6" y="0"/>
                    </a:lnTo>
                    <a:lnTo>
                      <a:pt x="2" y="12"/>
                    </a:lnTo>
                    <a:lnTo>
                      <a:pt x="2" y="12"/>
                    </a:lnTo>
                    <a:lnTo>
                      <a:pt x="4" y="16"/>
                    </a:lnTo>
                    <a:lnTo>
                      <a:pt x="4" y="16"/>
                    </a:lnTo>
                    <a:lnTo>
                      <a:pt x="6" y="16"/>
                    </a:lnTo>
                    <a:lnTo>
                      <a:pt x="6" y="16"/>
                    </a:lnTo>
                    <a:lnTo>
                      <a:pt x="8" y="16"/>
                    </a:lnTo>
                    <a:lnTo>
                      <a:pt x="8" y="16"/>
                    </a:lnTo>
                    <a:lnTo>
                      <a:pt x="10" y="14"/>
                    </a:lnTo>
                    <a:lnTo>
                      <a:pt x="10" y="14"/>
                    </a:lnTo>
                    <a:lnTo>
                      <a:pt x="10" y="16"/>
                    </a:lnTo>
                    <a:lnTo>
                      <a:pt x="10" y="16"/>
                    </a:lnTo>
                    <a:lnTo>
                      <a:pt x="12" y="14"/>
                    </a:lnTo>
                    <a:lnTo>
                      <a:pt x="12" y="14"/>
                    </a:lnTo>
                    <a:lnTo>
                      <a:pt x="10" y="18"/>
                    </a:lnTo>
                    <a:lnTo>
                      <a:pt x="6" y="20"/>
                    </a:lnTo>
                    <a:lnTo>
                      <a:pt x="6" y="20"/>
                    </a:lnTo>
                    <a:lnTo>
                      <a:pt x="6" y="20"/>
                    </a:lnTo>
                    <a:lnTo>
                      <a:pt x="6" y="20"/>
                    </a:lnTo>
                    <a:lnTo>
                      <a:pt x="4" y="20"/>
                    </a:lnTo>
                    <a:lnTo>
                      <a:pt x="4" y="20"/>
                    </a:lnTo>
                    <a:lnTo>
                      <a:pt x="2" y="18"/>
                    </a:lnTo>
                    <a:lnTo>
                      <a:pt x="0" y="12"/>
                    </a:lnTo>
                    <a:lnTo>
                      <a:pt x="0" y="8"/>
                    </a:lnTo>
                    <a:lnTo>
                      <a:pt x="0" y="6"/>
                    </a:lnTo>
                    <a:lnTo>
                      <a:pt x="0" y="6"/>
                    </a:lnTo>
                    <a:lnTo>
                      <a:pt x="4" y="0"/>
                    </a:lnTo>
                    <a:lnTo>
                      <a:pt x="4"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3" name="Freeform 1350"/>
              <p:cNvSpPr>
                <a:spLocks/>
              </p:cNvSpPr>
              <p:nvPr/>
            </p:nvSpPr>
            <p:spPr bwMode="auto">
              <a:xfrm>
                <a:off x="6714" y="1768"/>
                <a:ext cx="170" cy="140"/>
              </a:xfrm>
              <a:custGeom>
                <a:avLst/>
                <a:gdLst>
                  <a:gd name="T0" fmla="*/ 74 w 170"/>
                  <a:gd name="T1" fmla="*/ 10 h 140"/>
                  <a:gd name="T2" fmla="*/ 100 w 170"/>
                  <a:gd name="T3" fmla="*/ 0 h 140"/>
                  <a:gd name="T4" fmla="*/ 130 w 170"/>
                  <a:gd name="T5" fmla="*/ 16 h 140"/>
                  <a:gd name="T6" fmla="*/ 136 w 170"/>
                  <a:gd name="T7" fmla="*/ 20 h 140"/>
                  <a:gd name="T8" fmla="*/ 134 w 170"/>
                  <a:gd name="T9" fmla="*/ 32 h 140"/>
                  <a:gd name="T10" fmla="*/ 140 w 170"/>
                  <a:gd name="T11" fmla="*/ 38 h 140"/>
                  <a:gd name="T12" fmla="*/ 144 w 170"/>
                  <a:gd name="T13" fmla="*/ 40 h 140"/>
                  <a:gd name="T14" fmla="*/ 132 w 170"/>
                  <a:gd name="T15" fmla="*/ 50 h 140"/>
                  <a:gd name="T16" fmla="*/ 138 w 170"/>
                  <a:gd name="T17" fmla="*/ 42 h 140"/>
                  <a:gd name="T18" fmla="*/ 136 w 170"/>
                  <a:gd name="T19" fmla="*/ 52 h 140"/>
                  <a:gd name="T20" fmla="*/ 144 w 170"/>
                  <a:gd name="T21" fmla="*/ 44 h 140"/>
                  <a:gd name="T22" fmla="*/ 144 w 170"/>
                  <a:gd name="T23" fmla="*/ 58 h 140"/>
                  <a:gd name="T24" fmla="*/ 146 w 170"/>
                  <a:gd name="T25" fmla="*/ 36 h 140"/>
                  <a:gd name="T26" fmla="*/ 158 w 170"/>
                  <a:gd name="T27" fmla="*/ 26 h 140"/>
                  <a:gd name="T28" fmla="*/ 166 w 170"/>
                  <a:gd name="T29" fmla="*/ 26 h 140"/>
                  <a:gd name="T30" fmla="*/ 170 w 170"/>
                  <a:gd name="T31" fmla="*/ 52 h 140"/>
                  <a:gd name="T32" fmla="*/ 164 w 170"/>
                  <a:gd name="T33" fmla="*/ 76 h 140"/>
                  <a:gd name="T34" fmla="*/ 144 w 170"/>
                  <a:gd name="T35" fmla="*/ 84 h 140"/>
                  <a:gd name="T36" fmla="*/ 116 w 170"/>
                  <a:gd name="T37" fmla="*/ 80 h 140"/>
                  <a:gd name="T38" fmla="*/ 116 w 170"/>
                  <a:gd name="T39" fmla="*/ 94 h 140"/>
                  <a:gd name="T40" fmla="*/ 120 w 170"/>
                  <a:gd name="T41" fmla="*/ 96 h 140"/>
                  <a:gd name="T42" fmla="*/ 128 w 170"/>
                  <a:gd name="T43" fmla="*/ 88 h 140"/>
                  <a:gd name="T44" fmla="*/ 130 w 170"/>
                  <a:gd name="T45" fmla="*/ 90 h 140"/>
                  <a:gd name="T46" fmla="*/ 122 w 170"/>
                  <a:gd name="T47" fmla="*/ 98 h 140"/>
                  <a:gd name="T48" fmla="*/ 112 w 170"/>
                  <a:gd name="T49" fmla="*/ 96 h 140"/>
                  <a:gd name="T50" fmla="*/ 92 w 170"/>
                  <a:gd name="T51" fmla="*/ 84 h 140"/>
                  <a:gd name="T52" fmla="*/ 100 w 170"/>
                  <a:gd name="T53" fmla="*/ 92 h 140"/>
                  <a:gd name="T54" fmla="*/ 84 w 170"/>
                  <a:gd name="T55" fmla="*/ 124 h 140"/>
                  <a:gd name="T56" fmla="*/ 72 w 170"/>
                  <a:gd name="T57" fmla="*/ 136 h 140"/>
                  <a:gd name="T58" fmla="*/ 62 w 170"/>
                  <a:gd name="T59" fmla="*/ 138 h 140"/>
                  <a:gd name="T60" fmla="*/ 54 w 170"/>
                  <a:gd name="T61" fmla="*/ 122 h 140"/>
                  <a:gd name="T62" fmla="*/ 64 w 170"/>
                  <a:gd name="T63" fmla="*/ 116 h 140"/>
                  <a:gd name="T64" fmla="*/ 60 w 170"/>
                  <a:gd name="T65" fmla="*/ 112 h 140"/>
                  <a:gd name="T66" fmla="*/ 52 w 170"/>
                  <a:gd name="T67" fmla="*/ 112 h 140"/>
                  <a:gd name="T68" fmla="*/ 40 w 170"/>
                  <a:gd name="T69" fmla="*/ 110 h 140"/>
                  <a:gd name="T70" fmla="*/ 38 w 170"/>
                  <a:gd name="T71" fmla="*/ 110 h 140"/>
                  <a:gd name="T72" fmla="*/ 36 w 170"/>
                  <a:gd name="T73" fmla="*/ 124 h 140"/>
                  <a:gd name="T74" fmla="*/ 32 w 170"/>
                  <a:gd name="T75" fmla="*/ 134 h 140"/>
                  <a:gd name="T76" fmla="*/ 30 w 170"/>
                  <a:gd name="T77" fmla="*/ 136 h 140"/>
                  <a:gd name="T78" fmla="*/ 10 w 170"/>
                  <a:gd name="T79" fmla="*/ 126 h 140"/>
                  <a:gd name="T80" fmla="*/ 12 w 170"/>
                  <a:gd name="T81" fmla="*/ 118 h 140"/>
                  <a:gd name="T82" fmla="*/ 6 w 170"/>
                  <a:gd name="T83" fmla="*/ 102 h 140"/>
                  <a:gd name="T84" fmla="*/ 0 w 170"/>
                  <a:gd name="T85" fmla="*/ 74 h 140"/>
                  <a:gd name="T86" fmla="*/ 16 w 170"/>
                  <a:gd name="T87" fmla="*/ 44 h 140"/>
                  <a:gd name="T88" fmla="*/ 42 w 170"/>
                  <a:gd name="T89" fmla="*/ 32 h 140"/>
                  <a:gd name="T90" fmla="*/ 32 w 170"/>
                  <a:gd name="T91" fmla="*/ 46 h 140"/>
                  <a:gd name="T92" fmla="*/ 26 w 170"/>
                  <a:gd name="T93" fmla="*/ 60 h 140"/>
                  <a:gd name="T94" fmla="*/ 34 w 170"/>
                  <a:gd name="T95" fmla="*/ 76 h 140"/>
                  <a:gd name="T96" fmla="*/ 34 w 170"/>
                  <a:gd name="T97" fmla="*/ 88 h 140"/>
                  <a:gd name="T98" fmla="*/ 48 w 170"/>
                  <a:gd name="T99" fmla="*/ 96 h 140"/>
                  <a:gd name="T100" fmla="*/ 58 w 170"/>
                  <a:gd name="T101" fmla="*/ 92 h 140"/>
                  <a:gd name="T102" fmla="*/ 80 w 170"/>
                  <a:gd name="T103" fmla="*/ 82 h 140"/>
                  <a:gd name="T104" fmla="*/ 80 w 170"/>
                  <a:gd name="T105" fmla="*/ 56 h 140"/>
                  <a:gd name="T106" fmla="*/ 78 w 170"/>
                  <a:gd name="T107" fmla="*/ 58 h 140"/>
                  <a:gd name="T108" fmla="*/ 76 w 170"/>
                  <a:gd name="T109" fmla="*/ 80 h 140"/>
                  <a:gd name="T110" fmla="*/ 56 w 170"/>
                  <a:gd name="T111" fmla="*/ 90 h 140"/>
                  <a:gd name="T112" fmla="*/ 42 w 170"/>
                  <a:gd name="T113" fmla="*/ 90 h 140"/>
                  <a:gd name="T114" fmla="*/ 38 w 170"/>
                  <a:gd name="T115" fmla="*/ 82 h 140"/>
                  <a:gd name="T116" fmla="*/ 44 w 170"/>
                  <a:gd name="T117" fmla="*/ 66 h 140"/>
                  <a:gd name="T118" fmla="*/ 30 w 170"/>
                  <a:gd name="T119" fmla="*/ 62 h 140"/>
                  <a:gd name="T120" fmla="*/ 32 w 170"/>
                  <a:gd name="T121" fmla="*/ 52 h 140"/>
                  <a:gd name="T122" fmla="*/ 58 w 170"/>
                  <a:gd name="T123" fmla="*/ 22 h 140"/>
                  <a:gd name="T124" fmla="*/ 72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2" y="18"/>
                    </a:lnTo>
                    <a:lnTo>
                      <a:pt x="132" y="18"/>
                    </a:lnTo>
                    <a:lnTo>
                      <a:pt x="136" y="20"/>
                    </a:lnTo>
                    <a:lnTo>
                      <a:pt x="138" y="22"/>
                    </a:lnTo>
                    <a:lnTo>
                      <a:pt x="144" y="30"/>
                    </a:lnTo>
                    <a:lnTo>
                      <a:pt x="144" y="30"/>
                    </a:lnTo>
                    <a:lnTo>
                      <a:pt x="134" y="32"/>
                    </a:lnTo>
                    <a:lnTo>
                      <a:pt x="134" y="32"/>
                    </a:lnTo>
                    <a:lnTo>
                      <a:pt x="136" y="36"/>
                    </a:lnTo>
                    <a:lnTo>
                      <a:pt x="140" y="38"/>
                    </a:lnTo>
                    <a:lnTo>
                      <a:pt x="140" y="38"/>
                    </a:lnTo>
                    <a:lnTo>
                      <a:pt x="142" y="38"/>
                    </a:lnTo>
                    <a:lnTo>
                      <a:pt x="142" y="38"/>
                    </a:lnTo>
                    <a:lnTo>
                      <a:pt x="144" y="40"/>
                    </a:lnTo>
                    <a:lnTo>
                      <a:pt x="144" y="40"/>
                    </a:lnTo>
                    <a:lnTo>
                      <a:pt x="134" y="42"/>
                    </a:lnTo>
                    <a:lnTo>
                      <a:pt x="132" y="46"/>
                    </a:lnTo>
                    <a:lnTo>
                      <a:pt x="132" y="50"/>
                    </a:lnTo>
                    <a:lnTo>
                      <a:pt x="132" y="50"/>
                    </a:lnTo>
                    <a:lnTo>
                      <a:pt x="134" y="46"/>
                    </a:lnTo>
                    <a:lnTo>
                      <a:pt x="134" y="46"/>
                    </a:lnTo>
                    <a:lnTo>
                      <a:pt x="138" y="42"/>
                    </a:lnTo>
                    <a:lnTo>
                      <a:pt x="138" y="42"/>
                    </a:lnTo>
                    <a:lnTo>
                      <a:pt x="136" y="52"/>
                    </a:lnTo>
                    <a:lnTo>
                      <a:pt x="136" y="52"/>
                    </a:lnTo>
                    <a:lnTo>
                      <a:pt x="136" y="52"/>
                    </a:lnTo>
                    <a:lnTo>
                      <a:pt x="136" y="52"/>
                    </a:lnTo>
                    <a:lnTo>
                      <a:pt x="142" y="44"/>
                    </a:lnTo>
                    <a:lnTo>
                      <a:pt x="142" y="44"/>
                    </a:lnTo>
                    <a:lnTo>
                      <a:pt x="144" y="44"/>
                    </a:lnTo>
                    <a:lnTo>
                      <a:pt x="144" y="44"/>
                    </a:lnTo>
                    <a:lnTo>
                      <a:pt x="146" y="46"/>
                    </a:lnTo>
                    <a:lnTo>
                      <a:pt x="146" y="46"/>
                    </a:lnTo>
                    <a:lnTo>
                      <a:pt x="144" y="58"/>
                    </a:lnTo>
                    <a:lnTo>
                      <a:pt x="144" y="58"/>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6" y="26"/>
                    </a:lnTo>
                    <a:lnTo>
                      <a:pt x="166" y="26"/>
                    </a:lnTo>
                    <a:lnTo>
                      <a:pt x="168" y="38"/>
                    </a:lnTo>
                    <a:lnTo>
                      <a:pt x="168" y="38"/>
                    </a:lnTo>
                    <a:lnTo>
                      <a:pt x="170" y="52"/>
                    </a:lnTo>
                    <a:lnTo>
                      <a:pt x="170" y="60"/>
                    </a:lnTo>
                    <a:lnTo>
                      <a:pt x="168" y="66"/>
                    </a:lnTo>
                    <a:lnTo>
                      <a:pt x="168" y="66"/>
                    </a:lnTo>
                    <a:lnTo>
                      <a:pt x="164" y="76"/>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6"/>
                    </a:lnTo>
                    <a:lnTo>
                      <a:pt x="124" y="96"/>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6"/>
                    </a:lnTo>
                    <a:lnTo>
                      <a:pt x="112" y="96"/>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40"/>
                    </a:lnTo>
                    <a:lnTo>
                      <a:pt x="66" y="140"/>
                    </a:lnTo>
                    <a:lnTo>
                      <a:pt x="62" y="138"/>
                    </a:lnTo>
                    <a:lnTo>
                      <a:pt x="62" y="138"/>
                    </a:lnTo>
                    <a:lnTo>
                      <a:pt x="54" y="126"/>
                    </a:lnTo>
                    <a:lnTo>
                      <a:pt x="54" y="126"/>
                    </a:lnTo>
                    <a:lnTo>
                      <a:pt x="54" y="122"/>
                    </a:lnTo>
                    <a:lnTo>
                      <a:pt x="56" y="120"/>
                    </a:lnTo>
                    <a:lnTo>
                      <a:pt x="56" y="120"/>
                    </a:lnTo>
                    <a:lnTo>
                      <a:pt x="64" y="116"/>
                    </a:lnTo>
                    <a:lnTo>
                      <a:pt x="64" y="116"/>
                    </a:lnTo>
                    <a:lnTo>
                      <a:pt x="64" y="106"/>
                    </a:lnTo>
                    <a:lnTo>
                      <a:pt x="64" y="106"/>
                    </a:lnTo>
                    <a:lnTo>
                      <a:pt x="62" y="110"/>
                    </a:lnTo>
                    <a:lnTo>
                      <a:pt x="60" y="112"/>
                    </a:lnTo>
                    <a:lnTo>
                      <a:pt x="56" y="114"/>
                    </a:lnTo>
                    <a:lnTo>
                      <a:pt x="56" y="114"/>
                    </a:lnTo>
                    <a:lnTo>
                      <a:pt x="52" y="112"/>
                    </a:lnTo>
                    <a:lnTo>
                      <a:pt x="52" y="112"/>
                    </a:lnTo>
                    <a:lnTo>
                      <a:pt x="46" y="112"/>
                    </a:lnTo>
                    <a:lnTo>
                      <a:pt x="46" y="112"/>
                    </a:lnTo>
                    <a:lnTo>
                      <a:pt x="42" y="112"/>
                    </a:lnTo>
                    <a:lnTo>
                      <a:pt x="40" y="110"/>
                    </a:lnTo>
                    <a:lnTo>
                      <a:pt x="38" y="108"/>
                    </a:lnTo>
                    <a:lnTo>
                      <a:pt x="38" y="108"/>
                    </a:lnTo>
                    <a:lnTo>
                      <a:pt x="38" y="110"/>
                    </a:lnTo>
                    <a:lnTo>
                      <a:pt x="38" y="110"/>
                    </a:lnTo>
                    <a:lnTo>
                      <a:pt x="38" y="112"/>
                    </a:lnTo>
                    <a:lnTo>
                      <a:pt x="38" y="112"/>
                    </a:lnTo>
                    <a:lnTo>
                      <a:pt x="38" y="120"/>
                    </a:lnTo>
                    <a:lnTo>
                      <a:pt x="36" y="124"/>
                    </a:lnTo>
                    <a:lnTo>
                      <a:pt x="34" y="126"/>
                    </a:lnTo>
                    <a:lnTo>
                      <a:pt x="34" y="126"/>
                    </a:lnTo>
                    <a:lnTo>
                      <a:pt x="34" y="130"/>
                    </a:lnTo>
                    <a:lnTo>
                      <a:pt x="32" y="134"/>
                    </a:lnTo>
                    <a:lnTo>
                      <a:pt x="32" y="134"/>
                    </a:lnTo>
                    <a:lnTo>
                      <a:pt x="32" y="136"/>
                    </a:lnTo>
                    <a:lnTo>
                      <a:pt x="30" y="136"/>
                    </a:lnTo>
                    <a:lnTo>
                      <a:pt x="30" y="136"/>
                    </a:lnTo>
                    <a:lnTo>
                      <a:pt x="12" y="134"/>
                    </a:lnTo>
                    <a:lnTo>
                      <a:pt x="12" y="134"/>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8" y="50"/>
                    </a:lnTo>
                    <a:lnTo>
                      <a:pt x="16" y="44"/>
                    </a:lnTo>
                    <a:lnTo>
                      <a:pt x="16" y="44"/>
                    </a:lnTo>
                    <a:lnTo>
                      <a:pt x="28" y="36"/>
                    </a:lnTo>
                    <a:lnTo>
                      <a:pt x="42" y="32"/>
                    </a:lnTo>
                    <a:lnTo>
                      <a:pt x="42" y="32"/>
                    </a:lnTo>
                    <a:lnTo>
                      <a:pt x="44" y="32"/>
                    </a:lnTo>
                    <a:lnTo>
                      <a:pt x="44" y="32"/>
                    </a:lnTo>
                    <a:lnTo>
                      <a:pt x="32" y="46"/>
                    </a:lnTo>
                    <a:lnTo>
                      <a:pt x="32" y="46"/>
                    </a:lnTo>
                    <a:lnTo>
                      <a:pt x="28" y="52"/>
                    </a:lnTo>
                    <a:lnTo>
                      <a:pt x="26" y="58"/>
                    </a:lnTo>
                    <a:lnTo>
                      <a:pt x="26" y="58"/>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6"/>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8" y="84"/>
                    </a:lnTo>
                    <a:lnTo>
                      <a:pt x="38" y="82"/>
                    </a:lnTo>
                    <a:lnTo>
                      <a:pt x="38" y="82"/>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4" name="Freeform 1351"/>
              <p:cNvSpPr>
                <a:spLocks/>
              </p:cNvSpPr>
              <p:nvPr/>
            </p:nvSpPr>
            <p:spPr bwMode="auto">
              <a:xfrm>
                <a:off x="6700" y="1766"/>
                <a:ext cx="188" cy="144"/>
              </a:xfrm>
              <a:custGeom>
                <a:avLst/>
                <a:gdLst>
                  <a:gd name="T0" fmla="*/ 104 w 188"/>
                  <a:gd name="T1" fmla="*/ 0 h 144"/>
                  <a:gd name="T2" fmla="*/ 84 w 188"/>
                  <a:gd name="T3" fmla="*/ 10 h 144"/>
                  <a:gd name="T4" fmla="*/ 76 w 188"/>
                  <a:gd name="T5" fmla="*/ 18 h 144"/>
                  <a:gd name="T6" fmla="*/ 70 w 188"/>
                  <a:gd name="T7" fmla="*/ 22 h 144"/>
                  <a:gd name="T8" fmla="*/ 52 w 188"/>
                  <a:gd name="T9" fmla="*/ 30 h 144"/>
                  <a:gd name="T10" fmla="*/ 32 w 188"/>
                  <a:gd name="T11" fmla="*/ 38 h 144"/>
                  <a:gd name="T12" fmla="*/ 16 w 188"/>
                  <a:gd name="T13" fmla="*/ 54 h 144"/>
                  <a:gd name="T14" fmla="*/ 6 w 188"/>
                  <a:gd name="T15" fmla="*/ 62 h 144"/>
                  <a:gd name="T16" fmla="*/ 10 w 188"/>
                  <a:gd name="T17" fmla="*/ 54 h 144"/>
                  <a:gd name="T18" fmla="*/ 12 w 188"/>
                  <a:gd name="T19" fmla="*/ 48 h 144"/>
                  <a:gd name="T20" fmla="*/ 10 w 188"/>
                  <a:gd name="T21" fmla="*/ 44 h 144"/>
                  <a:gd name="T22" fmla="*/ 0 w 188"/>
                  <a:gd name="T23" fmla="*/ 56 h 144"/>
                  <a:gd name="T24" fmla="*/ 2 w 188"/>
                  <a:gd name="T25" fmla="*/ 66 h 144"/>
                  <a:gd name="T26" fmla="*/ 10 w 188"/>
                  <a:gd name="T27" fmla="*/ 72 h 144"/>
                  <a:gd name="T28" fmla="*/ 10 w 188"/>
                  <a:gd name="T29" fmla="*/ 84 h 144"/>
                  <a:gd name="T30" fmla="*/ 8 w 188"/>
                  <a:gd name="T31" fmla="*/ 98 h 144"/>
                  <a:gd name="T32" fmla="*/ 2 w 188"/>
                  <a:gd name="T33" fmla="*/ 106 h 144"/>
                  <a:gd name="T34" fmla="*/ 4 w 188"/>
                  <a:gd name="T35" fmla="*/ 116 h 144"/>
                  <a:gd name="T36" fmla="*/ 14 w 188"/>
                  <a:gd name="T37" fmla="*/ 124 h 144"/>
                  <a:gd name="T38" fmla="*/ 20 w 188"/>
                  <a:gd name="T39" fmla="*/ 130 h 144"/>
                  <a:gd name="T40" fmla="*/ 22 w 188"/>
                  <a:gd name="T41" fmla="*/ 136 h 144"/>
                  <a:gd name="T42" fmla="*/ 32 w 188"/>
                  <a:gd name="T43" fmla="*/ 140 h 144"/>
                  <a:gd name="T44" fmla="*/ 44 w 188"/>
                  <a:gd name="T45" fmla="*/ 142 h 144"/>
                  <a:gd name="T46" fmla="*/ 48 w 188"/>
                  <a:gd name="T47" fmla="*/ 140 h 144"/>
                  <a:gd name="T48" fmla="*/ 50 w 188"/>
                  <a:gd name="T49" fmla="*/ 130 h 144"/>
                  <a:gd name="T50" fmla="*/ 56 w 188"/>
                  <a:gd name="T51" fmla="*/ 118 h 144"/>
                  <a:gd name="T52" fmla="*/ 64 w 188"/>
                  <a:gd name="T53" fmla="*/ 122 h 144"/>
                  <a:gd name="T54" fmla="*/ 74 w 188"/>
                  <a:gd name="T55" fmla="*/ 142 h 144"/>
                  <a:gd name="T56" fmla="*/ 80 w 188"/>
                  <a:gd name="T57" fmla="*/ 144 h 144"/>
                  <a:gd name="T58" fmla="*/ 88 w 188"/>
                  <a:gd name="T59" fmla="*/ 140 h 144"/>
                  <a:gd name="T60" fmla="*/ 96 w 188"/>
                  <a:gd name="T61" fmla="*/ 132 h 144"/>
                  <a:gd name="T62" fmla="*/ 116 w 188"/>
                  <a:gd name="T63" fmla="*/ 132 h 144"/>
                  <a:gd name="T64" fmla="*/ 122 w 188"/>
                  <a:gd name="T65" fmla="*/ 130 h 144"/>
                  <a:gd name="T66" fmla="*/ 122 w 188"/>
                  <a:gd name="T67" fmla="*/ 122 h 144"/>
                  <a:gd name="T68" fmla="*/ 120 w 188"/>
                  <a:gd name="T69" fmla="*/ 104 h 144"/>
                  <a:gd name="T70" fmla="*/ 116 w 188"/>
                  <a:gd name="T71" fmla="*/ 94 h 144"/>
                  <a:gd name="T72" fmla="*/ 124 w 188"/>
                  <a:gd name="T73" fmla="*/ 100 h 144"/>
                  <a:gd name="T74" fmla="*/ 132 w 188"/>
                  <a:gd name="T75" fmla="*/ 104 h 144"/>
                  <a:gd name="T76" fmla="*/ 144 w 188"/>
                  <a:gd name="T77" fmla="*/ 98 h 144"/>
                  <a:gd name="T78" fmla="*/ 148 w 188"/>
                  <a:gd name="T79" fmla="*/ 90 h 144"/>
                  <a:gd name="T80" fmla="*/ 154 w 188"/>
                  <a:gd name="T81" fmla="*/ 90 h 144"/>
                  <a:gd name="T82" fmla="*/ 158 w 188"/>
                  <a:gd name="T83" fmla="*/ 90 h 144"/>
                  <a:gd name="T84" fmla="*/ 180 w 188"/>
                  <a:gd name="T85" fmla="*/ 78 h 144"/>
                  <a:gd name="T86" fmla="*/ 188 w 188"/>
                  <a:gd name="T87" fmla="*/ 58 h 144"/>
                  <a:gd name="T88" fmla="*/ 186 w 188"/>
                  <a:gd name="T89" fmla="*/ 36 h 144"/>
                  <a:gd name="T90" fmla="*/ 180 w 188"/>
                  <a:gd name="T91" fmla="*/ 24 h 144"/>
                  <a:gd name="T92" fmla="*/ 172 w 188"/>
                  <a:gd name="T93" fmla="*/ 24 h 144"/>
                  <a:gd name="T94" fmla="*/ 166 w 188"/>
                  <a:gd name="T95" fmla="*/ 30 h 144"/>
                  <a:gd name="T96" fmla="*/ 162 w 188"/>
                  <a:gd name="T97" fmla="*/ 32 h 144"/>
                  <a:gd name="T98" fmla="*/ 156 w 188"/>
                  <a:gd name="T99" fmla="*/ 24 h 144"/>
                  <a:gd name="T100" fmla="*/ 138 w 188"/>
                  <a:gd name="T101" fmla="*/ 8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4" y="0"/>
                    </a:lnTo>
                    <a:lnTo>
                      <a:pt x="98" y="2"/>
                    </a:lnTo>
                    <a:lnTo>
                      <a:pt x="90" y="6"/>
                    </a:lnTo>
                    <a:lnTo>
                      <a:pt x="84" y="10"/>
                    </a:lnTo>
                    <a:lnTo>
                      <a:pt x="84" y="10"/>
                    </a:lnTo>
                    <a:lnTo>
                      <a:pt x="78" y="16"/>
                    </a:lnTo>
                    <a:lnTo>
                      <a:pt x="76" y="18"/>
                    </a:lnTo>
                    <a:lnTo>
                      <a:pt x="72" y="20"/>
                    </a:lnTo>
                    <a:lnTo>
                      <a:pt x="72" y="20"/>
                    </a:lnTo>
                    <a:lnTo>
                      <a:pt x="70" y="22"/>
                    </a:lnTo>
                    <a:lnTo>
                      <a:pt x="70" y="22"/>
                    </a:lnTo>
                    <a:lnTo>
                      <a:pt x="62" y="28"/>
                    </a:lnTo>
                    <a:lnTo>
                      <a:pt x="52" y="30"/>
                    </a:lnTo>
                    <a:lnTo>
                      <a:pt x="52" y="30"/>
                    </a:lnTo>
                    <a:lnTo>
                      <a:pt x="42" y="34"/>
                    </a:lnTo>
                    <a:lnTo>
                      <a:pt x="32" y="38"/>
                    </a:lnTo>
                    <a:lnTo>
                      <a:pt x="24" y="46"/>
                    </a:lnTo>
                    <a:lnTo>
                      <a:pt x="16" y="54"/>
                    </a:lnTo>
                    <a:lnTo>
                      <a:pt x="16" y="54"/>
                    </a:lnTo>
                    <a:lnTo>
                      <a:pt x="12" y="60"/>
                    </a:lnTo>
                    <a:lnTo>
                      <a:pt x="12" y="60"/>
                    </a:lnTo>
                    <a:lnTo>
                      <a:pt x="6" y="62"/>
                    </a:lnTo>
                    <a:lnTo>
                      <a:pt x="6" y="62"/>
                    </a:lnTo>
                    <a:lnTo>
                      <a:pt x="10" y="54"/>
                    </a:lnTo>
                    <a:lnTo>
                      <a:pt x="10" y="54"/>
                    </a:lnTo>
                    <a:lnTo>
                      <a:pt x="12" y="54"/>
                    </a:lnTo>
                    <a:lnTo>
                      <a:pt x="12" y="54"/>
                    </a:lnTo>
                    <a:lnTo>
                      <a:pt x="12" y="48"/>
                    </a:lnTo>
                    <a:lnTo>
                      <a:pt x="12" y="48"/>
                    </a:lnTo>
                    <a:lnTo>
                      <a:pt x="10" y="44"/>
                    </a:lnTo>
                    <a:lnTo>
                      <a:pt x="10" y="44"/>
                    </a:lnTo>
                    <a:lnTo>
                      <a:pt x="2" y="48"/>
                    </a:lnTo>
                    <a:lnTo>
                      <a:pt x="0" y="52"/>
                    </a:lnTo>
                    <a:lnTo>
                      <a:pt x="0" y="56"/>
                    </a:lnTo>
                    <a:lnTo>
                      <a:pt x="0" y="56"/>
                    </a:lnTo>
                    <a:lnTo>
                      <a:pt x="0" y="62"/>
                    </a:lnTo>
                    <a:lnTo>
                      <a:pt x="2" y="66"/>
                    </a:lnTo>
                    <a:lnTo>
                      <a:pt x="2" y="66"/>
                    </a:lnTo>
                    <a:lnTo>
                      <a:pt x="6" y="70"/>
                    </a:lnTo>
                    <a:lnTo>
                      <a:pt x="10" y="72"/>
                    </a:lnTo>
                    <a:lnTo>
                      <a:pt x="10" y="72"/>
                    </a:lnTo>
                    <a:lnTo>
                      <a:pt x="10" y="84"/>
                    </a:lnTo>
                    <a:lnTo>
                      <a:pt x="10" y="84"/>
                    </a:lnTo>
                    <a:lnTo>
                      <a:pt x="12" y="88"/>
                    </a:lnTo>
                    <a:lnTo>
                      <a:pt x="10" y="94"/>
                    </a:lnTo>
                    <a:lnTo>
                      <a:pt x="8" y="98"/>
                    </a:lnTo>
                    <a:lnTo>
                      <a:pt x="4" y="100"/>
                    </a:lnTo>
                    <a:lnTo>
                      <a:pt x="4" y="100"/>
                    </a:lnTo>
                    <a:lnTo>
                      <a:pt x="2" y="106"/>
                    </a:lnTo>
                    <a:lnTo>
                      <a:pt x="2" y="112"/>
                    </a:lnTo>
                    <a:lnTo>
                      <a:pt x="2" y="112"/>
                    </a:lnTo>
                    <a:lnTo>
                      <a:pt x="4" y="116"/>
                    </a:lnTo>
                    <a:lnTo>
                      <a:pt x="8" y="120"/>
                    </a:lnTo>
                    <a:lnTo>
                      <a:pt x="8" y="120"/>
                    </a:lnTo>
                    <a:lnTo>
                      <a:pt x="14" y="124"/>
                    </a:lnTo>
                    <a:lnTo>
                      <a:pt x="22" y="126"/>
                    </a:lnTo>
                    <a:lnTo>
                      <a:pt x="22" y="126"/>
                    </a:lnTo>
                    <a:lnTo>
                      <a:pt x="20" y="130"/>
                    </a:lnTo>
                    <a:lnTo>
                      <a:pt x="20" y="130"/>
                    </a:lnTo>
                    <a:lnTo>
                      <a:pt x="20" y="134"/>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0" y="130"/>
                    </a:lnTo>
                    <a:lnTo>
                      <a:pt x="50" y="130"/>
                    </a:lnTo>
                    <a:lnTo>
                      <a:pt x="56" y="118"/>
                    </a:lnTo>
                    <a:lnTo>
                      <a:pt x="56" y="118"/>
                    </a:lnTo>
                    <a:lnTo>
                      <a:pt x="68" y="118"/>
                    </a:lnTo>
                    <a:lnTo>
                      <a:pt x="68" y="118"/>
                    </a:lnTo>
                    <a:lnTo>
                      <a:pt x="64" y="122"/>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6"/>
                    </a:lnTo>
                    <a:lnTo>
                      <a:pt x="122" y="122"/>
                    </a:lnTo>
                    <a:lnTo>
                      <a:pt x="122" y="122"/>
                    </a:lnTo>
                    <a:lnTo>
                      <a:pt x="122" y="114"/>
                    </a:lnTo>
                    <a:lnTo>
                      <a:pt x="122" y="114"/>
                    </a:lnTo>
                    <a:lnTo>
                      <a:pt x="120" y="104"/>
                    </a:lnTo>
                    <a:lnTo>
                      <a:pt x="120" y="104"/>
                    </a:lnTo>
                    <a:lnTo>
                      <a:pt x="116" y="94"/>
                    </a:lnTo>
                    <a:lnTo>
                      <a:pt x="116" y="94"/>
                    </a:lnTo>
                    <a:lnTo>
                      <a:pt x="118" y="94"/>
                    </a:lnTo>
                    <a:lnTo>
                      <a:pt x="118" y="94"/>
                    </a:lnTo>
                    <a:lnTo>
                      <a:pt x="124" y="100"/>
                    </a:lnTo>
                    <a:lnTo>
                      <a:pt x="124" y="100"/>
                    </a:lnTo>
                    <a:lnTo>
                      <a:pt x="128" y="102"/>
                    </a:lnTo>
                    <a:lnTo>
                      <a:pt x="132" y="104"/>
                    </a:lnTo>
                    <a:lnTo>
                      <a:pt x="132" y="104"/>
                    </a:lnTo>
                    <a:lnTo>
                      <a:pt x="140" y="102"/>
                    </a:lnTo>
                    <a:lnTo>
                      <a:pt x="144" y="98"/>
                    </a:lnTo>
                    <a:lnTo>
                      <a:pt x="146" y="94"/>
                    </a:lnTo>
                    <a:lnTo>
                      <a:pt x="146" y="94"/>
                    </a:lnTo>
                    <a:lnTo>
                      <a:pt x="148" y="90"/>
                    </a:lnTo>
                    <a:lnTo>
                      <a:pt x="150" y="90"/>
                    </a:lnTo>
                    <a:lnTo>
                      <a:pt x="150" y="90"/>
                    </a:lnTo>
                    <a:lnTo>
                      <a:pt x="154" y="90"/>
                    </a:lnTo>
                    <a:lnTo>
                      <a:pt x="154" y="90"/>
                    </a:lnTo>
                    <a:lnTo>
                      <a:pt x="158" y="90"/>
                    </a:lnTo>
                    <a:lnTo>
                      <a:pt x="158" y="90"/>
                    </a:lnTo>
                    <a:lnTo>
                      <a:pt x="166" y="88"/>
                    </a:lnTo>
                    <a:lnTo>
                      <a:pt x="174" y="86"/>
                    </a:lnTo>
                    <a:lnTo>
                      <a:pt x="180" y="78"/>
                    </a:lnTo>
                    <a:lnTo>
                      <a:pt x="184" y="70"/>
                    </a:lnTo>
                    <a:lnTo>
                      <a:pt x="184" y="70"/>
                    </a:lnTo>
                    <a:lnTo>
                      <a:pt x="188" y="58"/>
                    </a:lnTo>
                    <a:lnTo>
                      <a:pt x="186" y="46"/>
                    </a:lnTo>
                    <a:lnTo>
                      <a:pt x="186" y="46"/>
                    </a:lnTo>
                    <a:lnTo>
                      <a:pt x="186" y="36"/>
                    </a:lnTo>
                    <a:lnTo>
                      <a:pt x="182" y="28"/>
                    </a:lnTo>
                    <a:lnTo>
                      <a:pt x="182" y="28"/>
                    </a:lnTo>
                    <a:lnTo>
                      <a:pt x="180" y="24"/>
                    </a:lnTo>
                    <a:lnTo>
                      <a:pt x="176" y="22"/>
                    </a:lnTo>
                    <a:lnTo>
                      <a:pt x="176" y="22"/>
                    </a:lnTo>
                    <a:lnTo>
                      <a:pt x="172" y="24"/>
                    </a:lnTo>
                    <a:lnTo>
                      <a:pt x="170" y="26"/>
                    </a:lnTo>
                    <a:lnTo>
                      <a:pt x="170" y="26"/>
                    </a:lnTo>
                    <a:lnTo>
                      <a:pt x="166" y="30"/>
                    </a:lnTo>
                    <a:lnTo>
                      <a:pt x="166" y="30"/>
                    </a:lnTo>
                    <a:lnTo>
                      <a:pt x="162" y="32"/>
                    </a:lnTo>
                    <a:lnTo>
                      <a:pt x="162" y="32"/>
                    </a:lnTo>
                    <a:lnTo>
                      <a:pt x="160" y="30"/>
                    </a:lnTo>
                    <a:lnTo>
                      <a:pt x="160" y="30"/>
                    </a:lnTo>
                    <a:lnTo>
                      <a:pt x="156" y="24"/>
                    </a:lnTo>
                    <a:lnTo>
                      <a:pt x="152" y="20"/>
                    </a:lnTo>
                    <a:lnTo>
                      <a:pt x="152" y="20"/>
                    </a:lnTo>
                    <a:lnTo>
                      <a:pt x="138" y="8"/>
                    </a:lnTo>
                    <a:lnTo>
                      <a:pt x="138" y="8"/>
                    </a:lnTo>
                    <a:lnTo>
                      <a:pt x="132" y="4"/>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5" name="Freeform 1352"/>
              <p:cNvSpPr>
                <a:spLocks/>
              </p:cNvSpPr>
              <p:nvPr/>
            </p:nvSpPr>
            <p:spPr bwMode="auto">
              <a:xfrm>
                <a:off x="6706" y="1864"/>
                <a:ext cx="16" cy="24"/>
              </a:xfrm>
              <a:custGeom>
                <a:avLst/>
                <a:gdLst>
                  <a:gd name="T0" fmla="*/ 6 w 16"/>
                  <a:gd name="T1" fmla="*/ 0 h 24"/>
                  <a:gd name="T2" fmla="*/ 6 w 16"/>
                  <a:gd name="T3" fmla="*/ 0 h 24"/>
                  <a:gd name="T4" fmla="*/ 2 w 16"/>
                  <a:gd name="T5" fmla="*/ 6 h 24"/>
                  <a:gd name="T6" fmla="*/ 2 w 16"/>
                  <a:gd name="T7" fmla="*/ 6 h 24"/>
                  <a:gd name="T8" fmla="*/ 0 w 16"/>
                  <a:gd name="T9" fmla="*/ 6 h 24"/>
                  <a:gd name="T10" fmla="*/ 0 w 16"/>
                  <a:gd name="T11" fmla="*/ 6 h 24"/>
                  <a:gd name="T12" fmla="*/ 0 w 16"/>
                  <a:gd name="T13" fmla="*/ 10 h 24"/>
                  <a:gd name="T14" fmla="*/ 0 w 16"/>
                  <a:gd name="T15" fmla="*/ 10 h 24"/>
                  <a:gd name="T16" fmla="*/ 0 w 16"/>
                  <a:gd name="T17" fmla="*/ 14 h 24"/>
                  <a:gd name="T18" fmla="*/ 4 w 16"/>
                  <a:gd name="T19" fmla="*/ 18 h 24"/>
                  <a:gd name="T20" fmla="*/ 8 w 16"/>
                  <a:gd name="T21" fmla="*/ 22 h 24"/>
                  <a:gd name="T22" fmla="*/ 12 w 16"/>
                  <a:gd name="T23" fmla="*/ 24 h 24"/>
                  <a:gd name="T24" fmla="*/ 12 w 16"/>
                  <a:gd name="T25" fmla="*/ 24 h 24"/>
                  <a:gd name="T26" fmla="*/ 12 w 16"/>
                  <a:gd name="T27" fmla="*/ 24 h 24"/>
                  <a:gd name="T28" fmla="*/ 12 w 16"/>
                  <a:gd name="T29" fmla="*/ 24 h 24"/>
                  <a:gd name="T30" fmla="*/ 14 w 16"/>
                  <a:gd name="T31" fmla="*/ 24 h 24"/>
                  <a:gd name="T32" fmla="*/ 14 w 16"/>
                  <a:gd name="T33" fmla="*/ 24 h 24"/>
                  <a:gd name="T34" fmla="*/ 16 w 16"/>
                  <a:gd name="T35" fmla="*/ 22 h 24"/>
                  <a:gd name="T36" fmla="*/ 16 w 16"/>
                  <a:gd name="T37" fmla="*/ 18 h 24"/>
                  <a:gd name="T38" fmla="*/ 16 w 16"/>
                  <a:gd name="T39" fmla="*/ 18 h 24"/>
                  <a:gd name="T40" fmla="*/ 6 w 16"/>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4">
                    <a:moveTo>
                      <a:pt x="6" y="0"/>
                    </a:moveTo>
                    <a:lnTo>
                      <a:pt x="6" y="0"/>
                    </a:lnTo>
                    <a:lnTo>
                      <a:pt x="2" y="6"/>
                    </a:lnTo>
                    <a:lnTo>
                      <a:pt x="2" y="6"/>
                    </a:lnTo>
                    <a:lnTo>
                      <a:pt x="0" y="6"/>
                    </a:lnTo>
                    <a:lnTo>
                      <a:pt x="0" y="6"/>
                    </a:lnTo>
                    <a:lnTo>
                      <a:pt x="0" y="10"/>
                    </a:lnTo>
                    <a:lnTo>
                      <a:pt x="0" y="10"/>
                    </a:lnTo>
                    <a:lnTo>
                      <a:pt x="0" y="14"/>
                    </a:lnTo>
                    <a:lnTo>
                      <a:pt x="4" y="18"/>
                    </a:lnTo>
                    <a:lnTo>
                      <a:pt x="8" y="22"/>
                    </a:lnTo>
                    <a:lnTo>
                      <a:pt x="12" y="24"/>
                    </a:lnTo>
                    <a:lnTo>
                      <a:pt x="12" y="24"/>
                    </a:lnTo>
                    <a:lnTo>
                      <a:pt x="12" y="24"/>
                    </a:lnTo>
                    <a:lnTo>
                      <a:pt x="12" y="24"/>
                    </a:lnTo>
                    <a:lnTo>
                      <a:pt x="14" y="24"/>
                    </a:lnTo>
                    <a:lnTo>
                      <a:pt x="14" y="24"/>
                    </a:lnTo>
                    <a:lnTo>
                      <a:pt x="16" y="22"/>
                    </a:lnTo>
                    <a:lnTo>
                      <a:pt x="16" y="18"/>
                    </a:lnTo>
                    <a:lnTo>
                      <a:pt x="16" y="1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6" name="Freeform 1353"/>
              <p:cNvSpPr>
                <a:spLocks/>
              </p:cNvSpPr>
              <p:nvPr/>
            </p:nvSpPr>
            <p:spPr bwMode="auto">
              <a:xfrm>
                <a:off x="6706" y="1864"/>
                <a:ext cx="16" cy="24"/>
              </a:xfrm>
              <a:custGeom>
                <a:avLst/>
                <a:gdLst>
                  <a:gd name="T0" fmla="*/ 6 w 16"/>
                  <a:gd name="T1" fmla="*/ 0 h 24"/>
                  <a:gd name="T2" fmla="*/ 6 w 16"/>
                  <a:gd name="T3" fmla="*/ 0 h 24"/>
                  <a:gd name="T4" fmla="*/ 2 w 16"/>
                  <a:gd name="T5" fmla="*/ 6 h 24"/>
                  <a:gd name="T6" fmla="*/ 2 w 16"/>
                  <a:gd name="T7" fmla="*/ 6 h 24"/>
                  <a:gd name="T8" fmla="*/ 0 w 16"/>
                  <a:gd name="T9" fmla="*/ 6 h 24"/>
                  <a:gd name="T10" fmla="*/ 0 w 16"/>
                  <a:gd name="T11" fmla="*/ 6 h 24"/>
                  <a:gd name="T12" fmla="*/ 0 w 16"/>
                  <a:gd name="T13" fmla="*/ 10 h 24"/>
                  <a:gd name="T14" fmla="*/ 0 w 16"/>
                  <a:gd name="T15" fmla="*/ 10 h 24"/>
                  <a:gd name="T16" fmla="*/ 0 w 16"/>
                  <a:gd name="T17" fmla="*/ 14 h 24"/>
                  <a:gd name="T18" fmla="*/ 4 w 16"/>
                  <a:gd name="T19" fmla="*/ 18 h 24"/>
                  <a:gd name="T20" fmla="*/ 8 w 16"/>
                  <a:gd name="T21" fmla="*/ 22 h 24"/>
                  <a:gd name="T22" fmla="*/ 12 w 16"/>
                  <a:gd name="T23" fmla="*/ 24 h 24"/>
                  <a:gd name="T24" fmla="*/ 12 w 16"/>
                  <a:gd name="T25" fmla="*/ 24 h 24"/>
                  <a:gd name="T26" fmla="*/ 12 w 16"/>
                  <a:gd name="T27" fmla="*/ 24 h 24"/>
                  <a:gd name="T28" fmla="*/ 12 w 16"/>
                  <a:gd name="T29" fmla="*/ 24 h 24"/>
                  <a:gd name="T30" fmla="*/ 14 w 16"/>
                  <a:gd name="T31" fmla="*/ 24 h 24"/>
                  <a:gd name="T32" fmla="*/ 14 w 16"/>
                  <a:gd name="T33" fmla="*/ 24 h 24"/>
                  <a:gd name="T34" fmla="*/ 16 w 16"/>
                  <a:gd name="T35" fmla="*/ 22 h 24"/>
                  <a:gd name="T36" fmla="*/ 16 w 16"/>
                  <a:gd name="T37" fmla="*/ 18 h 24"/>
                  <a:gd name="T38" fmla="*/ 16 w 16"/>
                  <a:gd name="T39" fmla="*/ 18 h 24"/>
                  <a:gd name="T40" fmla="*/ 6 w 16"/>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4">
                    <a:moveTo>
                      <a:pt x="6" y="0"/>
                    </a:moveTo>
                    <a:lnTo>
                      <a:pt x="6" y="0"/>
                    </a:lnTo>
                    <a:lnTo>
                      <a:pt x="2" y="6"/>
                    </a:lnTo>
                    <a:lnTo>
                      <a:pt x="2" y="6"/>
                    </a:lnTo>
                    <a:lnTo>
                      <a:pt x="0" y="6"/>
                    </a:lnTo>
                    <a:lnTo>
                      <a:pt x="0" y="6"/>
                    </a:lnTo>
                    <a:lnTo>
                      <a:pt x="0" y="10"/>
                    </a:lnTo>
                    <a:lnTo>
                      <a:pt x="0" y="10"/>
                    </a:lnTo>
                    <a:lnTo>
                      <a:pt x="0" y="14"/>
                    </a:lnTo>
                    <a:lnTo>
                      <a:pt x="4" y="18"/>
                    </a:lnTo>
                    <a:lnTo>
                      <a:pt x="8" y="22"/>
                    </a:lnTo>
                    <a:lnTo>
                      <a:pt x="12" y="24"/>
                    </a:lnTo>
                    <a:lnTo>
                      <a:pt x="12" y="24"/>
                    </a:lnTo>
                    <a:lnTo>
                      <a:pt x="12" y="24"/>
                    </a:lnTo>
                    <a:lnTo>
                      <a:pt x="12" y="24"/>
                    </a:lnTo>
                    <a:lnTo>
                      <a:pt x="14" y="24"/>
                    </a:lnTo>
                    <a:lnTo>
                      <a:pt x="14"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7" name="Freeform 1354"/>
              <p:cNvSpPr>
                <a:spLocks/>
              </p:cNvSpPr>
              <p:nvPr/>
            </p:nvSpPr>
            <p:spPr bwMode="auto">
              <a:xfrm>
                <a:off x="6708" y="1864"/>
                <a:ext cx="14" cy="24"/>
              </a:xfrm>
              <a:custGeom>
                <a:avLst/>
                <a:gdLst>
                  <a:gd name="T0" fmla="*/ 6 w 14"/>
                  <a:gd name="T1" fmla="*/ 0 h 24"/>
                  <a:gd name="T2" fmla="*/ 6 w 14"/>
                  <a:gd name="T3" fmla="*/ 0 h 24"/>
                  <a:gd name="T4" fmla="*/ 0 w 14"/>
                  <a:gd name="T5" fmla="*/ 6 h 24"/>
                  <a:gd name="T6" fmla="*/ 0 w 14"/>
                  <a:gd name="T7" fmla="*/ 6 h 24"/>
                  <a:gd name="T8" fmla="*/ 4 w 14"/>
                  <a:gd name="T9" fmla="*/ 0 h 24"/>
                  <a:gd name="T10" fmla="*/ 4 w 14"/>
                  <a:gd name="T11" fmla="*/ 0 h 24"/>
                  <a:gd name="T12" fmla="*/ 14 w 14"/>
                  <a:gd name="T13" fmla="*/ 18 h 24"/>
                  <a:gd name="T14" fmla="*/ 14 w 14"/>
                  <a:gd name="T15" fmla="*/ 18 h 24"/>
                  <a:gd name="T16" fmla="*/ 14 w 14"/>
                  <a:gd name="T17" fmla="*/ 22 h 24"/>
                  <a:gd name="T18" fmla="*/ 12 w 14"/>
                  <a:gd name="T19" fmla="*/ 24 h 24"/>
                  <a:gd name="T20" fmla="*/ 12 w 14"/>
                  <a:gd name="T21" fmla="*/ 24 h 24"/>
                  <a:gd name="T22" fmla="*/ 10 w 14"/>
                  <a:gd name="T23" fmla="*/ 24 h 24"/>
                  <a:gd name="T24" fmla="*/ 10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2 w 14"/>
                  <a:gd name="T37" fmla="*/ 24 h 24"/>
                  <a:gd name="T38" fmla="*/ 14 w 14"/>
                  <a:gd name="T39" fmla="*/ 22 h 24"/>
                  <a:gd name="T40" fmla="*/ 14 w 14"/>
                  <a:gd name="T41" fmla="*/ 18 h 24"/>
                  <a:gd name="T42" fmla="*/ 14 w 14"/>
                  <a:gd name="T43" fmla="*/ 18 h 24"/>
                  <a:gd name="T44" fmla="*/ 6 w 1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4">
                    <a:moveTo>
                      <a:pt x="6" y="0"/>
                    </a:moveTo>
                    <a:lnTo>
                      <a:pt x="6" y="0"/>
                    </a:lnTo>
                    <a:lnTo>
                      <a:pt x="0" y="6"/>
                    </a:lnTo>
                    <a:lnTo>
                      <a:pt x="0" y="6"/>
                    </a:lnTo>
                    <a:lnTo>
                      <a:pt x="4" y="0"/>
                    </a:lnTo>
                    <a:lnTo>
                      <a:pt x="4" y="0"/>
                    </a:lnTo>
                    <a:lnTo>
                      <a:pt x="14" y="18"/>
                    </a:lnTo>
                    <a:lnTo>
                      <a:pt x="14" y="18"/>
                    </a:lnTo>
                    <a:lnTo>
                      <a:pt x="14" y="22"/>
                    </a:lnTo>
                    <a:lnTo>
                      <a:pt x="12" y="24"/>
                    </a:lnTo>
                    <a:lnTo>
                      <a:pt x="12" y="24"/>
                    </a:lnTo>
                    <a:lnTo>
                      <a:pt x="10" y="24"/>
                    </a:lnTo>
                    <a:lnTo>
                      <a:pt x="10" y="24"/>
                    </a:lnTo>
                    <a:lnTo>
                      <a:pt x="10" y="24"/>
                    </a:lnTo>
                    <a:lnTo>
                      <a:pt x="10" y="24"/>
                    </a:lnTo>
                    <a:lnTo>
                      <a:pt x="10" y="24"/>
                    </a:lnTo>
                    <a:lnTo>
                      <a:pt x="10" y="24"/>
                    </a:lnTo>
                    <a:lnTo>
                      <a:pt x="12" y="24"/>
                    </a:lnTo>
                    <a:lnTo>
                      <a:pt x="12" y="24"/>
                    </a:lnTo>
                    <a:lnTo>
                      <a:pt x="14" y="22"/>
                    </a:lnTo>
                    <a:lnTo>
                      <a:pt x="14" y="18"/>
                    </a:lnTo>
                    <a:lnTo>
                      <a:pt x="14"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8" name="Freeform 1355"/>
              <p:cNvSpPr>
                <a:spLocks/>
              </p:cNvSpPr>
              <p:nvPr/>
            </p:nvSpPr>
            <p:spPr bwMode="auto">
              <a:xfrm>
                <a:off x="6708" y="1864"/>
                <a:ext cx="14" cy="24"/>
              </a:xfrm>
              <a:custGeom>
                <a:avLst/>
                <a:gdLst>
                  <a:gd name="T0" fmla="*/ 6 w 14"/>
                  <a:gd name="T1" fmla="*/ 0 h 24"/>
                  <a:gd name="T2" fmla="*/ 6 w 14"/>
                  <a:gd name="T3" fmla="*/ 0 h 24"/>
                  <a:gd name="T4" fmla="*/ 0 w 14"/>
                  <a:gd name="T5" fmla="*/ 6 h 24"/>
                  <a:gd name="T6" fmla="*/ 0 w 14"/>
                  <a:gd name="T7" fmla="*/ 6 h 24"/>
                  <a:gd name="T8" fmla="*/ 4 w 14"/>
                  <a:gd name="T9" fmla="*/ 0 h 24"/>
                  <a:gd name="T10" fmla="*/ 4 w 14"/>
                  <a:gd name="T11" fmla="*/ 0 h 24"/>
                  <a:gd name="T12" fmla="*/ 14 w 14"/>
                  <a:gd name="T13" fmla="*/ 18 h 24"/>
                  <a:gd name="T14" fmla="*/ 14 w 14"/>
                  <a:gd name="T15" fmla="*/ 18 h 24"/>
                  <a:gd name="T16" fmla="*/ 14 w 14"/>
                  <a:gd name="T17" fmla="*/ 22 h 24"/>
                  <a:gd name="T18" fmla="*/ 12 w 14"/>
                  <a:gd name="T19" fmla="*/ 24 h 24"/>
                  <a:gd name="T20" fmla="*/ 12 w 14"/>
                  <a:gd name="T21" fmla="*/ 24 h 24"/>
                  <a:gd name="T22" fmla="*/ 10 w 14"/>
                  <a:gd name="T23" fmla="*/ 24 h 24"/>
                  <a:gd name="T24" fmla="*/ 10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2 w 14"/>
                  <a:gd name="T37" fmla="*/ 24 h 24"/>
                  <a:gd name="T38" fmla="*/ 14 w 14"/>
                  <a:gd name="T39" fmla="*/ 22 h 24"/>
                  <a:gd name="T40" fmla="*/ 14 w 14"/>
                  <a:gd name="T41" fmla="*/ 18 h 24"/>
                  <a:gd name="T42" fmla="*/ 14 w 14"/>
                  <a:gd name="T43" fmla="*/ 18 h 24"/>
                  <a:gd name="T44" fmla="*/ 6 w 1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4">
                    <a:moveTo>
                      <a:pt x="6" y="0"/>
                    </a:moveTo>
                    <a:lnTo>
                      <a:pt x="6" y="0"/>
                    </a:lnTo>
                    <a:lnTo>
                      <a:pt x="0" y="6"/>
                    </a:lnTo>
                    <a:lnTo>
                      <a:pt x="0" y="6"/>
                    </a:lnTo>
                    <a:lnTo>
                      <a:pt x="4" y="0"/>
                    </a:lnTo>
                    <a:lnTo>
                      <a:pt x="4" y="0"/>
                    </a:lnTo>
                    <a:lnTo>
                      <a:pt x="14" y="18"/>
                    </a:lnTo>
                    <a:lnTo>
                      <a:pt x="14" y="18"/>
                    </a:lnTo>
                    <a:lnTo>
                      <a:pt x="14" y="22"/>
                    </a:lnTo>
                    <a:lnTo>
                      <a:pt x="12" y="24"/>
                    </a:lnTo>
                    <a:lnTo>
                      <a:pt x="12" y="24"/>
                    </a:lnTo>
                    <a:lnTo>
                      <a:pt x="10" y="24"/>
                    </a:lnTo>
                    <a:lnTo>
                      <a:pt x="10" y="24"/>
                    </a:lnTo>
                    <a:lnTo>
                      <a:pt x="10" y="24"/>
                    </a:lnTo>
                    <a:lnTo>
                      <a:pt x="10" y="24"/>
                    </a:lnTo>
                    <a:lnTo>
                      <a:pt x="10" y="24"/>
                    </a:lnTo>
                    <a:lnTo>
                      <a:pt x="10" y="24"/>
                    </a:lnTo>
                    <a:lnTo>
                      <a:pt x="12" y="24"/>
                    </a:lnTo>
                    <a:lnTo>
                      <a:pt x="12" y="24"/>
                    </a:lnTo>
                    <a:lnTo>
                      <a:pt x="14" y="22"/>
                    </a:lnTo>
                    <a:lnTo>
                      <a:pt x="14" y="18"/>
                    </a:lnTo>
                    <a:lnTo>
                      <a:pt x="14"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39" name="Freeform 1356"/>
              <p:cNvSpPr>
                <a:spLocks/>
              </p:cNvSpPr>
              <p:nvPr/>
            </p:nvSpPr>
            <p:spPr bwMode="auto">
              <a:xfrm>
                <a:off x="6802" y="1868"/>
                <a:ext cx="18" cy="28"/>
              </a:xfrm>
              <a:custGeom>
                <a:avLst/>
                <a:gdLst>
                  <a:gd name="T0" fmla="*/ 14 w 18"/>
                  <a:gd name="T1" fmla="*/ 0 h 28"/>
                  <a:gd name="T2" fmla="*/ 14 w 18"/>
                  <a:gd name="T3" fmla="*/ 0 h 28"/>
                  <a:gd name="T4" fmla="*/ 6 w 18"/>
                  <a:gd name="T5" fmla="*/ 18 h 28"/>
                  <a:gd name="T6" fmla="*/ 6 w 18"/>
                  <a:gd name="T7" fmla="*/ 18 h 28"/>
                  <a:gd name="T8" fmla="*/ 0 w 18"/>
                  <a:gd name="T9" fmla="*/ 26 h 28"/>
                  <a:gd name="T10" fmla="*/ 0 w 18"/>
                  <a:gd name="T11" fmla="*/ 26 h 28"/>
                  <a:gd name="T12" fmla="*/ 10 w 18"/>
                  <a:gd name="T13" fmla="*/ 28 h 28"/>
                  <a:gd name="T14" fmla="*/ 10 w 18"/>
                  <a:gd name="T15" fmla="*/ 28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6" y="18"/>
                    </a:lnTo>
                    <a:lnTo>
                      <a:pt x="6" y="18"/>
                    </a:lnTo>
                    <a:lnTo>
                      <a:pt x="0" y="26"/>
                    </a:lnTo>
                    <a:lnTo>
                      <a:pt x="0" y="26"/>
                    </a:lnTo>
                    <a:lnTo>
                      <a:pt x="10" y="28"/>
                    </a:lnTo>
                    <a:lnTo>
                      <a:pt x="10" y="28"/>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0" name="Freeform 1357"/>
              <p:cNvSpPr>
                <a:spLocks/>
              </p:cNvSpPr>
              <p:nvPr/>
            </p:nvSpPr>
            <p:spPr bwMode="auto">
              <a:xfrm>
                <a:off x="6802" y="1868"/>
                <a:ext cx="18" cy="28"/>
              </a:xfrm>
              <a:custGeom>
                <a:avLst/>
                <a:gdLst>
                  <a:gd name="T0" fmla="*/ 14 w 18"/>
                  <a:gd name="T1" fmla="*/ 0 h 28"/>
                  <a:gd name="T2" fmla="*/ 14 w 18"/>
                  <a:gd name="T3" fmla="*/ 0 h 28"/>
                  <a:gd name="T4" fmla="*/ 6 w 18"/>
                  <a:gd name="T5" fmla="*/ 18 h 28"/>
                  <a:gd name="T6" fmla="*/ 6 w 18"/>
                  <a:gd name="T7" fmla="*/ 18 h 28"/>
                  <a:gd name="T8" fmla="*/ 0 w 18"/>
                  <a:gd name="T9" fmla="*/ 26 h 28"/>
                  <a:gd name="T10" fmla="*/ 0 w 18"/>
                  <a:gd name="T11" fmla="*/ 26 h 28"/>
                  <a:gd name="T12" fmla="*/ 10 w 18"/>
                  <a:gd name="T13" fmla="*/ 28 h 28"/>
                  <a:gd name="T14" fmla="*/ 10 w 18"/>
                  <a:gd name="T15" fmla="*/ 28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6" y="18"/>
                    </a:lnTo>
                    <a:lnTo>
                      <a:pt x="6" y="18"/>
                    </a:lnTo>
                    <a:lnTo>
                      <a:pt x="0" y="26"/>
                    </a:lnTo>
                    <a:lnTo>
                      <a:pt x="0" y="26"/>
                    </a:lnTo>
                    <a:lnTo>
                      <a:pt x="10" y="28"/>
                    </a:lnTo>
                    <a:lnTo>
                      <a:pt x="10" y="28"/>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1" name="Freeform 1358"/>
              <p:cNvSpPr>
                <a:spLocks/>
              </p:cNvSpPr>
              <p:nvPr/>
            </p:nvSpPr>
            <p:spPr bwMode="auto">
              <a:xfrm>
                <a:off x="6808" y="1868"/>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2" name="Freeform 1359"/>
              <p:cNvSpPr>
                <a:spLocks/>
              </p:cNvSpPr>
              <p:nvPr/>
            </p:nvSpPr>
            <p:spPr bwMode="auto">
              <a:xfrm>
                <a:off x="6808" y="1868"/>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3" name="Freeform 1360"/>
              <p:cNvSpPr>
                <a:spLocks/>
              </p:cNvSpPr>
              <p:nvPr/>
            </p:nvSpPr>
            <p:spPr bwMode="auto">
              <a:xfrm>
                <a:off x="6702" y="1814"/>
                <a:ext cx="10" cy="20"/>
              </a:xfrm>
              <a:custGeom>
                <a:avLst/>
                <a:gdLst>
                  <a:gd name="T0" fmla="*/ 6 w 10"/>
                  <a:gd name="T1" fmla="*/ 0 h 20"/>
                  <a:gd name="T2" fmla="*/ 6 w 10"/>
                  <a:gd name="T3" fmla="*/ 0 h 20"/>
                  <a:gd name="T4" fmla="*/ 6 w 10"/>
                  <a:gd name="T5" fmla="*/ 0 h 20"/>
                  <a:gd name="T6" fmla="*/ 6 w 10"/>
                  <a:gd name="T7" fmla="*/ 0 h 20"/>
                  <a:gd name="T8" fmla="*/ 0 w 10"/>
                  <a:gd name="T9" fmla="*/ 6 h 20"/>
                  <a:gd name="T10" fmla="*/ 0 w 10"/>
                  <a:gd name="T11" fmla="*/ 6 h 20"/>
                  <a:gd name="T12" fmla="*/ 0 w 10"/>
                  <a:gd name="T13" fmla="*/ 8 h 20"/>
                  <a:gd name="T14" fmla="*/ 0 w 10"/>
                  <a:gd name="T15" fmla="*/ 12 h 20"/>
                  <a:gd name="T16" fmla="*/ 2 w 10"/>
                  <a:gd name="T17" fmla="*/ 18 h 20"/>
                  <a:gd name="T18" fmla="*/ 4 w 10"/>
                  <a:gd name="T19" fmla="*/ 20 h 20"/>
                  <a:gd name="T20" fmla="*/ 4 w 10"/>
                  <a:gd name="T21" fmla="*/ 20 h 20"/>
                  <a:gd name="T22" fmla="*/ 6 w 10"/>
                  <a:gd name="T23" fmla="*/ 20 h 20"/>
                  <a:gd name="T24" fmla="*/ 6 w 10"/>
                  <a:gd name="T25" fmla="*/ 20 h 20"/>
                  <a:gd name="T26" fmla="*/ 6 w 10"/>
                  <a:gd name="T27" fmla="*/ 20 h 20"/>
                  <a:gd name="T28" fmla="*/ 6 w 10"/>
                  <a:gd name="T29" fmla="*/ 20 h 20"/>
                  <a:gd name="T30" fmla="*/ 10 w 10"/>
                  <a:gd name="T31" fmla="*/ 18 h 20"/>
                  <a:gd name="T32" fmla="*/ 10 w 10"/>
                  <a:gd name="T33" fmla="*/ 16 h 20"/>
                  <a:gd name="T34" fmla="*/ 10 w 10"/>
                  <a:gd name="T35" fmla="*/ 16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2 w 10"/>
                  <a:gd name="T49" fmla="*/ 12 h 20"/>
                  <a:gd name="T50" fmla="*/ 2 w 10"/>
                  <a:gd name="T51" fmla="*/ 12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6" y="0"/>
                    </a:lnTo>
                    <a:lnTo>
                      <a:pt x="6" y="0"/>
                    </a:lnTo>
                    <a:lnTo>
                      <a:pt x="0" y="6"/>
                    </a:lnTo>
                    <a:lnTo>
                      <a:pt x="0" y="6"/>
                    </a:lnTo>
                    <a:lnTo>
                      <a:pt x="0" y="8"/>
                    </a:lnTo>
                    <a:lnTo>
                      <a:pt x="0" y="12"/>
                    </a:lnTo>
                    <a:lnTo>
                      <a:pt x="2" y="18"/>
                    </a:lnTo>
                    <a:lnTo>
                      <a:pt x="4" y="20"/>
                    </a:lnTo>
                    <a:lnTo>
                      <a:pt x="4" y="20"/>
                    </a:lnTo>
                    <a:lnTo>
                      <a:pt x="6" y="20"/>
                    </a:lnTo>
                    <a:lnTo>
                      <a:pt x="6" y="20"/>
                    </a:lnTo>
                    <a:lnTo>
                      <a:pt x="6" y="20"/>
                    </a:lnTo>
                    <a:lnTo>
                      <a:pt x="6" y="20"/>
                    </a:lnTo>
                    <a:lnTo>
                      <a:pt x="10" y="18"/>
                    </a:lnTo>
                    <a:lnTo>
                      <a:pt x="10" y="16"/>
                    </a:lnTo>
                    <a:lnTo>
                      <a:pt x="10" y="16"/>
                    </a:lnTo>
                    <a:lnTo>
                      <a:pt x="8" y="16"/>
                    </a:lnTo>
                    <a:lnTo>
                      <a:pt x="8" y="16"/>
                    </a:lnTo>
                    <a:lnTo>
                      <a:pt x="6" y="16"/>
                    </a:lnTo>
                    <a:lnTo>
                      <a:pt x="6"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4" name="Freeform 1361"/>
              <p:cNvSpPr>
                <a:spLocks/>
              </p:cNvSpPr>
              <p:nvPr/>
            </p:nvSpPr>
            <p:spPr bwMode="auto">
              <a:xfrm>
                <a:off x="6702" y="1814"/>
                <a:ext cx="10" cy="20"/>
              </a:xfrm>
              <a:custGeom>
                <a:avLst/>
                <a:gdLst>
                  <a:gd name="T0" fmla="*/ 6 w 10"/>
                  <a:gd name="T1" fmla="*/ 0 h 20"/>
                  <a:gd name="T2" fmla="*/ 6 w 10"/>
                  <a:gd name="T3" fmla="*/ 0 h 20"/>
                  <a:gd name="T4" fmla="*/ 6 w 10"/>
                  <a:gd name="T5" fmla="*/ 0 h 20"/>
                  <a:gd name="T6" fmla="*/ 6 w 10"/>
                  <a:gd name="T7" fmla="*/ 0 h 20"/>
                  <a:gd name="T8" fmla="*/ 0 w 10"/>
                  <a:gd name="T9" fmla="*/ 6 h 20"/>
                  <a:gd name="T10" fmla="*/ 0 w 10"/>
                  <a:gd name="T11" fmla="*/ 6 h 20"/>
                  <a:gd name="T12" fmla="*/ 0 w 10"/>
                  <a:gd name="T13" fmla="*/ 8 h 20"/>
                  <a:gd name="T14" fmla="*/ 0 w 10"/>
                  <a:gd name="T15" fmla="*/ 12 h 20"/>
                  <a:gd name="T16" fmla="*/ 2 w 10"/>
                  <a:gd name="T17" fmla="*/ 18 h 20"/>
                  <a:gd name="T18" fmla="*/ 4 w 10"/>
                  <a:gd name="T19" fmla="*/ 20 h 20"/>
                  <a:gd name="T20" fmla="*/ 4 w 10"/>
                  <a:gd name="T21" fmla="*/ 20 h 20"/>
                  <a:gd name="T22" fmla="*/ 6 w 10"/>
                  <a:gd name="T23" fmla="*/ 20 h 20"/>
                  <a:gd name="T24" fmla="*/ 6 w 10"/>
                  <a:gd name="T25" fmla="*/ 20 h 20"/>
                  <a:gd name="T26" fmla="*/ 6 w 10"/>
                  <a:gd name="T27" fmla="*/ 20 h 20"/>
                  <a:gd name="T28" fmla="*/ 6 w 10"/>
                  <a:gd name="T29" fmla="*/ 20 h 20"/>
                  <a:gd name="T30" fmla="*/ 10 w 10"/>
                  <a:gd name="T31" fmla="*/ 18 h 20"/>
                  <a:gd name="T32" fmla="*/ 10 w 10"/>
                  <a:gd name="T33" fmla="*/ 16 h 20"/>
                  <a:gd name="T34" fmla="*/ 10 w 10"/>
                  <a:gd name="T35" fmla="*/ 16 h 20"/>
                  <a:gd name="T36" fmla="*/ 8 w 10"/>
                  <a:gd name="T37" fmla="*/ 16 h 20"/>
                  <a:gd name="T38" fmla="*/ 8 w 10"/>
                  <a:gd name="T39" fmla="*/ 16 h 20"/>
                  <a:gd name="T40" fmla="*/ 6 w 10"/>
                  <a:gd name="T41" fmla="*/ 16 h 20"/>
                  <a:gd name="T42" fmla="*/ 6 w 10"/>
                  <a:gd name="T43" fmla="*/ 16 h 20"/>
                  <a:gd name="T44" fmla="*/ 4 w 10"/>
                  <a:gd name="T45" fmla="*/ 16 h 20"/>
                  <a:gd name="T46" fmla="*/ 4 w 10"/>
                  <a:gd name="T47" fmla="*/ 16 h 20"/>
                  <a:gd name="T48" fmla="*/ 2 w 10"/>
                  <a:gd name="T49" fmla="*/ 12 h 20"/>
                  <a:gd name="T50" fmla="*/ 2 w 10"/>
                  <a:gd name="T51" fmla="*/ 12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6" y="0"/>
                    </a:lnTo>
                    <a:lnTo>
                      <a:pt x="6" y="0"/>
                    </a:lnTo>
                    <a:lnTo>
                      <a:pt x="0" y="6"/>
                    </a:lnTo>
                    <a:lnTo>
                      <a:pt x="0" y="6"/>
                    </a:lnTo>
                    <a:lnTo>
                      <a:pt x="0" y="8"/>
                    </a:lnTo>
                    <a:lnTo>
                      <a:pt x="0" y="12"/>
                    </a:lnTo>
                    <a:lnTo>
                      <a:pt x="2" y="18"/>
                    </a:lnTo>
                    <a:lnTo>
                      <a:pt x="4" y="20"/>
                    </a:lnTo>
                    <a:lnTo>
                      <a:pt x="4" y="20"/>
                    </a:lnTo>
                    <a:lnTo>
                      <a:pt x="6" y="20"/>
                    </a:lnTo>
                    <a:lnTo>
                      <a:pt x="6" y="20"/>
                    </a:lnTo>
                    <a:lnTo>
                      <a:pt x="6" y="20"/>
                    </a:lnTo>
                    <a:lnTo>
                      <a:pt x="6" y="20"/>
                    </a:lnTo>
                    <a:lnTo>
                      <a:pt x="10" y="18"/>
                    </a:lnTo>
                    <a:lnTo>
                      <a:pt x="10" y="16"/>
                    </a:lnTo>
                    <a:lnTo>
                      <a:pt x="10" y="16"/>
                    </a:lnTo>
                    <a:lnTo>
                      <a:pt x="8" y="16"/>
                    </a:lnTo>
                    <a:lnTo>
                      <a:pt x="8" y="16"/>
                    </a:lnTo>
                    <a:lnTo>
                      <a:pt x="6" y="16"/>
                    </a:lnTo>
                    <a:lnTo>
                      <a:pt x="6"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5" name="Freeform 1362"/>
              <p:cNvSpPr>
                <a:spLocks noEditPoints="1"/>
              </p:cNvSpPr>
              <p:nvPr/>
            </p:nvSpPr>
            <p:spPr bwMode="auto">
              <a:xfrm>
                <a:off x="6704" y="1814"/>
                <a:ext cx="10" cy="20"/>
              </a:xfrm>
              <a:custGeom>
                <a:avLst/>
                <a:gdLst>
                  <a:gd name="T0" fmla="*/ 10 w 10"/>
                  <a:gd name="T1" fmla="*/ 14 h 20"/>
                  <a:gd name="T2" fmla="*/ 10 w 10"/>
                  <a:gd name="T3" fmla="*/ 14 h 20"/>
                  <a:gd name="T4" fmla="*/ 8 w 10"/>
                  <a:gd name="T5" fmla="*/ 16 h 20"/>
                  <a:gd name="T6" fmla="*/ 8 w 10"/>
                  <a:gd name="T7" fmla="*/ 16 h 20"/>
                  <a:gd name="T8" fmla="*/ 8 w 10"/>
                  <a:gd name="T9" fmla="*/ 18 h 20"/>
                  <a:gd name="T10" fmla="*/ 4 w 10"/>
                  <a:gd name="T11" fmla="*/ 20 h 20"/>
                  <a:gd name="T12" fmla="*/ 4 w 10"/>
                  <a:gd name="T13" fmla="*/ 20 h 20"/>
                  <a:gd name="T14" fmla="*/ 4 w 10"/>
                  <a:gd name="T15" fmla="*/ 20 h 20"/>
                  <a:gd name="T16" fmla="*/ 4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4 w 10"/>
                  <a:gd name="T31" fmla="*/ 0 h 20"/>
                  <a:gd name="T32" fmla="*/ 4 w 10"/>
                  <a:gd name="T33" fmla="*/ 0 h 20"/>
                  <a:gd name="T34" fmla="*/ 4 w 10"/>
                  <a:gd name="T35" fmla="*/ 0 h 20"/>
                  <a:gd name="T36" fmla="*/ 4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4 w 10"/>
                  <a:gd name="T55" fmla="*/ 16 h 20"/>
                  <a:gd name="T56" fmla="*/ 4 w 10"/>
                  <a:gd name="T57" fmla="*/ 16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8" y="16"/>
                    </a:lnTo>
                    <a:lnTo>
                      <a:pt x="8" y="16"/>
                    </a:lnTo>
                    <a:lnTo>
                      <a:pt x="8" y="18"/>
                    </a:lnTo>
                    <a:lnTo>
                      <a:pt x="4" y="20"/>
                    </a:lnTo>
                    <a:lnTo>
                      <a:pt x="4" y="20"/>
                    </a:lnTo>
                    <a:lnTo>
                      <a:pt x="4" y="20"/>
                    </a:lnTo>
                    <a:lnTo>
                      <a:pt x="4" y="20"/>
                    </a:lnTo>
                    <a:lnTo>
                      <a:pt x="4" y="20"/>
                    </a:lnTo>
                    <a:lnTo>
                      <a:pt x="4" y="20"/>
                    </a:lnTo>
                    <a:lnTo>
                      <a:pt x="8" y="18"/>
                    </a:lnTo>
                    <a:lnTo>
                      <a:pt x="10" y="14"/>
                    </a:lnTo>
                    <a:close/>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6" name="Freeform 1363"/>
              <p:cNvSpPr>
                <a:spLocks/>
              </p:cNvSpPr>
              <p:nvPr/>
            </p:nvSpPr>
            <p:spPr bwMode="auto">
              <a:xfrm>
                <a:off x="6708" y="1828"/>
                <a:ext cx="6" cy="6"/>
              </a:xfrm>
              <a:custGeom>
                <a:avLst/>
                <a:gdLst>
                  <a:gd name="T0" fmla="*/ 6 w 6"/>
                  <a:gd name="T1" fmla="*/ 0 h 6"/>
                  <a:gd name="T2" fmla="*/ 6 w 6"/>
                  <a:gd name="T3" fmla="*/ 0 h 6"/>
                  <a:gd name="T4" fmla="*/ 4 w 6"/>
                  <a:gd name="T5" fmla="*/ 2 h 6"/>
                  <a:gd name="T6" fmla="*/ 4 w 6"/>
                  <a:gd name="T7" fmla="*/ 2 h 6"/>
                  <a:gd name="T8" fmla="*/ 4 w 6"/>
                  <a:gd name="T9" fmla="*/ 4 h 6"/>
                  <a:gd name="T10" fmla="*/ 0 w 6"/>
                  <a:gd name="T11" fmla="*/ 6 h 6"/>
                  <a:gd name="T12" fmla="*/ 0 w 6"/>
                  <a:gd name="T13" fmla="*/ 6 h 6"/>
                  <a:gd name="T14" fmla="*/ 0 w 6"/>
                  <a:gd name="T15" fmla="*/ 6 h 6"/>
                  <a:gd name="T16" fmla="*/ 0 w 6"/>
                  <a:gd name="T17" fmla="*/ 6 h 6"/>
                  <a:gd name="T18" fmla="*/ 0 w 6"/>
                  <a:gd name="T19" fmla="*/ 6 h 6"/>
                  <a:gd name="T20" fmla="*/ 0 w 6"/>
                  <a:gd name="T21" fmla="*/ 6 h 6"/>
                  <a:gd name="T22" fmla="*/ 4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4" y="2"/>
                    </a:lnTo>
                    <a:lnTo>
                      <a:pt x="4" y="2"/>
                    </a:lnTo>
                    <a:lnTo>
                      <a:pt x="4" y="4"/>
                    </a:lnTo>
                    <a:lnTo>
                      <a:pt x="0" y="6"/>
                    </a:lnTo>
                    <a:lnTo>
                      <a:pt x="0" y="6"/>
                    </a:lnTo>
                    <a:lnTo>
                      <a:pt x="0" y="6"/>
                    </a:lnTo>
                    <a:lnTo>
                      <a:pt x="0" y="6"/>
                    </a:lnTo>
                    <a:lnTo>
                      <a:pt x="0" y="6"/>
                    </a:lnTo>
                    <a:lnTo>
                      <a:pt x="0" y="6"/>
                    </a:lnTo>
                    <a:lnTo>
                      <a:pt x="4"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7" name="Freeform 1364"/>
              <p:cNvSpPr>
                <a:spLocks/>
              </p:cNvSpPr>
              <p:nvPr/>
            </p:nvSpPr>
            <p:spPr bwMode="auto">
              <a:xfrm>
                <a:off x="6704" y="1814"/>
                <a:ext cx="4" cy="16"/>
              </a:xfrm>
              <a:custGeom>
                <a:avLst/>
                <a:gdLst>
                  <a:gd name="T0" fmla="*/ 4 w 4"/>
                  <a:gd name="T1" fmla="*/ 0 h 16"/>
                  <a:gd name="T2" fmla="*/ 4 w 4"/>
                  <a:gd name="T3" fmla="*/ 0 h 16"/>
                  <a:gd name="T4" fmla="*/ 4 w 4"/>
                  <a:gd name="T5" fmla="*/ 0 h 16"/>
                  <a:gd name="T6" fmla="*/ 4 w 4"/>
                  <a:gd name="T7" fmla="*/ 0 h 16"/>
                  <a:gd name="T8" fmla="*/ 4 w 4"/>
                  <a:gd name="T9" fmla="*/ 0 h 16"/>
                  <a:gd name="T10" fmla="*/ 4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4 w 4"/>
                  <a:gd name="T29" fmla="*/ 16 h 16"/>
                  <a:gd name="T30" fmla="*/ 4 w 4"/>
                  <a:gd name="T31" fmla="*/ 16 h 16"/>
                  <a:gd name="T32" fmla="*/ 2 w 4"/>
                  <a:gd name="T33" fmla="*/ 16 h 16"/>
                  <a:gd name="T34" fmla="*/ 2 w 4"/>
                  <a:gd name="T35" fmla="*/ 16 h 16"/>
                  <a:gd name="T36" fmla="*/ 0 w 4"/>
                  <a:gd name="T37" fmla="*/ 12 h 16"/>
                  <a:gd name="T38" fmla="*/ 0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4" y="0"/>
                    </a:lnTo>
                    <a:lnTo>
                      <a:pt x="4" y="0"/>
                    </a:lnTo>
                    <a:lnTo>
                      <a:pt x="4" y="0"/>
                    </a:lnTo>
                    <a:lnTo>
                      <a:pt x="4" y="0"/>
                    </a:lnTo>
                    <a:lnTo>
                      <a:pt x="4" y="0"/>
                    </a:lnTo>
                    <a:lnTo>
                      <a:pt x="4" y="0"/>
                    </a:lnTo>
                    <a:lnTo>
                      <a:pt x="4" y="0"/>
                    </a:lnTo>
                    <a:lnTo>
                      <a:pt x="4" y="0"/>
                    </a:lnTo>
                    <a:lnTo>
                      <a:pt x="0" y="12"/>
                    </a:lnTo>
                    <a:lnTo>
                      <a:pt x="0" y="12"/>
                    </a:lnTo>
                    <a:lnTo>
                      <a:pt x="2" y="16"/>
                    </a:lnTo>
                    <a:lnTo>
                      <a:pt x="2" y="16"/>
                    </a:lnTo>
                    <a:lnTo>
                      <a:pt x="4" y="16"/>
                    </a:lnTo>
                    <a:lnTo>
                      <a:pt x="4"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8" name="Freeform 1365"/>
              <p:cNvSpPr>
                <a:spLocks noEditPoints="1"/>
              </p:cNvSpPr>
              <p:nvPr/>
            </p:nvSpPr>
            <p:spPr bwMode="auto">
              <a:xfrm>
                <a:off x="6816" y="1802"/>
                <a:ext cx="18" cy="14"/>
              </a:xfrm>
              <a:custGeom>
                <a:avLst/>
                <a:gdLst>
                  <a:gd name="T0" fmla="*/ 6 w 18"/>
                  <a:gd name="T1" fmla="*/ 12 h 14"/>
                  <a:gd name="T2" fmla="*/ 6 w 18"/>
                  <a:gd name="T3" fmla="*/ 12 h 14"/>
                  <a:gd name="T4" fmla="*/ 4 w 18"/>
                  <a:gd name="T5" fmla="*/ 10 h 14"/>
                  <a:gd name="T6" fmla="*/ 4 w 18"/>
                  <a:gd name="T7" fmla="*/ 10 h 14"/>
                  <a:gd name="T8" fmla="*/ 8 w 18"/>
                  <a:gd name="T9" fmla="*/ 8 h 14"/>
                  <a:gd name="T10" fmla="*/ 8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4 h 14"/>
                  <a:gd name="T26" fmla="*/ 6 w 18"/>
                  <a:gd name="T27" fmla="*/ 14 h 14"/>
                  <a:gd name="T28" fmla="*/ 6 w 18"/>
                  <a:gd name="T29" fmla="*/ 12 h 14"/>
                  <a:gd name="T30" fmla="*/ 14 w 18"/>
                  <a:gd name="T31" fmla="*/ 0 h 14"/>
                  <a:gd name="T32" fmla="*/ 14 w 18"/>
                  <a:gd name="T33" fmla="*/ 0 h 14"/>
                  <a:gd name="T34" fmla="*/ 6 w 18"/>
                  <a:gd name="T35" fmla="*/ 4 h 14"/>
                  <a:gd name="T36" fmla="*/ 0 w 18"/>
                  <a:gd name="T37" fmla="*/ 10 h 14"/>
                  <a:gd name="T38" fmla="*/ 0 w 18"/>
                  <a:gd name="T39" fmla="*/ 10 h 14"/>
                  <a:gd name="T40" fmla="*/ 2 w 18"/>
                  <a:gd name="T41" fmla="*/ 10 h 14"/>
                  <a:gd name="T42" fmla="*/ 2 w 18"/>
                  <a:gd name="T43" fmla="*/ 10 h 14"/>
                  <a:gd name="T44" fmla="*/ 6 w 18"/>
                  <a:gd name="T45" fmla="*/ 14 h 14"/>
                  <a:gd name="T46" fmla="*/ 6 w 18"/>
                  <a:gd name="T47" fmla="*/ 14 h 14"/>
                  <a:gd name="T48" fmla="*/ 18 w 18"/>
                  <a:gd name="T49" fmla="*/ 6 h 14"/>
                  <a:gd name="T50" fmla="*/ 18 w 18"/>
                  <a:gd name="T51" fmla="*/ 6 h 14"/>
                  <a:gd name="T52" fmla="*/ 14 w 18"/>
                  <a:gd name="T53" fmla="*/ 6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12"/>
                    </a:moveTo>
                    <a:lnTo>
                      <a:pt x="6" y="12"/>
                    </a:lnTo>
                    <a:lnTo>
                      <a:pt x="4" y="10"/>
                    </a:lnTo>
                    <a:lnTo>
                      <a:pt x="4" y="10"/>
                    </a:lnTo>
                    <a:lnTo>
                      <a:pt x="8" y="8"/>
                    </a:lnTo>
                    <a:lnTo>
                      <a:pt x="8" y="8"/>
                    </a:lnTo>
                    <a:lnTo>
                      <a:pt x="10" y="10"/>
                    </a:lnTo>
                    <a:lnTo>
                      <a:pt x="10" y="10"/>
                    </a:lnTo>
                    <a:lnTo>
                      <a:pt x="10" y="10"/>
                    </a:lnTo>
                    <a:lnTo>
                      <a:pt x="10" y="10"/>
                    </a:lnTo>
                    <a:lnTo>
                      <a:pt x="10" y="10"/>
                    </a:lnTo>
                    <a:lnTo>
                      <a:pt x="10" y="10"/>
                    </a:lnTo>
                    <a:lnTo>
                      <a:pt x="6" y="14"/>
                    </a:lnTo>
                    <a:lnTo>
                      <a:pt x="6" y="14"/>
                    </a:lnTo>
                    <a:lnTo>
                      <a:pt x="6" y="12"/>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49" name="Freeform 1366"/>
              <p:cNvSpPr>
                <a:spLocks/>
              </p:cNvSpPr>
              <p:nvPr/>
            </p:nvSpPr>
            <p:spPr bwMode="auto">
              <a:xfrm>
                <a:off x="6820" y="1810"/>
                <a:ext cx="6" cy="6"/>
              </a:xfrm>
              <a:custGeom>
                <a:avLst/>
                <a:gdLst>
                  <a:gd name="T0" fmla="*/ 2 w 6"/>
                  <a:gd name="T1" fmla="*/ 4 h 6"/>
                  <a:gd name="T2" fmla="*/ 2 w 6"/>
                  <a:gd name="T3" fmla="*/ 4 h 6"/>
                  <a:gd name="T4" fmla="*/ 0 w 6"/>
                  <a:gd name="T5" fmla="*/ 2 h 6"/>
                  <a:gd name="T6" fmla="*/ 0 w 6"/>
                  <a:gd name="T7" fmla="*/ 2 h 6"/>
                  <a:gd name="T8" fmla="*/ 4 w 6"/>
                  <a:gd name="T9" fmla="*/ 0 h 6"/>
                  <a:gd name="T10" fmla="*/ 4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2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4"/>
                    </a:moveTo>
                    <a:lnTo>
                      <a:pt x="2" y="4"/>
                    </a:lnTo>
                    <a:lnTo>
                      <a:pt x="0" y="2"/>
                    </a:lnTo>
                    <a:lnTo>
                      <a:pt x="0" y="2"/>
                    </a:lnTo>
                    <a:lnTo>
                      <a:pt x="4" y="0"/>
                    </a:lnTo>
                    <a:lnTo>
                      <a:pt x="4" y="0"/>
                    </a:lnTo>
                    <a:lnTo>
                      <a:pt x="6" y="2"/>
                    </a:lnTo>
                    <a:lnTo>
                      <a:pt x="6" y="2"/>
                    </a:lnTo>
                    <a:lnTo>
                      <a:pt x="6" y="2"/>
                    </a:lnTo>
                    <a:lnTo>
                      <a:pt x="6" y="2"/>
                    </a:lnTo>
                    <a:lnTo>
                      <a:pt x="6" y="2"/>
                    </a:lnTo>
                    <a:lnTo>
                      <a:pt x="6" y="2"/>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0" name="Freeform 1367"/>
              <p:cNvSpPr>
                <a:spLocks/>
              </p:cNvSpPr>
              <p:nvPr/>
            </p:nvSpPr>
            <p:spPr bwMode="auto">
              <a:xfrm>
                <a:off x="6816" y="1802"/>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1" name="Freeform 1368"/>
              <p:cNvSpPr>
                <a:spLocks/>
              </p:cNvSpPr>
              <p:nvPr/>
            </p:nvSpPr>
            <p:spPr bwMode="auto">
              <a:xfrm>
                <a:off x="6770" y="17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2" name="Freeform 1369"/>
              <p:cNvSpPr>
                <a:spLocks/>
              </p:cNvSpPr>
              <p:nvPr/>
            </p:nvSpPr>
            <p:spPr bwMode="auto">
              <a:xfrm>
                <a:off x="6770" y="1792"/>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3" name="Freeform 1370"/>
              <p:cNvSpPr>
                <a:spLocks/>
              </p:cNvSpPr>
              <p:nvPr/>
            </p:nvSpPr>
            <p:spPr bwMode="auto">
              <a:xfrm>
                <a:off x="6866"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4" name="Freeform 1371"/>
              <p:cNvSpPr>
                <a:spLocks/>
              </p:cNvSpPr>
              <p:nvPr/>
            </p:nvSpPr>
            <p:spPr bwMode="auto">
              <a:xfrm>
                <a:off x="6866" y="1796"/>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5" name="Freeform 1372"/>
              <p:cNvSpPr>
                <a:spLocks/>
              </p:cNvSpPr>
              <p:nvPr/>
            </p:nvSpPr>
            <p:spPr bwMode="auto">
              <a:xfrm>
                <a:off x="6810"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6" name="Freeform 1373"/>
              <p:cNvSpPr>
                <a:spLocks/>
              </p:cNvSpPr>
              <p:nvPr/>
            </p:nvSpPr>
            <p:spPr bwMode="auto">
              <a:xfrm>
                <a:off x="6810" y="1792"/>
                <a:ext cx="8" cy="8"/>
              </a:xfrm>
              <a:custGeom>
                <a:avLst/>
                <a:gdLst>
                  <a:gd name="T0" fmla="*/ 8 w 8"/>
                  <a:gd name="T1" fmla="*/ 0 h 8"/>
                  <a:gd name="T2" fmla="*/ 8 w 8"/>
                  <a:gd name="T3" fmla="*/ 0 h 8"/>
                  <a:gd name="T4" fmla="*/ 2 w 8"/>
                  <a:gd name="T5" fmla="*/ 4 h 8"/>
                  <a:gd name="T6" fmla="*/ 0 w 8"/>
                  <a:gd name="T7" fmla="*/ 6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6"/>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7" name="Freeform 1374"/>
              <p:cNvSpPr>
                <a:spLocks/>
              </p:cNvSpPr>
              <p:nvPr/>
            </p:nvSpPr>
            <p:spPr bwMode="auto">
              <a:xfrm>
                <a:off x="6826"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8" name="Freeform 1375"/>
              <p:cNvSpPr>
                <a:spLocks/>
              </p:cNvSpPr>
              <p:nvPr/>
            </p:nvSpPr>
            <p:spPr bwMode="auto">
              <a:xfrm>
                <a:off x="6826" y="1842"/>
                <a:ext cx="4" cy="4"/>
              </a:xfrm>
              <a:custGeom>
                <a:avLst/>
                <a:gdLst>
                  <a:gd name="T0" fmla="*/ 4 w 4"/>
                  <a:gd name="T1" fmla="*/ 0 h 4"/>
                  <a:gd name="T2" fmla="*/ 4 w 4"/>
                  <a:gd name="T3" fmla="*/ 0 h 4"/>
                  <a:gd name="T4" fmla="*/ 0 w 4"/>
                  <a:gd name="T5" fmla="*/ 2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2"/>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59" name="Freeform 1376"/>
              <p:cNvSpPr>
                <a:spLocks/>
              </p:cNvSpPr>
              <p:nvPr/>
            </p:nvSpPr>
            <p:spPr bwMode="auto">
              <a:xfrm>
                <a:off x="6822" y="1810"/>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0" y="4"/>
                    </a:lnTo>
                    <a:lnTo>
                      <a:pt x="0" y="4"/>
                    </a:lnTo>
                    <a:lnTo>
                      <a:pt x="4" y="2"/>
                    </a:lnTo>
                    <a:lnTo>
                      <a:pt x="4"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0" name="Freeform 1377"/>
              <p:cNvSpPr>
                <a:spLocks/>
              </p:cNvSpPr>
              <p:nvPr/>
            </p:nvSpPr>
            <p:spPr bwMode="auto">
              <a:xfrm>
                <a:off x="6822" y="1810"/>
                <a:ext cx="4" cy="4"/>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0" y="4"/>
                    </a:lnTo>
                    <a:lnTo>
                      <a:pt x="0" y="4"/>
                    </a:lnTo>
                    <a:lnTo>
                      <a:pt x="4" y="2"/>
                    </a:lnTo>
                    <a:lnTo>
                      <a:pt x="4"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1" name="Freeform 1378"/>
              <p:cNvSpPr>
                <a:spLocks/>
              </p:cNvSpPr>
              <p:nvPr/>
            </p:nvSpPr>
            <p:spPr bwMode="auto">
              <a:xfrm>
                <a:off x="6822" y="1812"/>
                <a:ext cx="4" cy="4"/>
              </a:xfrm>
              <a:custGeom>
                <a:avLst/>
                <a:gdLst>
                  <a:gd name="T0" fmla="*/ 4 w 4"/>
                  <a:gd name="T1" fmla="*/ 0 h 4"/>
                  <a:gd name="T2" fmla="*/ 4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0" y="2"/>
                    </a:lnTo>
                    <a:lnTo>
                      <a:pt x="0" y="2"/>
                    </a:lnTo>
                    <a:lnTo>
                      <a:pt x="0" y="2"/>
                    </a:lnTo>
                    <a:lnTo>
                      <a:pt x="0" y="2"/>
                    </a:lnTo>
                    <a:lnTo>
                      <a:pt x="0" y="4"/>
                    </a:lnTo>
                    <a:lnTo>
                      <a:pt x="0" y="4"/>
                    </a:lnTo>
                    <a:lnTo>
                      <a:pt x="4" y="0"/>
                    </a:lnTo>
                    <a:lnTo>
                      <a:pt x="4" y="0"/>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2" name="Freeform 1379"/>
              <p:cNvSpPr>
                <a:spLocks/>
              </p:cNvSpPr>
              <p:nvPr/>
            </p:nvSpPr>
            <p:spPr bwMode="auto">
              <a:xfrm>
                <a:off x="6822" y="1812"/>
                <a:ext cx="4" cy="4"/>
              </a:xfrm>
              <a:custGeom>
                <a:avLst/>
                <a:gdLst>
                  <a:gd name="T0" fmla="*/ 4 w 4"/>
                  <a:gd name="T1" fmla="*/ 0 h 4"/>
                  <a:gd name="T2" fmla="*/ 4 w 4"/>
                  <a:gd name="T3" fmla="*/ 0 h 4"/>
                  <a:gd name="T4" fmla="*/ 0 w 4"/>
                  <a:gd name="T5" fmla="*/ 2 h 4"/>
                  <a:gd name="T6" fmla="*/ 0 w 4"/>
                  <a:gd name="T7" fmla="*/ 2 h 4"/>
                  <a:gd name="T8" fmla="*/ 0 w 4"/>
                  <a:gd name="T9" fmla="*/ 2 h 4"/>
                  <a:gd name="T10" fmla="*/ 0 w 4"/>
                  <a:gd name="T11" fmla="*/ 2 h 4"/>
                  <a:gd name="T12" fmla="*/ 0 w 4"/>
                  <a:gd name="T13" fmla="*/ 4 h 4"/>
                  <a:gd name="T14" fmla="*/ 0 w 4"/>
                  <a:gd name="T15" fmla="*/ 4 h 4"/>
                  <a:gd name="T16" fmla="*/ 4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0" y="2"/>
                    </a:lnTo>
                    <a:lnTo>
                      <a:pt x="0" y="2"/>
                    </a:lnTo>
                    <a:lnTo>
                      <a:pt x="0" y="2"/>
                    </a:lnTo>
                    <a:lnTo>
                      <a:pt x="0" y="2"/>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3" name="Freeform 1380"/>
              <p:cNvSpPr>
                <a:spLocks/>
              </p:cNvSpPr>
              <p:nvPr/>
            </p:nvSpPr>
            <p:spPr bwMode="auto">
              <a:xfrm>
                <a:off x="588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4" name="Freeform 1381"/>
              <p:cNvSpPr>
                <a:spLocks/>
              </p:cNvSpPr>
              <p:nvPr/>
            </p:nvSpPr>
            <p:spPr bwMode="auto">
              <a:xfrm>
                <a:off x="5980"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5" name="Freeform 1382"/>
              <p:cNvSpPr>
                <a:spLocks/>
              </p:cNvSpPr>
              <p:nvPr/>
            </p:nvSpPr>
            <p:spPr bwMode="auto">
              <a:xfrm>
                <a:off x="6072"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6" name="Freeform 1383"/>
              <p:cNvSpPr>
                <a:spLocks/>
              </p:cNvSpPr>
              <p:nvPr/>
            </p:nvSpPr>
            <p:spPr bwMode="auto">
              <a:xfrm>
                <a:off x="6390"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7" name="Freeform 1384"/>
              <p:cNvSpPr>
                <a:spLocks/>
              </p:cNvSpPr>
              <p:nvPr/>
            </p:nvSpPr>
            <p:spPr bwMode="auto">
              <a:xfrm>
                <a:off x="6390" y="1578"/>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8" name="Freeform 1385"/>
              <p:cNvSpPr>
                <a:spLocks/>
              </p:cNvSpPr>
              <p:nvPr/>
            </p:nvSpPr>
            <p:spPr bwMode="auto">
              <a:xfrm>
                <a:off x="645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69" name="Freeform 1386"/>
              <p:cNvSpPr>
                <a:spLocks/>
              </p:cNvSpPr>
              <p:nvPr/>
            </p:nvSpPr>
            <p:spPr bwMode="auto">
              <a:xfrm>
                <a:off x="645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0" name="Freeform 1387"/>
              <p:cNvSpPr>
                <a:spLocks/>
              </p:cNvSpPr>
              <p:nvPr/>
            </p:nvSpPr>
            <p:spPr bwMode="auto">
              <a:xfrm>
                <a:off x="6538"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1" name="Freeform 1388"/>
              <p:cNvSpPr>
                <a:spLocks/>
              </p:cNvSpPr>
              <p:nvPr/>
            </p:nvSpPr>
            <p:spPr bwMode="auto">
              <a:xfrm>
                <a:off x="663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2" name="Freeform 1389"/>
              <p:cNvSpPr>
                <a:spLocks/>
              </p:cNvSpPr>
              <p:nvPr/>
            </p:nvSpPr>
            <p:spPr bwMode="auto">
              <a:xfrm>
                <a:off x="672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3" name="Freeform 1390"/>
              <p:cNvSpPr>
                <a:spLocks noEditPoints="1"/>
              </p:cNvSpPr>
              <p:nvPr/>
            </p:nvSpPr>
            <p:spPr bwMode="auto">
              <a:xfrm>
                <a:off x="6162" y="1576"/>
                <a:ext cx="188" cy="146"/>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8 w 188"/>
                  <a:gd name="T11" fmla="*/ 66 h 146"/>
                  <a:gd name="T12" fmla="*/ 14 w 188"/>
                  <a:gd name="T13" fmla="*/ 66 h 146"/>
                  <a:gd name="T14" fmla="*/ 8 w 188"/>
                  <a:gd name="T15" fmla="*/ 70 h 146"/>
                  <a:gd name="T16" fmla="*/ 8 w 188"/>
                  <a:gd name="T17" fmla="*/ 50 h 146"/>
                  <a:gd name="T18" fmla="*/ 86 w 188"/>
                  <a:gd name="T19" fmla="*/ 16 h 146"/>
                  <a:gd name="T20" fmla="*/ 130 w 188"/>
                  <a:gd name="T21" fmla="*/ 8 h 146"/>
                  <a:gd name="T22" fmla="*/ 158 w 188"/>
                  <a:gd name="T23" fmla="*/ 32 h 146"/>
                  <a:gd name="T24" fmla="*/ 160 w 188"/>
                  <a:gd name="T25" fmla="*/ 44 h 146"/>
                  <a:gd name="T26" fmla="*/ 154 w 188"/>
                  <a:gd name="T27" fmla="*/ 46 h 146"/>
                  <a:gd name="T28" fmla="*/ 158 w 188"/>
                  <a:gd name="T29" fmla="*/ 46 h 146"/>
                  <a:gd name="T30" fmla="*/ 162 w 188"/>
                  <a:gd name="T31" fmla="*/ 42 h 146"/>
                  <a:gd name="T32" fmla="*/ 178 w 188"/>
                  <a:gd name="T33" fmla="*/ 28 h 146"/>
                  <a:gd name="T34" fmla="*/ 184 w 188"/>
                  <a:gd name="T35" fmla="*/ 70 h 146"/>
                  <a:gd name="T36" fmla="*/ 142 w 188"/>
                  <a:gd name="T37" fmla="*/ 86 h 146"/>
                  <a:gd name="T38" fmla="*/ 136 w 188"/>
                  <a:gd name="T39" fmla="*/ 100 h 146"/>
                  <a:gd name="T40" fmla="*/ 146 w 188"/>
                  <a:gd name="T41" fmla="*/ 90 h 146"/>
                  <a:gd name="T42" fmla="*/ 130 w 188"/>
                  <a:gd name="T43" fmla="*/ 102 h 146"/>
                  <a:gd name="T44" fmla="*/ 116 w 188"/>
                  <a:gd name="T45" fmla="*/ 96 h 146"/>
                  <a:gd name="T46" fmla="*/ 86 w 188"/>
                  <a:gd name="T47" fmla="*/ 140 h 146"/>
                  <a:gd name="T48" fmla="*/ 70 w 188"/>
                  <a:gd name="T49" fmla="*/ 130 h 146"/>
                  <a:gd name="T50" fmla="*/ 78 w 188"/>
                  <a:gd name="T51" fmla="*/ 114 h 146"/>
                  <a:gd name="T52" fmla="*/ 56 w 188"/>
                  <a:gd name="T53" fmla="*/ 116 h 146"/>
                  <a:gd name="T54" fmla="*/ 54 w 188"/>
                  <a:gd name="T55" fmla="*/ 124 h 146"/>
                  <a:gd name="T56" fmla="*/ 44 w 188"/>
                  <a:gd name="T57" fmla="*/ 140 h 146"/>
                  <a:gd name="T58" fmla="*/ 28 w 188"/>
                  <a:gd name="T59" fmla="*/ 122 h 146"/>
                  <a:gd name="T60" fmla="*/ 16 w 188"/>
                  <a:gd name="T61" fmla="*/ 78 h 146"/>
                  <a:gd name="T62" fmla="*/ 56 w 188"/>
                  <a:gd name="T63" fmla="*/ 36 h 146"/>
                  <a:gd name="T64" fmla="*/ 42 w 188"/>
                  <a:gd name="T65" fmla="*/ 60 h 146"/>
                  <a:gd name="T66" fmla="*/ 50 w 188"/>
                  <a:gd name="T67" fmla="*/ 88 h 146"/>
                  <a:gd name="T68" fmla="*/ 74 w 188"/>
                  <a:gd name="T69" fmla="*/ 96 h 146"/>
                  <a:gd name="T70" fmla="*/ 98 w 188"/>
                  <a:gd name="T71" fmla="*/ 72 h 146"/>
                  <a:gd name="T72" fmla="*/ 94 w 188"/>
                  <a:gd name="T73" fmla="*/ 82 h 146"/>
                  <a:gd name="T74" fmla="*/ 64 w 188"/>
                  <a:gd name="T75" fmla="*/ 96 h 146"/>
                  <a:gd name="T76" fmla="*/ 56 w 188"/>
                  <a:gd name="T77" fmla="*/ 78 h 146"/>
                  <a:gd name="T78" fmla="*/ 44 w 188"/>
                  <a:gd name="T79" fmla="*/ 64 h 146"/>
                  <a:gd name="T80" fmla="*/ 86 w 188"/>
                  <a:gd name="T81" fmla="*/ 22 h 146"/>
                  <a:gd name="T82" fmla="*/ 98 w 188"/>
                  <a:gd name="T83" fmla="*/ 4 h 146"/>
                  <a:gd name="T84" fmla="*/ 70 w 188"/>
                  <a:gd name="T85" fmla="*/ 24 h 146"/>
                  <a:gd name="T86" fmla="*/ 18 w 188"/>
                  <a:gd name="T87" fmla="*/ 56 h 146"/>
                  <a:gd name="T88" fmla="*/ 14 w 188"/>
                  <a:gd name="T89" fmla="*/ 56 h 146"/>
                  <a:gd name="T90" fmla="*/ 0 w 188"/>
                  <a:gd name="T91" fmla="*/ 58 h 146"/>
                  <a:gd name="T92" fmla="*/ 12 w 188"/>
                  <a:gd name="T93" fmla="*/ 84 h 146"/>
                  <a:gd name="T94" fmla="*/ 4 w 188"/>
                  <a:gd name="T95" fmla="*/ 112 h 146"/>
                  <a:gd name="T96" fmla="*/ 22 w 188"/>
                  <a:gd name="T97" fmla="*/ 132 h 146"/>
                  <a:gd name="T98" fmla="*/ 42 w 188"/>
                  <a:gd name="T99" fmla="*/ 144 h 146"/>
                  <a:gd name="T100" fmla="*/ 52 w 188"/>
                  <a:gd name="T101" fmla="*/ 132 h 146"/>
                  <a:gd name="T102" fmla="*/ 74 w 188"/>
                  <a:gd name="T103" fmla="*/ 144 h 146"/>
                  <a:gd name="T104" fmla="*/ 98 w 188"/>
                  <a:gd name="T105" fmla="*/ 134 h 146"/>
                  <a:gd name="T106" fmla="*/ 124 w 188"/>
                  <a:gd name="T107" fmla="*/ 128 h 146"/>
                  <a:gd name="T108" fmla="*/ 118 w 188"/>
                  <a:gd name="T109" fmla="*/ 96 h 146"/>
                  <a:gd name="T110" fmla="*/ 142 w 188"/>
                  <a:gd name="T111" fmla="*/ 102 h 146"/>
                  <a:gd name="T112" fmla="*/ 154 w 188"/>
                  <a:gd name="T113" fmla="*/ 92 h 146"/>
                  <a:gd name="T114" fmla="*/ 188 w 188"/>
                  <a:gd name="T115" fmla="*/ 60 h 146"/>
                  <a:gd name="T116" fmla="*/ 178 w 188"/>
                  <a:gd name="T117" fmla="*/ 24 h 146"/>
                  <a:gd name="T118" fmla="*/ 162 w 188"/>
                  <a:gd name="T119" fmla="*/ 32 h 146"/>
                  <a:gd name="T120" fmla="*/ 126 w 188"/>
                  <a:gd name="T121"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0" y="122"/>
                    </a:moveTo>
                    <a:lnTo>
                      <a:pt x="110"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10"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8" y="114"/>
                    </a:lnTo>
                    <a:lnTo>
                      <a:pt x="6" y="110"/>
                    </a:lnTo>
                    <a:lnTo>
                      <a:pt x="6" y="110"/>
                    </a:lnTo>
                    <a:lnTo>
                      <a:pt x="8" y="106"/>
                    </a:lnTo>
                    <a:lnTo>
                      <a:pt x="8" y="106"/>
                    </a:lnTo>
                    <a:lnTo>
                      <a:pt x="8" y="104"/>
                    </a:lnTo>
                    <a:close/>
                    <a:moveTo>
                      <a:pt x="10" y="50"/>
                    </a:moveTo>
                    <a:lnTo>
                      <a:pt x="10" y="50"/>
                    </a:lnTo>
                    <a:lnTo>
                      <a:pt x="10" y="50"/>
                    </a:lnTo>
                    <a:lnTo>
                      <a:pt x="10" y="50"/>
                    </a:lnTo>
                    <a:lnTo>
                      <a:pt x="6" y="62"/>
                    </a:lnTo>
                    <a:lnTo>
                      <a:pt x="6" y="62"/>
                    </a:lnTo>
                    <a:lnTo>
                      <a:pt x="8" y="66"/>
                    </a:lnTo>
                    <a:lnTo>
                      <a:pt x="8" y="66"/>
                    </a:lnTo>
                    <a:lnTo>
                      <a:pt x="8" y="66"/>
                    </a:lnTo>
                    <a:lnTo>
                      <a:pt x="8" y="66"/>
                    </a:lnTo>
                    <a:lnTo>
                      <a:pt x="10" y="66"/>
                    </a:lnTo>
                    <a:lnTo>
                      <a:pt x="10" y="66"/>
                    </a:lnTo>
                    <a:lnTo>
                      <a:pt x="14" y="64"/>
                    </a:lnTo>
                    <a:lnTo>
                      <a:pt x="14" y="64"/>
                    </a:lnTo>
                    <a:lnTo>
                      <a:pt x="14" y="66"/>
                    </a:lnTo>
                    <a:lnTo>
                      <a:pt x="14" y="66"/>
                    </a:lnTo>
                    <a:lnTo>
                      <a:pt x="16" y="64"/>
                    </a:lnTo>
                    <a:lnTo>
                      <a:pt x="16" y="64"/>
                    </a:lnTo>
                    <a:lnTo>
                      <a:pt x="14" y="68"/>
                    </a:lnTo>
                    <a:lnTo>
                      <a:pt x="10" y="70"/>
                    </a:lnTo>
                    <a:lnTo>
                      <a:pt x="10" y="70"/>
                    </a:lnTo>
                    <a:lnTo>
                      <a:pt x="8" y="70"/>
                    </a:lnTo>
                    <a:lnTo>
                      <a:pt x="8" y="70"/>
                    </a:lnTo>
                    <a:lnTo>
                      <a:pt x="8" y="70"/>
                    </a:lnTo>
                    <a:lnTo>
                      <a:pt x="8" y="70"/>
                    </a:lnTo>
                    <a:lnTo>
                      <a:pt x="6" y="66"/>
                    </a:lnTo>
                    <a:lnTo>
                      <a:pt x="4" y="62"/>
                    </a:lnTo>
                    <a:lnTo>
                      <a:pt x="2" y="58"/>
                    </a:lnTo>
                    <a:lnTo>
                      <a:pt x="2" y="56"/>
                    </a:lnTo>
                    <a:lnTo>
                      <a:pt x="2" y="56"/>
                    </a:lnTo>
                    <a:lnTo>
                      <a:pt x="8" y="50"/>
                    </a:lnTo>
                    <a:lnTo>
                      <a:pt x="8" y="50"/>
                    </a:lnTo>
                    <a:lnTo>
                      <a:pt x="8" y="50"/>
                    </a:lnTo>
                    <a:lnTo>
                      <a:pt x="8" y="50"/>
                    </a:lnTo>
                    <a:lnTo>
                      <a:pt x="8" y="50"/>
                    </a:lnTo>
                    <a:lnTo>
                      <a:pt x="8" y="50"/>
                    </a:lnTo>
                    <a:lnTo>
                      <a:pt x="10" y="50"/>
                    </a:lnTo>
                    <a:close/>
                    <a:moveTo>
                      <a:pt x="84" y="20"/>
                    </a:moveTo>
                    <a:lnTo>
                      <a:pt x="84" y="20"/>
                    </a:lnTo>
                    <a:lnTo>
                      <a:pt x="86" y="16"/>
                    </a:lnTo>
                    <a:lnTo>
                      <a:pt x="90" y="14"/>
                    </a:lnTo>
                    <a:lnTo>
                      <a:pt x="98" y="8"/>
                    </a:lnTo>
                    <a:lnTo>
                      <a:pt x="98"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8" y="88"/>
                    </a:lnTo>
                    <a:lnTo>
                      <a:pt x="108"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4" y="96"/>
                    </a:lnTo>
                    <a:lnTo>
                      <a:pt x="74"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4" y="26"/>
                    </a:lnTo>
                    <a:lnTo>
                      <a:pt x="74"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2"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4" name="Freeform 1391"/>
              <p:cNvSpPr>
                <a:spLocks/>
              </p:cNvSpPr>
              <p:nvPr/>
            </p:nvSpPr>
            <p:spPr bwMode="auto">
              <a:xfrm>
                <a:off x="6266" y="1680"/>
                <a:ext cx="16" cy="28"/>
              </a:xfrm>
              <a:custGeom>
                <a:avLst/>
                <a:gdLst>
                  <a:gd name="T0" fmla="*/ 6 w 16"/>
                  <a:gd name="T1" fmla="*/ 18 h 28"/>
                  <a:gd name="T2" fmla="*/ 6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6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6" y="18"/>
                    </a:moveTo>
                    <a:lnTo>
                      <a:pt x="6"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6"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5" name="Freeform 1392"/>
              <p:cNvSpPr>
                <a:spLocks/>
              </p:cNvSpPr>
              <p:nvPr/>
            </p:nvSpPr>
            <p:spPr bwMode="auto">
              <a:xfrm>
                <a:off x="6168" y="1676"/>
                <a:ext cx="18" cy="24"/>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2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2"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6" name="Freeform 1393"/>
              <p:cNvSpPr>
                <a:spLocks/>
              </p:cNvSpPr>
              <p:nvPr/>
            </p:nvSpPr>
            <p:spPr bwMode="auto">
              <a:xfrm>
                <a:off x="6164" y="1626"/>
                <a:ext cx="14" cy="20"/>
              </a:xfrm>
              <a:custGeom>
                <a:avLst/>
                <a:gdLst>
                  <a:gd name="T0" fmla="*/ 8 w 14"/>
                  <a:gd name="T1" fmla="*/ 0 h 20"/>
                  <a:gd name="T2" fmla="*/ 8 w 14"/>
                  <a:gd name="T3" fmla="*/ 0 h 20"/>
                  <a:gd name="T4" fmla="*/ 8 w 14"/>
                  <a:gd name="T5" fmla="*/ 0 h 20"/>
                  <a:gd name="T6" fmla="*/ 8 w 14"/>
                  <a:gd name="T7" fmla="*/ 0 h 20"/>
                  <a:gd name="T8" fmla="*/ 4 w 14"/>
                  <a:gd name="T9" fmla="*/ 12 h 20"/>
                  <a:gd name="T10" fmla="*/ 4 w 14"/>
                  <a:gd name="T11" fmla="*/ 12 h 20"/>
                  <a:gd name="T12" fmla="*/ 6 w 14"/>
                  <a:gd name="T13" fmla="*/ 16 h 20"/>
                  <a:gd name="T14" fmla="*/ 6 w 14"/>
                  <a:gd name="T15" fmla="*/ 16 h 20"/>
                  <a:gd name="T16" fmla="*/ 6 w 14"/>
                  <a:gd name="T17" fmla="*/ 16 h 20"/>
                  <a:gd name="T18" fmla="*/ 6 w 14"/>
                  <a:gd name="T19" fmla="*/ 16 h 20"/>
                  <a:gd name="T20" fmla="*/ 8 w 14"/>
                  <a:gd name="T21" fmla="*/ 16 h 20"/>
                  <a:gd name="T22" fmla="*/ 8 w 14"/>
                  <a:gd name="T23" fmla="*/ 16 h 20"/>
                  <a:gd name="T24" fmla="*/ 12 w 14"/>
                  <a:gd name="T25" fmla="*/ 14 h 20"/>
                  <a:gd name="T26" fmla="*/ 12 w 14"/>
                  <a:gd name="T27" fmla="*/ 14 h 20"/>
                  <a:gd name="T28" fmla="*/ 12 w 14"/>
                  <a:gd name="T29" fmla="*/ 16 h 20"/>
                  <a:gd name="T30" fmla="*/ 12 w 14"/>
                  <a:gd name="T31" fmla="*/ 16 h 20"/>
                  <a:gd name="T32" fmla="*/ 14 w 14"/>
                  <a:gd name="T33" fmla="*/ 14 h 20"/>
                  <a:gd name="T34" fmla="*/ 14 w 14"/>
                  <a:gd name="T35" fmla="*/ 14 h 20"/>
                  <a:gd name="T36" fmla="*/ 12 w 14"/>
                  <a:gd name="T37" fmla="*/ 18 h 20"/>
                  <a:gd name="T38" fmla="*/ 8 w 14"/>
                  <a:gd name="T39" fmla="*/ 20 h 20"/>
                  <a:gd name="T40" fmla="*/ 8 w 14"/>
                  <a:gd name="T41" fmla="*/ 20 h 20"/>
                  <a:gd name="T42" fmla="*/ 6 w 14"/>
                  <a:gd name="T43" fmla="*/ 20 h 20"/>
                  <a:gd name="T44" fmla="*/ 6 w 14"/>
                  <a:gd name="T45" fmla="*/ 20 h 20"/>
                  <a:gd name="T46" fmla="*/ 6 w 14"/>
                  <a:gd name="T47" fmla="*/ 20 h 20"/>
                  <a:gd name="T48" fmla="*/ 6 w 14"/>
                  <a:gd name="T49" fmla="*/ 20 h 20"/>
                  <a:gd name="T50" fmla="*/ 4 w 14"/>
                  <a:gd name="T51" fmla="*/ 16 h 20"/>
                  <a:gd name="T52" fmla="*/ 2 w 14"/>
                  <a:gd name="T53" fmla="*/ 12 h 20"/>
                  <a:gd name="T54" fmla="*/ 0 w 14"/>
                  <a:gd name="T55" fmla="*/ 8 h 20"/>
                  <a:gd name="T56" fmla="*/ 0 w 14"/>
                  <a:gd name="T57" fmla="*/ 6 h 20"/>
                  <a:gd name="T58" fmla="*/ 0 w 14"/>
                  <a:gd name="T59" fmla="*/ 6 h 20"/>
                  <a:gd name="T60" fmla="*/ 6 w 14"/>
                  <a:gd name="T61" fmla="*/ 0 h 20"/>
                  <a:gd name="T62" fmla="*/ 6 w 14"/>
                  <a:gd name="T63" fmla="*/ 0 h 20"/>
                  <a:gd name="T64" fmla="*/ 6 w 14"/>
                  <a:gd name="T65" fmla="*/ 0 h 20"/>
                  <a:gd name="T66" fmla="*/ 6 w 14"/>
                  <a:gd name="T67" fmla="*/ 0 h 20"/>
                  <a:gd name="T68" fmla="*/ 6 w 14"/>
                  <a:gd name="T69" fmla="*/ 0 h 20"/>
                  <a:gd name="T70" fmla="*/ 6 w 14"/>
                  <a:gd name="T71" fmla="*/ 0 h 20"/>
                  <a:gd name="T72" fmla="*/ 8 w 14"/>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0">
                    <a:moveTo>
                      <a:pt x="8" y="0"/>
                    </a:moveTo>
                    <a:lnTo>
                      <a:pt x="8" y="0"/>
                    </a:lnTo>
                    <a:lnTo>
                      <a:pt x="8" y="0"/>
                    </a:lnTo>
                    <a:lnTo>
                      <a:pt x="8" y="0"/>
                    </a:lnTo>
                    <a:lnTo>
                      <a:pt x="4" y="12"/>
                    </a:lnTo>
                    <a:lnTo>
                      <a:pt x="4" y="12"/>
                    </a:lnTo>
                    <a:lnTo>
                      <a:pt x="6" y="16"/>
                    </a:lnTo>
                    <a:lnTo>
                      <a:pt x="6" y="16"/>
                    </a:lnTo>
                    <a:lnTo>
                      <a:pt x="6" y="16"/>
                    </a:lnTo>
                    <a:lnTo>
                      <a:pt x="6" y="16"/>
                    </a:lnTo>
                    <a:lnTo>
                      <a:pt x="8" y="16"/>
                    </a:lnTo>
                    <a:lnTo>
                      <a:pt x="8" y="16"/>
                    </a:lnTo>
                    <a:lnTo>
                      <a:pt x="12" y="14"/>
                    </a:lnTo>
                    <a:lnTo>
                      <a:pt x="12" y="14"/>
                    </a:lnTo>
                    <a:lnTo>
                      <a:pt x="12" y="16"/>
                    </a:lnTo>
                    <a:lnTo>
                      <a:pt x="12" y="16"/>
                    </a:lnTo>
                    <a:lnTo>
                      <a:pt x="14" y="14"/>
                    </a:lnTo>
                    <a:lnTo>
                      <a:pt x="14" y="14"/>
                    </a:lnTo>
                    <a:lnTo>
                      <a:pt x="12" y="18"/>
                    </a:lnTo>
                    <a:lnTo>
                      <a:pt x="8" y="20"/>
                    </a:lnTo>
                    <a:lnTo>
                      <a:pt x="8" y="20"/>
                    </a:lnTo>
                    <a:lnTo>
                      <a:pt x="6" y="20"/>
                    </a:lnTo>
                    <a:lnTo>
                      <a:pt x="6" y="20"/>
                    </a:lnTo>
                    <a:lnTo>
                      <a:pt x="6" y="20"/>
                    </a:lnTo>
                    <a:lnTo>
                      <a:pt x="6" y="20"/>
                    </a:lnTo>
                    <a:lnTo>
                      <a:pt x="4" y="16"/>
                    </a:lnTo>
                    <a:lnTo>
                      <a:pt x="2" y="12"/>
                    </a:lnTo>
                    <a:lnTo>
                      <a:pt x="0" y="8"/>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7" name="Freeform 1394"/>
              <p:cNvSpPr>
                <a:spLocks/>
              </p:cNvSpPr>
              <p:nvPr/>
            </p:nvSpPr>
            <p:spPr bwMode="auto">
              <a:xfrm>
                <a:off x="6178" y="1580"/>
                <a:ext cx="170" cy="138"/>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8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8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8" y="22"/>
                    </a:lnTo>
                    <a:lnTo>
                      <a:pt x="58"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8" name="Freeform 1395"/>
              <p:cNvSpPr>
                <a:spLocks/>
              </p:cNvSpPr>
              <p:nvPr/>
            </p:nvSpPr>
            <p:spPr bwMode="auto">
              <a:xfrm>
                <a:off x="6162" y="1576"/>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2"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79" name="Freeform 1396"/>
              <p:cNvSpPr>
                <a:spLocks/>
              </p:cNvSpPr>
              <p:nvPr/>
            </p:nvSpPr>
            <p:spPr bwMode="auto">
              <a:xfrm>
                <a:off x="6168"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0" name="Freeform 1397"/>
              <p:cNvSpPr>
                <a:spLocks/>
              </p:cNvSpPr>
              <p:nvPr/>
            </p:nvSpPr>
            <p:spPr bwMode="auto">
              <a:xfrm>
                <a:off x="6168" y="1676"/>
                <a:ext cx="18" cy="24"/>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1" name="Freeform 1398"/>
              <p:cNvSpPr>
                <a:spLocks/>
              </p:cNvSpPr>
              <p:nvPr/>
            </p:nvSpPr>
            <p:spPr bwMode="auto">
              <a:xfrm>
                <a:off x="6170"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2" name="Freeform 1399"/>
              <p:cNvSpPr>
                <a:spLocks/>
              </p:cNvSpPr>
              <p:nvPr/>
            </p:nvSpPr>
            <p:spPr bwMode="auto">
              <a:xfrm>
                <a:off x="6170" y="1676"/>
                <a:ext cx="16" cy="24"/>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3" name="Freeform 1400"/>
              <p:cNvSpPr>
                <a:spLocks/>
              </p:cNvSpPr>
              <p:nvPr/>
            </p:nvSpPr>
            <p:spPr bwMode="auto">
              <a:xfrm>
                <a:off x="6266" y="1680"/>
                <a:ext cx="16" cy="28"/>
              </a:xfrm>
              <a:custGeom>
                <a:avLst/>
                <a:gdLst>
                  <a:gd name="T0" fmla="*/ 14 w 16"/>
                  <a:gd name="T1" fmla="*/ 0 h 28"/>
                  <a:gd name="T2" fmla="*/ 14 w 16"/>
                  <a:gd name="T3" fmla="*/ 0 h 28"/>
                  <a:gd name="T4" fmla="*/ 6 w 16"/>
                  <a:gd name="T5" fmla="*/ 18 h 28"/>
                  <a:gd name="T6" fmla="*/ 6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6" y="18"/>
                    </a:lnTo>
                    <a:lnTo>
                      <a:pt x="6"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4" name="Freeform 1401"/>
              <p:cNvSpPr>
                <a:spLocks/>
              </p:cNvSpPr>
              <p:nvPr/>
            </p:nvSpPr>
            <p:spPr bwMode="auto">
              <a:xfrm>
                <a:off x="6266" y="1680"/>
                <a:ext cx="16" cy="28"/>
              </a:xfrm>
              <a:custGeom>
                <a:avLst/>
                <a:gdLst>
                  <a:gd name="T0" fmla="*/ 14 w 16"/>
                  <a:gd name="T1" fmla="*/ 0 h 28"/>
                  <a:gd name="T2" fmla="*/ 14 w 16"/>
                  <a:gd name="T3" fmla="*/ 0 h 28"/>
                  <a:gd name="T4" fmla="*/ 6 w 16"/>
                  <a:gd name="T5" fmla="*/ 18 h 28"/>
                  <a:gd name="T6" fmla="*/ 6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6" y="18"/>
                    </a:lnTo>
                    <a:lnTo>
                      <a:pt x="6"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5" name="Freeform 1402"/>
              <p:cNvSpPr>
                <a:spLocks/>
              </p:cNvSpPr>
              <p:nvPr/>
            </p:nvSpPr>
            <p:spPr bwMode="auto">
              <a:xfrm>
                <a:off x="6272" y="1680"/>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6" name="Freeform 1403"/>
              <p:cNvSpPr>
                <a:spLocks/>
              </p:cNvSpPr>
              <p:nvPr/>
            </p:nvSpPr>
            <p:spPr bwMode="auto">
              <a:xfrm>
                <a:off x="6272" y="1680"/>
                <a:ext cx="8" cy="18"/>
              </a:xfrm>
              <a:custGeom>
                <a:avLst/>
                <a:gdLst>
                  <a:gd name="T0" fmla="*/ 8 w 8"/>
                  <a:gd name="T1" fmla="*/ 0 h 18"/>
                  <a:gd name="T2" fmla="*/ 8 w 8"/>
                  <a:gd name="T3" fmla="*/ 0 h 18"/>
                  <a:gd name="T4" fmla="*/ 0 w 8"/>
                  <a:gd name="T5" fmla="*/ 18 h 18"/>
                  <a:gd name="T6" fmla="*/ 0 w 8"/>
                  <a:gd name="T7" fmla="*/ 18 h 18"/>
                  <a:gd name="T8" fmla="*/ 8 w 8"/>
                  <a:gd name="T9" fmla="*/ 0 h 18"/>
                  <a:gd name="T10" fmla="*/ 8 w 8"/>
                  <a:gd name="T11" fmla="*/ 0 h 18"/>
                  <a:gd name="T12" fmla="*/ 8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8" y="0"/>
                    </a:moveTo>
                    <a:lnTo>
                      <a:pt x="8" y="0"/>
                    </a:lnTo>
                    <a:lnTo>
                      <a:pt x="0" y="18"/>
                    </a:lnTo>
                    <a:lnTo>
                      <a:pt x="0" y="18"/>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7" name="Freeform 1404"/>
              <p:cNvSpPr>
                <a:spLocks/>
              </p:cNvSpPr>
              <p:nvPr/>
            </p:nvSpPr>
            <p:spPr bwMode="auto">
              <a:xfrm>
                <a:off x="6164" y="1626"/>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8 h 20"/>
                  <a:gd name="T14" fmla="*/ 2 w 12"/>
                  <a:gd name="T15" fmla="*/ 12 h 20"/>
                  <a:gd name="T16" fmla="*/ 4 w 12"/>
                  <a:gd name="T17" fmla="*/ 16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6 h 20"/>
                  <a:gd name="T34" fmla="*/ 12 w 12"/>
                  <a:gd name="T35" fmla="*/ 16 h 20"/>
                  <a:gd name="T36" fmla="*/ 10 w 12"/>
                  <a:gd name="T37" fmla="*/ 16 h 20"/>
                  <a:gd name="T38" fmla="*/ 10 w 12"/>
                  <a:gd name="T39" fmla="*/ 16 h 20"/>
                  <a:gd name="T40" fmla="*/ 6 w 12"/>
                  <a:gd name="T41" fmla="*/ 16 h 20"/>
                  <a:gd name="T42" fmla="*/ 6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8"/>
                    </a:lnTo>
                    <a:lnTo>
                      <a:pt x="2" y="12"/>
                    </a:lnTo>
                    <a:lnTo>
                      <a:pt x="4" y="16"/>
                    </a:lnTo>
                    <a:lnTo>
                      <a:pt x="6" y="20"/>
                    </a:lnTo>
                    <a:lnTo>
                      <a:pt x="6" y="20"/>
                    </a:lnTo>
                    <a:lnTo>
                      <a:pt x="6" y="20"/>
                    </a:lnTo>
                    <a:lnTo>
                      <a:pt x="6" y="20"/>
                    </a:lnTo>
                    <a:lnTo>
                      <a:pt x="8" y="20"/>
                    </a:lnTo>
                    <a:lnTo>
                      <a:pt x="8" y="20"/>
                    </a:lnTo>
                    <a:lnTo>
                      <a:pt x="10" y="18"/>
                    </a:lnTo>
                    <a:lnTo>
                      <a:pt x="12" y="16"/>
                    </a:lnTo>
                    <a:lnTo>
                      <a:pt x="12" y="16"/>
                    </a:lnTo>
                    <a:lnTo>
                      <a:pt x="10" y="16"/>
                    </a:lnTo>
                    <a:lnTo>
                      <a:pt x="10" y="16"/>
                    </a:lnTo>
                    <a:lnTo>
                      <a:pt x="6" y="16"/>
                    </a:lnTo>
                    <a:lnTo>
                      <a:pt x="6" y="16"/>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8" name="Freeform 1405"/>
              <p:cNvSpPr>
                <a:spLocks/>
              </p:cNvSpPr>
              <p:nvPr/>
            </p:nvSpPr>
            <p:spPr bwMode="auto">
              <a:xfrm>
                <a:off x="6164" y="1626"/>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8 h 20"/>
                  <a:gd name="T14" fmla="*/ 2 w 12"/>
                  <a:gd name="T15" fmla="*/ 12 h 20"/>
                  <a:gd name="T16" fmla="*/ 4 w 12"/>
                  <a:gd name="T17" fmla="*/ 16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6 h 20"/>
                  <a:gd name="T34" fmla="*/ 12 w 12"/>
                  <a:gd name="T35" fmla="*/ 16 h 20"/>
                  <a:gd name="T36" fmla="*/ 10 w 12"/>
                  <a:gd name="T37" fmla="*/ 16 h 20"/>
                  <a:gd name="T38" fmla="*/ 10 w 12"/>
                  <a:gd name="T39" fmla="*/ 16 h 20"/>
                  <a:gd name="T40" fmla="*/ 6 w 12"/>
                  <a:gd name="T41" fmla="*/ 16 h 20"/>
                  <a:gd name="T42" fmla="*/ 6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8"/>
                    </a:lnTo>
                    <a:lnTo>
                      <a:pt x="2" y="12"/>
                    </a:lnTo>
                    <a:lnTo>
                      <a:pt x="4" y="16"/>
                    </a:lnTo>
                    <a:lnTo>
                      <a:pt x="6" y="20"/>
                    </a:lnTo>
                    <a:lnTo>
                      <a:pt x="6" y="20"/>
                    </a:lnTo>
                    <a:lnTo>
                      <a:pt x="6" y="20"/>
                    </a:lnTo>
                    <a:lnTo>
                      <a:pt x="6" y="20"/>
                    </a:lnTo>
                    <a:lnTo>
                      <a:pt x="8" y="20"/>
                    </a:lnTo>
                    <a:lnTo>
                      <a:pt x="8" y="20"/>
                    </a:lnTo>
                    <a:lnTo>
                      <a:pt x="10" y="18"/>
                    </a:lnTo>
                    <a:lnTo>
                      <a:pt x="12" y="16"/>
                    </a:lnTo>
                    <a:lnTo>
                      <a:pt x="12" y="16"/>
                    </a:lnTo>
                    <a:lnTo>
                      <a:pt x="10" y="16"/>
                    </a:lnTo>
                    <a:lnTo>
                      <a:pt x="10" y="16"/>
                    </a:lnTo>
                    <a:lnTo>
                      <a:pt x="6" y="16"/>
                    </a:lnTo>
                    <a:lnTo>
                      <a:pt x="6"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89" name="Freeform 1406"/>
              <p:cNvSpPr>
                <a:spLocks noEditPoints="1"/>
              </p:cNvSpPr>
              <p:nvPr/>
            </p:nvSpPr>
            <p:spPr bwMode="auto">
              <a:xfrm>
                <a:off x="6168" y="1626"/>
                <a:ext cx="10" cy="20"/>
              </a:xfrm>
              <a:custGeom>
                <a:avLst/>
                <a:gdLst>
                  <a:gd name="T0" fmla="*/ 10 w 10"/>
                  <a:gd name="T1" fmla="*/ 14 h 20"/>
                  <a:gd name="T2" fmla="*/ 10 w 10"/>
                  <a:gd name="T3" fmla="*/ 14 h 20"/>
                  <a:gd name="T4" fmla="*/ 8 w 10"/>
                  <a:gd name="T5" fmla="*/ 16 h 20"/>
                  <a:gd name="T6" fmla="*/ 8 w 10"/>
                  <a:gd name="T7" fmla="*/ 16 h 20"/>
                  <a:gd name="T8" fmla="*/ 6 w 10"/>
                  <a:gd name="T9" fmla="*/ 18 h 20"/>
                  <a:gd name="T10" fmla="*/ 4 w 10"/>
                  <a:gd name="T11" fmla="*/ 20 h 20"/>
                  <a:gd name="T12" fmla="*/ 4 w 10"/>
                  <a:gd name="T13" fmla="*/ 20 h 20"/>
                  <a:gd name="T14" fmla="*/ 2 w 10"/>
                  <a:gd name="T15" fmla="*/ 20 h 20"/>
                  <a:gd name="T16" fmla="*/ 2 w 10"/>
                  <a:gd name="T17" fmla="*/ 20 h 20"/>
                  <a:gd name="T18" fmla="*/ 4 w 10"/>
                  <a:gd name="T19" fmla="*/ 20 h 20"/>
                  <a:gd name="T20" fmla="*/ 4 w 10"/>
                  <a:gd name="T21" fmla="*/ 20 h 20"/>
                  <a:gd name="T22" fmla="*/ 8 w 10"/>
                  <a:gd name="T23" fmla="*/ 18 h 20"/>
                  <a:gd name="T24" fmla="*/ 10 w 10"/>
                  <a:gd name="T25" fmla="*/ 14 h 20"/>
                  <a:gd name="T26" fmla="*/ 4 w 10"/>
                  <a:gd name="T27" fmla="*/ 0 h 20"/>
                  <a:gd name="T28" fmla="*/ 4 w 10"/>
                  <a:gd name="T29" fmla="*/ 0 h 20"/>
                  <a:gd name="T30" fmla="*/ 2 w 10"/>
                  <a:gd name="T31" fmla="*/ 0 h 20"/>
                  <a:gd name="T32" fmla="*/ 2 w 10"/>
                  <a:gd name="T33" fmla="*/ 0 h 20"/>
                  <a:gd name="T34" fmla="*/ 2 w 10"/>
                  <a:gd name="T35" fmla="*/ 0 h 20"/>
                  <a:gd name="T36" fmla="*/ 2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4"/>
                    </a:moveTo>
                    <a:lnTo>
                      <a:pt x="10" y="14"/>
                    </a:lnTo>
                    <a:lnTo>
                      <a:pt x="8" y="16"/>
                    </a:lnTo>
                    <a:lnTo>
                      <a:pt x="8" y="16"/>
                    </a:lnTo>
                    <a:lnTo>
                      <a:pt x="6" y="18"/>
                    </a:lnTo>
                    <a:lnTo>
                      <a:pt x="4" y="20"/>
                    </a:lnTo>
                    <a:lnTo>
                      <a:pt x="4" y="20"/>
                    </a:lnTo>
                    <a:lnTo>
                      <a:pt x="2" y="20"/>
                    </a:lnTo>
                    <a:lnTo>
                      <a:pt x="2" y="20"/>
                    </a:lnTo>
                    <a:lnTo>
                      <a:pt x="4" y="20"/>
                    </a:lnTo>
                    <a:lnTo>
                      <a:pt x="4" y="20"/>
                    </a:lnTo>
                    <a:lnTo>
                      <a:pt x="8" y="18"/>
                    </a:lnTo>
                    <a:lnTo>
                      <a:pt x="10" y="14"/>
                    </a:lnTo>
                    <a:close/>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6"/>
                    </a:lnTo>
                    <a:lnTo>
                      <a:pt x="2" y="16"/>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0" name="Freeform 1407"/>
              <p:cNvSpPr>
                <a:spLocks/>
              </p:cNvSpPr>
              <p:nvPr/>
            </p:nvSpPr>
            <p:spPr bwMode="auto">
              <a:xfrm>
                <a:off x="6170" y="1640"/>
                <a:ext cx="8" cy="6"/>
              </a:xfrm>
              <a:custGeom>
                <a:avLst/>
                <a:gdLst>
                  <a:gd name="T0" fmla="*/ 8 w 8"/>
                  <a:gd name="T1" fmla="*/ 0 h 6"/>
                  <a:gd name="T2" fmla="*/ 8 w 8"/>
                  <a:gd name="T3" fmla="*/ 0 h 6"/>
                  <a:gd name="T4" fmla="*/ 6 w 8"/>
                  <a:gd name="T5" fmla="*/ 2 h 6"/>
                  <a:gd name="T6" fmla="*/ 6 w 8"/>
                  <a:gd name="T7" fmla="*/ 2 h 6"/>
                  <a:gd name="T8" fmla="*/ 4 w 8"/>
                  <a:gd name="T9" fmla="*/ 4 h 6"/>
                  <a:gd name="T10" fmla="*/ 2 w 8"/>
                  <a:gd name="T11" fmla="*/ 6 h 6"/>
                  <a:gd name="T12" fmla="*/ 2 w 8"/>
                  <a:gd name="T13" fmla="*/ 6 h 6"/>
                  <a:gd name="T14" fmla="*/ 0 w 8"/>
                  <a:gd name="T15" fmla="*/ 6 h 6"/>
                  <a:gd name="T16" fmla="*/ 0 w 8"/>
                  <a:gd name="T17" fmla="*/ 6 h 6"/>
                  <a:gd name="T18" fmla="*/ 2 w 8"/>
                  <a:gd name="T19" fmla="*/ 6 h 6"/>
                  <a:gd name="T20" fmla="*/ 2 w 8"/>
                  <a:gd name="T21" fmla="*/ 6 h 6"/>
                  <a:gd name="T22" fmla="*/ 6 w 8"/>
                  <a:gd name="T23" fmla="*/ 4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2"/>
                    </a:lnTo>
                    <a:lnTo>
                      <a:pt x="6" y="2"/>
                    </a:lnTo>
                    <a:lnTo>
                      <a:pt x="4" y="4"/>
                    </a:lnTo>
                    <a:lnTo>
                      <a:pt x="2" y="6"/>
                    </a:lnTo>
                    <a:lnTo>
                      <a:pt x="2" y="6"/>
                    </a:lnTo>
                    <a:lnTo>
                      <a:pt x="0" y="6"/>
                    </a:lnTo>
                    <a:lnTo>
                      <a:pt x="0" y="6"/>
                    </a:lnTo>
                    <a:lnTo>
                      <a:pt x="2" y="6"/>
                    </a:lnTo>
                    <a:lnTo>
                      <a:pt x="2" y="6"/>
                    </a:lnTo>
                    <a:lnTo>
                      <a:pt x="6" y="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1" name="Freeform 1408"/>
              <p:cNvSpPr>
                <a:spLocks/>
              </p:cNvSpPr>
              <p:nvPr/>
            </p:nvSpPr>
            <p:spPr bwMode="auto">
              <a:xfrm>
                <a:off x="6168" y="1626"/>
                <a:ext cx="4" cy="16"/>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2 h 16"/>
                  <a:gd name="T22" fmla="*/ 0 w 4"/>
                  <a:gd name="T23" fmla="*/ 12 h 16"/>
                  <a:gd name="T24" fmla="*/ 2 w 4"/>
                  <a:gd name="T25" fmla="*/ 16 h 16"/>
                  <a:gd name="T26" fmla="*/ 2 w 4"/>
                  <a:gd name="T27" fmla="*/ 16 h 16"/>
                  <a:gd name="T28" fmla="*/ 2 w 4"/>
                  <a:gd name="T29" fmla="*/ 16 h 16"/>
                  <a:gd name="T30" fmla="*/ 2 w 4"/>
                  <a:gd name="T31" fmla="*/ 16 h 16"/>
                  <a:gd name="T32" fmla="*/ 2 w 4"/>
                  <a:gd name="T33" fmla="*/ 16 h 16"/>
                  <a:gd name="T34" fmla="*/ 2 w 4"/>
                  <a:gd name="T35" fmla="*/ 16 h 16"/>
                  <a:gd name="T36" fmla="*/ 0 w 4"/>
                  <a:gd name="T37" fmla="*/ 12 h 16"/>
                  <a:gd name="T38" fmla="*/ 0 w 4"/>
                  <a:gd name="T39" fmla="*/ 12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6"/>
                    </a:lnTo>
                    <a:lnTo>
                      <a:pt x="2" y="16"/>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2" name="Freeform 1409"/>
              <p:cNvSpPr>
                <a:spLocks noEditPoints="1"/>
              </p:cNvSpPr>
              <p:nvPr/>
            </p:nvSpPr>
            <p:spPr bwMode="auto">
              <a:xfrm>
                <a:off x="6278" y="1616"/>
                <a:ext cx="20" cy="12"/>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14 w 20"/>
                  <a:gd name="T43" fmla="*/ 0 h 12"/>
                  <a:gd name="T44" fmla="*/ 14 w 20"/>
                  <a:gd name="T45" fmla="*/ 0 h 12"/>
                  <a:gd name="T46" fmla="*/ 8 w 20"/>
                  <a:gd name="T47" fmla="*/ 2 h 12"/>
                  <a:gd name="T48" fmla="*/ 0 w 20"/>
                  <a:gd name="T49" fmla="*/ 8 h 12"/>
                  <a:gd name="T50" fmla="*/ 0 w 20"/>
                  <a:gd name="T51" fmla="*/ 8 h 12"/>
                  <a:gd name="T52" fmla="*/ 4 w 20"/>
                  <a:gd name="T53" fmla="*/ 8 h 12"/>
                  <a:gd name="T54" fmla="*/ 4 w 20"/>
                  <a:gd name="T55" fmla="*/ 8 h 12"/>
                  <a:gd name="T56" fmla="*/ 8 w 20"/>
                  <a:gd name="T57" fmla="*/ 12 h 12"/>
                  <a:gd name="T58" fmla="*/ 8 w 20"/>
                  <a:gd name="T59" fmla="*/ 12 h 12"/>
                  <a:gd name="T60" fmla="*/ 20 w 20"/>
                  <a:gd name="T61" fmla="*/ 6 h 12"/>
                  <a:gd name="T62" fmla="*/ 20 w 20"/>
                  <a:gd name="T63" fmla="*/ 6 h 12"/>
                  <a:gd name="T64" fmla="*/ 16 w 20"/>
                  <a:gd name="T65" fmla="*/ 4 h 12"/>
                  <a:gd name="T66" fmla="*/ 14 w 20"/>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793" name="Freeform 1410"/>
              <p:cNvSpPr>
                <a:spLocks/>
              </p:cNvSpPr>
              <p:nvPr/>
            </p:nvSpPr>
            <p:spPr bwMode="auto">
              <a:xfrm>
                <a:off x="6284" y="1622"/>
                <a:ext cx="6" cy="4"/>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0" name="Group 1612"/>
            <p:cNvGrpSpPr>
              <a:grpSpLocks/>
            </p:cNvGrpSpPr>
            <p:nvPr/>
          </p:nvGrpSpPr>
          <p:grpSpPr bwMode="auto">
            <a:xfrm>
              <a:off x="6029304" y="1520825"/>
              <a:ext cx="6010253" cy="1831975"/>
              <a:chOff x="3798" y="1158"/>
              <a:chExt cx="3786" cy="1154"/>
            </a:xfrm>
          </p:grpSpPr>
          <p:sp>
            <p:nvSpPr>
              <p:cNvPr id="1394" name="Freeform 1412"/>
              <p:cNvSpPr>
                <a:spLocks/>
              </p:cNvSpPr>
              <p:nvPr/>
            </p:nvSpPr>
            <p:spPr bwMode="auto">
              <a:xfrm>
                <a:off x="6278" y="1616"/>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5" name="Freeform 1413"/>
              <p:cNvSpPr>
                <a:spLocks/>
              </p:cNvSpPr>
              <p:nvPr/>
            </p:nvSpPr>
            <p:spPr bwMode="auto">
              <a:xfrm>
                <a:off x="6232"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6" name="Freeform 1414"/>
              <p:cNvSpPr>
                <a:spLocks/>
              </p:cNvSpPr>
              <p:nvPr/>
            </p:nvSpPr>
            <p:spPr bwMode="auto">
              <a:xfrm>
                <a:off x="6232" y="1604"/>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7" name="Freeform 1415"/>
              <p:cNvSpPr>
                <a:spLocks/>
              </p:cNvSpPr>
              <p:nvPr/>
            </p:nvSpPr>
            <p:spPr bwMode="auto">
              <a:xfrm>
                <a:off x="63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8" name="Freeform 1416"/>
              <p:cNvSpPr>
                <a:spLocks/>
              </p:cNvSpPr>
              <p:nvPr/>
            </p:nvSpPr>
            <p:spPr bwMode="auto">
              <a:xfrm>
                <a:off x="6328" y="160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9" name="Freeform 1417"/>
              <p:cNvSpPr>
                <a:spLocks/>
              </p:cNvSpPr>
              <p:nvPr/>
            </p:nvSpPr>
            <p:spPr bwMode="auto">
              <a:xfrm>
                <a:off x="62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0" name="Freeform 1418"/>
              <p:cNvSpPr>
                <a:spLocks/>
              </p:cNvSpPr>
              <p:nvPr/>
            </p:nvSpPr>
            <p:spPr bwMode="auto">
              <a:xfrm>
                <a:off x="6274" y="1604"/>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1" name="Freeform 1419"/>
              <p:cNvSpPr>
                <a:spLocks/>
              </p:cNvSpPr>
              <p:nvPr/>
            </p:nvSpPr>
            <p:spPr bwMode="auto">
              <a:xfrm>
                <a:off x="62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2" name="Freeform 1420"/>
              <p:cNvSpPr>
                <a:spLocks/>
              </p:cNvSpPr>
              <p:nvPr/>
            </p:nvSpPr>
            <p:spPr bwMode="auto">
              <a:xfrm>
                <a:off x="6288" y="1654"/>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3" name="Freeform 1421"/>
              <p:cNvSpPr>
                <a:spLocks/>
              </p:cNvSpPr>
              <p:nvPr/>
            </p:nvSpPr>
            <p:spPr bwMode="auto">
              <a:xfrm>
                <a:off x="6284"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4" name="Freeform 1422"/>
              <p:cNvSpPr>
                <a:spLocks/>
              </p:cNvSpPr>
              <p:nvPr/>
            </p:nvSpPr>
            <p:spPr bwMode="auto">
              <a:xfrm>
                <a:off x="6284" y="1622"/>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2 w 6"/>
                  <a:gd name="T13" fmla="*/ 4 h 4"/>
                  <a:gd name="T14" fmla="*/ 2 w 6"/>
                  <a:gd name="T15" fmla="*/ 4 h 4"/>
                  <a:gd name="T16" fmla="*/ 6 w 6"/>
                  <a:gd name="T17" fmla="*/ 2 h 4"/>
                  <a:gd name="T18" fmla="*/ 6 w 6"/>
                  <a:gd name="T19" fmla="*/ 2 h 4"/>
                  <a:gd name="T20" fmla="*/ 4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2"/>
                    </a:lnTo>
                    <a:lnTo>
                      <a:pt x="2" y="4"/>
                    </a:lnTo>
                    <a:lnTo>
                      <a:pt x="2" y="4"/>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5" name="Freeform 1423"/>
              <p:cNvSpPr>
                <a:spLocks noEditPoints="1"/>
              </p:cNvSpPr>
              <p:nvPr/>
            </p:nvSpPr>
            <p:spPr bwMode="auto">
              <a:xfrm>
                <a:off x="6286" y="1622"/>
                <a:ext cx="4" cy="4"/>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0 w 4"/>
                  <a:gd name="T13" fmla="*/ 4 h 4"/>
                  <a:gd name="T14" fmla="*/ 0 w 4"/>
                  <a:gd name="T15" fmla="*/ 4 h 4"/>
                  <a:gd name="T16" fmla="*/ 4 w 4"/>
                  <a:gd name="T17" fmla="*/ 2 h 4"/>
                  <a:gd name="T18" fmla="*/ 4 w 4"/>
                  <a:gd name="T19" fmla="*/ 2 h 4"/>
                  <a:gd name="T20" fmla="*/ 4 w 4"/>
                  <a:gd name="T21" fmla="*/ 2 h 4"/>
                  <a:gd name="T22" fmla="*/ 0 w 4"/>
                  <a:gd name="T23" fmla="*/ 0 h 4"/>
                  <a:gd name="T24" fmla="*/ 0 w 4"/>
                  <a:gd name="T25" fmla="*/ 0 h 4"/>
                  <a:gd name="T26" fmla="*/ 0 w 4"/>
                  <a:gd name="T27" fmla="*/ 0 h 4"/>
                  <a:gd name="T28" fmla="*/ 0 w 4"/>
                  <a:gd name="T29" fmla="*/ 0 h 4"/>
                  <a:gd name="T30" fmla="*/ 2 w 4"/>
                  <a:gd name="T31" fmla="*/ 0 h 4"/>
                  <a:gd name="T32" fmla="*/ 2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4" y="2"/>
                    </a:moveTo>
                    <a:lnTo>
                      <a:pt x="4" y="2"/>
                    </a:lnTo>
                    <a:lnTo>
                      <a:pt x="0" y="4"/>
                    </a:lnTo>
                    <a:lnTo>
                      <a:pt x="0" y="4"/>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6" name="Freeform 1424"/>
              <p:cNvSpPr>
                <a:spLocks/>
              </p:cNvSpPr>
              <p:nvPr/>
            </p:nvSpPr>
            <p:spPr bwMode="auto">
              <a:xfrm>
                <a:off x="6286" y="1624"/>
                <a:ext cx="4" cy="2"/>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0 w 4"/>
                  <a:gd name="T13" fmla="*/ 2 h 2"/>
                  <a:gd name="T14" fmla="*/ 0 w 4"/>
                  <a:gd name="T15" fmla="*/ 2 h 2"/>
                  <a:gd name="T16" fmla="*/ 4 w 4"/>
                  <a:gd name="T17" fmla="*/ 0 h 2"/>
                  <a:gd name="T18" fmla="*/ 4 w 4"/>
                  <a:gd name="T19" fmla="*/ 0 h 2"/>
                  <a:gd name="T20" fmla="*/ 4 w 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4" y="0"/>
                    </a:moveTo>
                    <a:lnTo>
                      <a:pt x="4" y="0"/>
                    </a:lnTo>
                    <a:lnTo>
                      <a:pt x="0" y="2"/>
                    </a:lnTo>
                    <a:lnTo>
                      <a:pt x="0" y="2"/>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7" name="Freeform 1425"/>
              <p:cNvSpPr>
                <a:spLocks/>
              </p:cNvSpPr>
              <p:nvPr/>
            </p:nvSpPr>
            <p:spPr bwMode="auto">
              <a:xfrm>
                <a:off x="6286" y="1622"/>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8" name="Freeform 1426"/>
              <p:cNvSpPr>
                <a:spLocks/>
              </p:cNvSpPr>
              <p:nvPr/>
            </p:nvSpPr>
            <p:spPr bwMode="auto">
              <a:xfrm>
                <a:off x="681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09" name="Freeform 1427"/>
              <p:cNvSpPr>
                <a:spLocks/>
              </p:cNvSpPr>
              <p:nvPr/>
            </p:nvSpPr>
            <p:spPr bwMode="auto">
              <a:xfrm>
                <a:off x="704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0" name="Freeform 1428"/>
              <p:cNvSpPr>
                <a:spLocks/>
              </p:cNvSpPr>
              <p:nvPr/>
            </p:nvSpPr>
            <p:spPr bwMode="auto">
              <a:xfrm>
                <a:off x="713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1" name="Freeform 1429"/>
              <p:cNvSpPr>
                <a:spLocks/>
              </p:cNvSpPr>
              <p:nvPr/>
            </p:nvSpPr>
            <p:spPr bwMode="auto">
              <a:xfrm>
                <a:off x="7230"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2" name="Freeform 1430"/>
              <p:cNvSpPr>
                <a:spLocks/>
              </p:cNvSpPr>
              <p:nvPr/>
            </p:nvSpPr>
            <p:spPr bwMode="auto">
              <a:xfrm>
                <a:off x="6900" y="157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3" name="Freeform 1431"/>
              <p:cNvSpPr>
                <a:spLocks/>
              </p:cNvSpPr>
              <p:nvPr/>
            </p:nvSpPr>
            <p:spPr bwMode="auto">
              <a:xfrm>
                <a:off x="6900" y="1578"/>
                <a:ext cx="46" cy="146"/>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4" name="Freeform 1432"/>
              <p:cNvSpPr>
                <a:spLocks/>
              </p:cNvSpPr>
              <p:nvPr/>
            </p:nvSpPr>
            <p:spPr bwMode="auto">
              <a:xfrm>
                <a:off x="696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5" name="Freeform 1433"/>
              <p:cNvSpPr>
                <a:spLocks/>
              </p:cNvSpPr>
              <p:nvPr/>
            </p:nvSpPr>
            <p:spPr bwMode="auto">
              <a:xfrm>
                <a:off x="6960" y="1578"/>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6" name="Freeform 1434"/>
              <p:cNvSpPr>
                <a:spLocks noEditPoints="1"/>
              </p:cNvSpPr>
              <p:nvPr/>
            </p:nvSpPr>
            <p:spPr bwMode="auto">
              <a:xfrm>
                <a:off x="7320" y="1574"/>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7" name="Freeform 1435"/>
              <p:cNvSpPr>
                <a:spLocks noEditPoints="1"/>
              </p:cNvSpPr>
              <p:nvPr/>
            </p:nvSpPr>
            <p:spPr bwMode="auto">
              <a:xfrm>
                <a:off x="7458"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8" name="Freeform 1436"/>
              <p:cNvSpPr>
                <a:spLocks/>
              </p:cNvSpPr>
              <p:nvPr/>
            </p:nvSpPr>
            <p:spPr bwMode="auto">
              <a:xfrm>
                <a:off x="381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19" name="Freeform 1437"/>
              <p:cNvSpPr>
                <a:spLocks/>
              </p:cNvSpPr>
              <p:nvPr/>
            </p:nvSpPr>
            <p:spPr bwMode="auto">
              <a:xfrm>
                <a:off x="3910" y="17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0" name="Freeform 1438"/>
              <p:cNvSpPr>
                <a:spLocks/>
              </p:cNvSpPr>
              <p:nvPr/>
            </p:nvSpPr>
            <p:spPr bwMode="auto">
              <a:xfrm>
                <a:off x="4004" y="17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1" name="Freeform 1439"/>
              <p:cNvSpPr>
                <a:spLocks noEditPoints="1"/>
              </p:cNvSpPr>
              <p:nvPr/>
            </p:nvSpPr>
            <p:spPr bwMode="auto">
              <a:xfrm>
                <a:off x="4094" y="1762"/>
                <a:ext cx="100" cy="150"/>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2" name="Freeform 1440"/>
              <p:cNvSpPr>
                <a:spLocks noEditPoints="1"/>
              </p:cNvSpPr>
              <p:nvPr/>
            </p:nvSpPr>
            <p:spPr bwMode="auto">
              <a:xfrm>
                <a:off x="4234" y="1762"/>
                <a:ext cx="98" cy="150"/>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3" name="Freeform 1441"/>
              <p:cNvSpPr>
                <a:spLocks noEditPoints="1"/>
              </p:cNvSpPr>
              <p:nvPr/>
            </p:nvSpPr>
            <p:spPr bwMode="auto">
              <a:xfrm>
                <a:off x="4652" y="1762"/>
                <a:ext cx="98" cy="150"/>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4" name="Freeform 1442"/>
              <p:cNvSpPr>
                <a:spLocks noEditPoints="1"/>
              </p:cNvSpPr>
              <p:nvPr/>
            </p:nvSpPr>
            <p:spPr bwMode="auto">
              <a:xfrm>
                <a:off x="4882" y="1762"/>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5" name="Freeform 1443"/>
              <p:cNvSpPr>
                <a:spLocks/>
              </p:cNvSpPr>
              <p:nvPr/>
            </p:nvSpPr>
            <p:spPr bwMode="auto">
              <a:xfrm>
                <a:off x="4790"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6" name="Freeform 1444"/>
              <p:cNvSpPr>
                <a:spLocks noEditPoints="1"/>
              </p:cNvSpPr>
              <p:nvPr/>
            </p:nvSpPr>
            <p:spPr bwMode="auto">
              <a:xfrm>
                <a:off x="5022" y="17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7" name="Freeform 1445"/>
              <p:cNvSpPr>
                <a:spLocks/>
              </p:cNvSpPr>
              <p:nvPr/>
            </p:nvSpPr>
            <p:spPr bwMode="auto">
              <a:xfrm>
                <a:off x="5162" y="1766"/>
                <a:ext cx="46" cy="146"/>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8" name="Freeform 1446"/>
              <p:cNvSpPr>
                <a:spLocks/>
              </p:cNvSpPr>
              <p:nvPr/>
            </p:nvSpPr>
            <p:spPr bwMode="auto">
              <a:xfrm>
                <a:off x="5162" y="1766"/>
                <a:ext cx="46" cy="146"/>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29" name="Freeform 1447"/>
              <p:cNvSpPr>
                <a:spLocks/>
              </p:cNvSpPr>
              <p:nvPr/>
            </p:nvSpPr>
            <p:spPr bwMode="auto">
              <a:xfrm>
                <a:off x="5222" y="1766"/>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0" name="Freeform 1448"/>
              <p:cNvSpPr>
                <a:spLocks/>
              </p:cNvSpPr>
              <p:nvPr/>
            </p:nvSpPr>
            <p:spPr bwMode="auto">
              <a:xfrm>
                <a:off x="5222" y="1766"/>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1" name="Freeform 1449"/>
              <p:cNvSpPr>
                <a:spLocks noEditPoints="1"/>
              </p:cNvSpPr>
              <p:nvPr/>
            </p:nvSpPr>
            <p:spPr bwMode="auto">
              <a:xfrm>
                <a:off x="5458" y="1762"/>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2" name="Freeform 1450"/>
              <p:cNvSpPr>
                <a:spLocks/>
              </p:cNvSpPr>
              <p:nvPr/>
            </p:nvSpPr>
            <p:spPr bwMode="auto">
              <a:xfrm>
                <a:off x="559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3" name="Freeform 1451"/>
              <p:cNvSpPr>
                <a:spLocks noEditPoints="1"/>
              </p:cNvSpPr>
              <p:nvPr/>
            </p:nvSpPr>
            <p:spPr bwMode="auto">
              <a:xfrm>
                <a:off x="5310" y="1770"/>
                <a:ext cx="108" cy="142"/>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4" name="Freeform 1452"/>
              <p:cNvSpPr>
                <a:spLocks/>
              </p:cNvSpPr>
              <p:nvPr/>
            </p:nvSpPr>
            <p:spPr bwMode="auto">
              <a:xfrm>
                <a:off x="5352" y="1830"/>
                <a:ext cx="22" cy="2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5" name="Freeform 1453"/>
              <p:cNvSpPr>
                <a:spLocks/>
              </p:cNvSpPr>
              <p:nvPr/>
            </p:nvSpPr>
            <p:spPr bwMode="auto">
              <a:xfrm>
                <a:off x="5310" y="1770"/>
                <a:ext cx="108" cy="142"/>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6" name="Freeform 1454"/>
              <p:cNvSpPr>
                <a:spLocks/>
              </p:cNvSpPr>
              <p:nvPr/>
            </p:nvSpPr>
            <p:spPr bwMode="auto">
              <a:xfrm>
                <a:off x="4374"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7" name="Freeform 1455"/>
              <p:cNvSpPr>
                <a:spLocks/>
              </p:cNvSpPr>
              <p:nvPr/>
            </p:nvSpPr>
            <p:spPr bwMode="auto">
              <a:xfrm>
                <a:off x="4468" y="17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8" name="Freeform 1456"/>
              <p:cNvSpPr>
                <a:spLocks/>
              </p:cNvSpPr>
              <p:nvPr/>
            </p:nvSpPr>
            <p:spPr bwMode="auto">
              <a:xfrm>
                <a:off x="4560" y="17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39" name="Freeform 1457"/>
              <p:cNvSpPr>
                <a:spLocks/>
              </p:cNvSpPr>
              <p:nvPr/>
            </p:nvSpPr>
            <p:spPr bwMode="auto">
              <a:xfrm>
                <a:off x="496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0" name="Freeform 1458"/>
              <p:cNvSpPr>
                <a:spLocks/>
              </p:cNvSpPr>
              <p:nvPr/>
            </p:nvSpPr>
            <p:spPr bwMode="auto">
              <a:xfrm>
                <a:off x="505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1" name="Freeform 1459"/>
              <p:cNvSpPr>
                <a:spLocks/>
              </p:cNvSpPr>
              <p:nvPr/>
            </p:nvSpPr>
            <p:spPr bwMode="auto">
              <a:xfrm>
                <a:off x="5146"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2" name="Freeform 1460"/>
              <p:cNvSpPr>
                <a:spLocks/>
              </p:cNvSpPr>
              <p:nvPr/>
            </p:nvSpPr>
            <p:spPr bwMode="auto">
              <a:xfrm>
                <a:off x="5238"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3" name="Freeform 1461"/>
              <p:cNvSpPr>
                <a:spLocks/>
              </p:cNvSpPr>
              <p:nvPr/>
            </p:nvSpPr>
            <p:spPr bwMode="auto">
              <a:xfrm>
                <a:off x="5476"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4" name="Freeform 1462"/>
              <p:cNvSpPr>
                <a:spLocks/>
              </p:cNvSpPr>
              <p:nvPr/>
            </p:nvSpPr>
            <p:spPr bwMode="auto">
              <a:xfrm>
                <a:off x="5568"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5" name="Freeform 1463"/>
              <p:cNvSpPr>
                <a:spLocks/>
              </p:cNvSpPr>
              <p:nvPr/>
            </p:nvSpPr>
            <p:spPr bwMode="auto">
              <a:xfrm>
                <a:off x="5330"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6" name="Freeform 1464"/>
              <p:cNvSpPr>
                <a:spLocks/>
              </p:cNvSpPr>
              <p:nvPr/>
            </p:nvSpPr>
            <p:spPr bwMode="auto">
              <a:xfrm>
                <a:off x="5330" y="1578"/>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7" name="Freeform 1465"/>
              <p:cNvSpPr>
                <a:spLocks/>
              </p:cNvSpPr>
              <p:nvPr/>
            </p:nvSpPr>
            <p:spPr bwMode="auto">
              <a:xfrm>
                <a:off x="5390"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8" name="Freeform 1466"/>
              <p:cNvSpPr>
                <a:spLocks/>
              </p:cNvSpPr>
              <p:nvPr/>
            </p:nvSpPr>
            <p:spPr bwMode="auto">
              <a:xfrm>
                <a:off x="5390" y="1578"/>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49" name="Freeform 1467"/>
              <p:cNvSpPr>
                <a:spLocks noEditPoints="1"/>
              </p:cNvSpPr>
              <p:nvPr/>
            </p:nvSpPr>
            <p:spPr bwMode="auto">
              <a:xfrm>
                <a:off x="4186" y="1574"/>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0" name="Freeform 1468"/>
              <p:cNvSpPr>
                <a:spLocks noEditPoints="1"/>
              </p:cNvSpPr>
              <p:nvPr/>
            </p:nvSpPr>
            <p:spPr bwMode="auto">
              <a:xfrm>
                <a:off x="4324" y="157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1" name="Freeform 1469"/>
              <p:cNvSpPr>
                <a:spLocks noEditPoints="1"/>
              </p:cNvSpPr>
              <p:nvPr/>
            </p:nvSpPr>
            <p:spPr bwMode="auto">
              <a:xfrm>
                <a:off x="4736" y="1574"/>
                <a:ext cx="98" cy="150"/>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2" name="Freeform 1470"/>
              <p:cNvSpPr>
                <a:spLocks/>
              </p:cNvSpPr>
              <p:nvPr/>
            </p:nvSpPr>
            <p:spPr bwMode="auto">
              <a:xfrm>
                <a:off x="4874" y="158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3" name="Freeform 1471"/>
              <p:cNvSpPr>
                <a:spLocks/>
              </p:cNvSpPr>
              <p:nvPr/>
            </p:nvSpPr>
            <p:spPr bwMode="auto">
              <a:xfrm>
                <a:off x="4462"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4" name="Freeform 1472"/>
              <p:cNvSpPr>
                <a:spLocks/>
              </p:cNvSpPr>
              <p:nvPr/>
            </p:nvSpPr>
            <p:spPr bwMode="auto">
              <a:xfrm>
                <a:off x="4554" y="158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5" name="Freeform 1473"/>
              <p:cNvSpPr>
                <a:spLocks/>
              </p:cNvSpPr>
              <p:nvPr/>
            </p:nvSpPr>
            <p:spPr bwMode="auto">
              <a:xfrm>
                <a:off x="4646"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6" name="Freeform 1474"/>
              <p:cNvSpPr>
                <a:spLocks noEditPoints="1"/>
              </p:cNvSpPr>
              <p:nvPr/>
            </p:nvSpPr>
            <p:spPr bwMode="auto">
              <a:xfrm>
                <a:off x="3798" y="1574"/>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7" name="Freeform 1475"/>
              <p:cNvSpPr>
                <a:spLocks/>
              </p:cNvSpPr>
              <p:nvPr/>
            </p:nvSpPr>
            <p:spPr bwMode="auto">
              <a:xfrm>
                <a:off x="3912"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8" name="Freeform 1476"/>
              <p:cNvSpPr>
                <a:spLocks/>
              </p:cNvSpPr>
              <p:nvPr/>
            </p:nvSpPr>
            <p:spPr bwMode="auto">
              <a:xfrm>
                <a:off x="4004" y="158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59" name="Freeform 1477"/>
              <p:cNvSpPr>
                <a:spLocks/>
              </p:cNvSpPr>
              <p:nvPr/>
            </p:nvSpPr>
            <p:spPr bwMode="auto">
              <a:xfrm>
                <a:off x="4096" y="158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0" name="Freeform 1478"/>
              <p:cNvSpPr>
                <a:spLocks noEditPoints="1"/>
              </p:cNvSpPr>
              <p:nvPr/>
            </p:nvSpPr>
            <p:spPr bwMode="auto">
              <a:xfrm>
                <a:off x="3798" y="2162"/>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1" name="Freeform 1479"/>
              <p:cNvSpPr>
                <a:spLocks noEditPoints="1"/>
              </p:cNvSpPr>
              <p:nvPr/>
            </p:nvSpPr>
            <p:spPr bwMode="auto">
              <a:xfrm>
                <a:off x="3802" y="19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2" name="Freeform 1480"/>
              <p:cNvSpPr>
                <a:spLocks noEditPoints="1"/>
              </p:cNvSpPr>
              <p:nvPr/>
            </p:nvSpPr>
            <p:spPr bwMode="auto">
              <a:xfrm>
                <a:off x="3932" y="1364"/>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3" name="Freeform 1481"/>
              <p:cNvSpPr>
                <a:spLocks/>
              </p:cNvSpPr>
              <p:nvPr/>
            </p:nvSpPr>
            <p:spPr bwMode="auto">
              <a:xfrm>
                <a:off x="407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4" name="Freeform 1482"/>
              <p:cNvSpPr>
                <a:spLocks/>
              </p:cNvSpPr>
              <p:nvPr/>
            </p:nvSpPr>
            <p:spPr bwMode="auto">
              <a:xfrm>
                <a:off x="4164"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5" name="Freeform 1483"/>
              <p:cNvSpPr>
                <a:spLocks/>
              </p:cNvSpPr>
              <p:nvPr/>
            </p:nvSpPr>
            <p:spPr bwMode="auto">
              <a:xfrm>
                <a:off x="4258"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6" name="Freeform 1484"/>
              <p:cNvSpPr>
                <a:spLocks/>
              </p:cNvSpPr>
              <p:nvPr/>
            </p:nvSpPr>
            <p:spPr bwMode="auto">
              <a:xfrm>
                <a:off x="4348"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7" name="Freeform 1485"/>
              <p:cNvSpPr>
                <a:spLocks/>
              </p:cNvSpPr>
              <p:nvPr/>
            </p:nvSpPr>
            <p:spPr bwMode="auto">
              <a:xfrm>
                <a:off x="4590"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8" name="Freeform 1486"/>
              <p:cNvSpPr>
                <a:spLocks/>
              </p:cNvSpPr>
              <p:nvPr/>
            </p:nvSpPr>
            <p:spPr bwMode="auto">
              <a:xfrm>
                <a:off x="468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69" name="Freeform 1487"/>
              <p:cNvSpPr>
                <a:spLocks/>
              </p:cNvSpPr>
              <p:nvPr/>
            </p:nvSpPr>
            <p:spPr bwMode="auto">
              <a:xfrm>
                <a:off x="4776"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0" name="Freeform 1488"/>
              <p:cNvSpPr>
                <a:spLocks/>
              </p:cNvSpPr>
              <p:nvPr/>
            </p:nvSpPr>
            <p:spPr bwMode="auto">
              <a:xfrm>
                <a:off x="4870"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1" name="Freeform 1489"/>
              <p:cNvSpPr>
                <a:spLocks/>
              </p:cNvSpPr>
              <p:nvPr/>
            </p:nvSpPr>
            <p:spPr bwMode="auto">
              <a:xfrm>
                <a:off x="4442" y="1366"/>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2" name="Freeform 1490"/>
              <p:cNvSpPr>
                <a:spLocks/>
              </p:cNvSpPr>
              <p:nvPr/>
            </p:nvSpPr>
            <p:spPr bwMode="auto">
              <a:xfrm>
                <a:off x="4442" y="1366"/>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3" name="Freeform 1491"/>
              <p:cNvSpPr>
                <a:spLocks/>
              </p:cNvSpPr>
              <p:nvPr/>
            </p:nvSpPr>
            <p:spPr bwMode="auto">
              <a:xfrm>
                <a:off x="4502"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4" name="Freeform 1492"/>
              <p:cNvSpPr>
                <a:spLocks/>
              </p:cNvSpPr>
              <p:nvPr/>
            </p:nvSpPr>
            <p:spPr bwMode="auto">
              <a:xfrm>
                <a:off x="4502" y="1366"/>
                <a:ext cx="48" cy="146"/>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5" name="Freeform 1493"/>
              <p:cNvSpPr>
                <a:spLocks/>
              </p:cNvSpPr>
              <p:nvPr/>
            </p:nvSpPr>
            <p:spPr bwMode="auto">
              <a:xfrm>
                <a:off x="5190"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6" name="Freeform 1494"/>
              <p:cNvSpPr>
                <a:spLocks/>
              </p:cNvSpPr>
              <p:nvPr/>
            </p:nvSpPr>
            <p:spPr bwMode="auto">
              <a:xfrm>
                <a:off x="5190"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7" name="Freeform 1495"/>
              <p:cNvSpPr>
                <a:spLocks/>
              </p:cNvSpPr>
              <p:nvPr/>
            </p:nvSpPr>
            <p:spPr bwMode="auto">
              <a:xfrm>
                <a:off x="5250"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8" name="Freeform 1496"/>
              <p:cNvSpPr>
                <a:spLocks/>
              </p:cNvSpPr>
              <p:nvPr/>
            </p:nvSpPr>
            <p:spPr bwMode="auto">
              <a:xfrm>
                <a:off x="5250"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79" name="Freeform 1497"/>
              <p:cNvSpPr>
                <a:spLocks/>
              </p:cNvSpPr>
              <p:nvPr/>
            </p:nvSpPr>
            <p:spPr bwMode="auto">
              <a:xfrm>
                <a:off x="533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0" name="Freeform 1498"/>
              <p:cNvSpPr>
                <a:spLocks/>
              </p:cNvSpPr>
              <p:nvPr/>
            </p:nvSpPr>
            <p:spPr bwMode="auto">
              <a:xfrm>
                <a:off x="5432"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1" name="Freeform 1499"/>
              <p:cNvSpPr>
                <a:spLocks/>
              </p:cNvSpPr>
              <p:nvPr/>
            </p:nvSpPr>
            <p:spPr bwMode="auto">
              <a:xfrm>
                <a:off x="5524" y="1368"/>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2" name="Freeform 1500"/>
              <p:cNvSpPr>
                <a:spLocks/>
              </p:cNvSpPr>
              <p:nvPr/>
            </p:nvSpPr>
            <p:spPr bwMode="auto">
              <a:xfrm>
                <a:off x="5762"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3" name="Freeform 1501"/>
              <p:cNvSpPr>
                <a:spLocks/>
              </p:cNvSpPr>
              <p:nvPr/>
            </p:nvSpPr>
            <p:spPr bwMode="auto">
              <a:xfrm>
                <a:off x="5856"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4" name="Freeform 1502"/>
              <p:cNvSpPr>
                <a:spLocks/>
              </p:cNvSpPr>
              <p:nvPr/>
            </p:nvSpPr>
            <p:spPr bwMode="auto">
              <a:xfrm>
                <a:off x="5948"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5" name="Freeform 1503"/>
              <p:cNvSpPr>
                <a:spLocks noEditPoints="1"/>
              </p:cNvSpPr>
              <p:nvPr/>
            </p:nvSpPr>
            <p:spPr bwMode="auto">
              <a:xfrm>
                <a:off x="6040" y="1364"/>
                <a:ext cx="98" cy="148"/>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6" name="Freeform 1504"/>
              <p:cNvSpPr>
                <a:spLocks noEditPoints="1"/>
              </p:cNvSpPr>
              <p:nvPr/>
            </p:nvSpPr>
            <p:spPr bwMode="auto">
              <a:xfrm>
                <a:off x="6178" y="1364"/>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7" name="Freeform 1505"/>
              <p:cNvSpPr>
                <a:spLocks/>
              </p:cNvSpPr>
              <p:nvPr/>
            </p:nvSpPr>
            <p:spPr bwMode="auto">
              <a:xfrm>
                <a:off x="561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8" name="Freeform 1506"/>
              <p:cNvSpPr>
                <a:spLocks/>
              </p:cNvSpPr>
              <p:nvPr/>
            </p:nvSpPr>
            <p:spPr bwMode="auto">
              <a:xfrm>
                <a:off x="561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89" name="Freeform 1507"/>
              <p:cNvSpPr>
                <a:spLocks/>
              </p:cNvSpPr>
              <p:nvPr/>
            </p:nvSpPr>
            <p:spPr bwMode="auto">
              <a:xfrm>
                <a:off x="567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0" name="Freeform 1508"/>
              <p:cNvSpPr>
                <a:spLocks/>
              </p:cNvSpPr>
              <p:nvPr/>
            </p:nvSpPr>
            <p:spPr bwMode="auto">
              <a:xfrm>
                <a:off x="567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1" name="Freeform 1509"/>
              <p:cNvSpPr>
                <a:spLocks noEditPoints="1"/>
              </p:cNvSpPr>
              <p:nvPr/>
            </p:nvSpPr>
            <p:spPr bwMode="auto">
              <a:xfrm>
                <a:off x="6594" y="1364"/>
                <a:ext cx="100" cy="148"/>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2" name="Freeform 1510"/>
              <p:cNvSpPr>
                <a:spLocks noEditPoints="1"/>
              </p:cNvSpPr>
              <p:nvPr/>
            </p:nvSpPr>
            <p:spPr bwMode="auto">
              <a:xfrm>
                <a:off x="6826" y="1364"/>
                <a:ext cx="98" cy="148"/>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3" name="Freeform 1511"/>
              <p:cNvSpPr>
                <a:spLocks/>
              </p:cNvSpPr>
              <p:nvPr/>
            </p:nvSpPr>
            <p:spPr bwMode="auto">
              <a:xfrm>
                <a:off x="6734"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4" name="Freeform 1512"/>
              <p:cNvSpPr>
                <a:spLocks noEditPoints="1"/>
              </p:cNvSpPr>
              <p:nvPr/>
            </p:nvSpPr>
            <p:spPr bwMode="auto">
              <a:xfrm>
                <a:off x="6966" y="1364"/>
                <a:ext cx="98" cy="148"/>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5" name="Freeform 1513"/>
              <p:cNvSpPr>
                <a:spLocks/>
              </p:cNvSpPr>
              <p:nvPr/>
            </p:nvSpPr>
            <p:spPr bwMode="auto">
              <a:xfrm>
                <a:off x="710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6" name="Freeform 1514"/>
              <p:cNvSpPr>
                <a:spLocks/>
              </p:cNvSpPr>
              <p:nvPr/>
            </p:nvSpPr>
            <p:spPr bwMode="auto">
              <a:xfrm>
                <a:off x="7104" y="1366"/>
                <a:ext cx="48" cy="146"/>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7" name="Freeform 1515"/>
              <p:cNvSpPr>
                <a:spLocks/>
              </p:cNvSpPr>
              <p:nvPr/>
            </p:nvSpPr>
            <p:spPr bwMode="auto">
              <a:xfrm>
                <a:off x="716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8" name="Freeform 1516"/>
              <p:cNvSpPr>
                <a:spLocks/>
              </p:cNvSpPr>
              <p:nvPr/>
            </p:nvSpPr>
            <p:spPr bwMode="auto">
              <a:xfrm>
                <a:off x="7164" y="1366"/>
                <a:ext cx="48" cy="146"/>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499" name="Freeform 1517"/>
              <p:cNvSpPr>
                <a:spLocks noEditPoints="1"/>
              </p:cNvSpPr>
              <p:nvPr/>
            </p:nvSpPr>
            <p:spPr bwMode="auto">
              <a:xfrm>
                <a:off x="7400" y="1364"/>
                <a:ext cx="100" cy="148"/>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0" name="Freeform 1518"/>
              <p:cNvSpPr>
                <a:spLocks/>
              </p:cNvSpPr>
              <p:nvPr/>
            </p:nvSpPr>
            <p:spPr bwMode="auto">
              <a:xfrm>
                <a:off x="7532"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1" name="Freeform 1519"/>
              <p:cNvSpPr>
                <a:spLocks noEditPoints="1"/>
              </p:cNvSpPr>
              <p:nvPr/>
            </p:nvSpPr>
            <p:spPr bwMode="auto">
              <a:xfrm>
                <a:off x="3932" y="1160"/>
                <a:ext cx="188" cy="144"/>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2" name="Freeform 1520"/>
              <p:cNvSpPr>
                <a:spLocks/>
              </p:cNvSpPr>
              <p:nvPr/>
            </p:nvSpPr>
            <p:spPr bwMode="auto">
              <a:xfrm>
                <a:off x="4036" y="1264"/>
                <a:ext cx="16" cy="26"/>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3" name="Freeform 1521"/>
              <p:cNvSpPr>
                <a:spLocks/>
              </p:cNvSpPr>
              <p:nvPr/>
            </p:nvSpPr>
            <p:spPr bwMode="auto">
              <a:xfrm>
                <a:off x="3938" y="1260"/>
                <a:ext cx="18" cy="22"/>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4" name="Freeform 1522"/>
              <p:cNvSpPr>
                <a:spLocks/>
              </p:cNvSpPr>
              <p:nvPr/>
            </p:nvSpPr>
            <p:spPr bwMode="auto">
              <a:xfrm>
                <a:off x="3934" y="120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5" name="Freeform 1523"/>
              <p:cNvSpPr>
                <a:spLocks/>
              </p:cNvSpPr>
              <p:nvPr/>
            </p:nvSpPr>
            <p:spPr bwMode="auto">
              <a:xfrm>
                <a:off x="3946" y="1164"/>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6" name="Freeform 1524"/>
              <p:cNvSpPr>
                <a:spLocks/>
              </p:cNvSpPr>
              <p:nvPr/>
            </p:nvSpPr>
            <p:spPr bwMode="auto">
              <a:xfrm>
                <a:off x="3932" y="1160"/>
                <a:ext cx="188" cy="144"/>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7" name="Freeform 1525"/>
              <p:cNvSpPr>
                <a:spLocks/>
              </p:cNvSpPr>
              <p:nvPr/>
            </p:nvSpPr>
            <p:spPr bwMode="auto">
              <a:xfrm>
                <a:off x="3938"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8" name="Freeform 1526"/>
              <p:cNvSpPr>
                <a:spLocks/>
              </p:cNvSpPr>
              <p:nvPr/>
            </p:nvSpPr>
            <p:spPr bwMode="auto">
              <a:xfrm>
                <a:off x="3938" y="1260"/>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09" name="Freeform 1527"/>
              <p:cNvSpPr>
                <a:spLocks/>
              </p:cNvSpPr>
              <p:nvPr/>
            </p:nvSpPr>
            <p:spPr bwMode="auto">
              <a:xfrm>
                <a:off x="3938" y="1260"/>
                <a:ext cx="12" cy="22"/>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0" name="Freeform 1528"/>
              <p:cNvSpPr>
                <a:spLocks/>
              </p:cNvSpPr>
              <p:nvPr/>
            </p:nvSpPr>
            <p:spPr bwMode="auto">
              <a:xfrm>
                <a:off x="3938" y="1260"/>
                <a:ext cx="12" cy="22"/>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1" name="Freeform 1529"/>
              <p:cNvSpPr>
                <a:spLocks/>
              </p:cNvSpPr>
              <p:nvPr/>
            </p:nvSpPr>
            <p:spPr bwMode="auto">
              <a:xfrm>
                <a:off x="4036"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2" name="Freeform 1530"/>
              <p:cNvSpPr>
                <a:spLocks/>
              </p:cNvSpPr>
              <p:nvPr/>
            </p:nvSpPr>
            <p:spPr bwMode="auto">
              <a:xfrm>
                <a:off x="4036" y="1264"/>
                <a:ext cx="16" cy="26"/>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3" name="Freeform 1531"/>
              <p:cNvSpPr>
                <a:spLocks noEditPoints="1"/>
              </p:cNvSpPr>
              <p:nvPr/>
            </p:nvSpPr>
            <p:spPr bwMode="auto">
              <a:xfrm>
                <a:off x="4036" y="1264"/>
                <a:ext cx="16" cy="26"/>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4" name="Freeform 1532"/>
              <p:cNvSpPr>
                <a:spLocks/>
              </p:cNvSpPr>
              <p:nvPr/>
            </p:nvSpPr>
            <p:spPr bwMode="auto">
              <a:xfrm>
                <a:off x="4036" y="1278"/>
                <a:ext cx="6" cy="12"/>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5" name="Freeform 1533"/>
              <p:cNvSpPr>
                <a:spLocks/>
              </p:cNvSpPr>
              <p:nvPr/>
            </p:nvSpPr>
            <p:spPr bwMode="auto">
              <a:xfrm>
                <a:off x="4050" y="1264"/>
                <a:ext cx="2" cy="26"/>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6" name="Freeform 1534"/>
              <p:cNvSpPr>
                <a:spLocks/>
              </p:cNvSpPr>
              <p:nvPr/>
            </p:nvSpPr>
            <p:spPr bwMode="auto">
              <a:xfrm>
                <a:off x="3934"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7" name="Freeform 1535"/>
              <p:cNvSpPr>
                <a:spLocks/>
              </p:cNvSpPr>
              <p:nvPr/>
            </p:nvSpPr>
            <p:spPr bwMode="auto">
              <a:xfrm>
                <a:off x="3934"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8" name="Freeform 1536"/>
              <p:cNvSpPr>
                <a:spLocks noEditPoints="1"/>
              </p:cNvSpPr>
              <p:nvPr/>
            </p:nvSpPr>
            <p:spPr bwMode="auto">
              <a:xfrm>
                <a:off x="3934" y="1208"/>
                <a:ext cx="12" cy="18"/>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19" name="Freeform 1537"/>
              <p:cNvSpPr>
                <a:spLocks/>
              </p:cNvSpPr>
              <p:nvPr/>
            </p:nvSpPr>
            <p:spPr bwMode="auto">
              <a:xfrm>
                <a:off x="3938" y="1220"/>
                <a:ext cx="8" cy="6"/>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0" name="Freeform 1538"/>
              <p:cNvSpPr>
                <a:spLocks/>
              </p:cNvSpPr>
              <p:nvPr/>
            </p:nvSpPr>
            <p:spPr bwMode="auto">
              <a:xfrm>
                <a:off x="3934" y="1208"/>
                <a:ext cx="8" cy="6"/>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1" name="Freeform 1539"/>
              <p:cNvSpPr>
                <a:spLocks noEditPoints="1"/>
              </p:cNvSpPr>
              <p:nvPr/>
            </p:nvSpPr>
            <p:spPr bwMode="auto">
              <a:xfrm>
                <a:off x="4048" y="1198"/>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2" name="Freeform 1540"/>
              <p:cNvSpPr>
                <a:spLocks/>
              </p:cNvSpPr>
              <p:nvPr/>
            </p:nvSpPr>
            <p:spPr bwMode="auto">
              <a:xfrm>
                <a:off x="4054" y="1204"/>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3" name="Freeform 1541"/>
              <p:cNvSpPr>
                <a:spLocks/>
              </p:cNvSpPr>
              <p:nvPr/>
            </p:nvSpPr>
            <p:spPr bwMode="auto">
              <a:xfrm>
                <a:off x="4048" y="1198"/>
                <a:ext cx="20" cy="14"/>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4" name="Freeform 1542"/>
              <p:cNvSpPr>
                <a:spLocks/>
              </p:cNvSpPr>
              <p:nvPr/>
            </p:nvSpPr>
            <p:spPr bwMode="auto">
              <a:xfrm>
                <a:off x="4002"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5" name="Freeform 1543"/>
              <p:cNvSpPr>
                <a:spLocks/>
              </p:cNvSpPr>
              <p:nvPr/>
            </p:nvSpPr>
            <p:spPr bwMode="auto">
              <a:xfrm>
                <a:off x="4002"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6" name="Freeform 1544"/>
              <p:cNvSpPr>
                <a:spLocks/>
              </p:cNvSpPr>
              <p:nvPr/>
            </p:nvSpPr>
            <p:spPr bwMode="auto">
              <a:xfrm>
                <a:off x="4098" y="1192"/>
                <a:ext cx="12" cy="8"/>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7" name="Freeform 1545"/>
              <p:cNvSpPr>
                <a:spLocks/>
              </p:cNvSpPr>
              <p:nvPr/>
            </p:nvSpPr>
            <p:spPr bwMode="auto">
              <a:xfrm>
                <a:off x="4098" y="1192"/>
                <a:ext cx="12" cy="8"/>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8" name="Freeform 1546"/>
              <p:cNvSpPr>
                <a:spLocks/>
              </p:cNvSpPr>
              <p:nvPr/>
            </p:nvSpPr>
            <p:spPr bwMode="auto">
              <a:xfrm>
                <a:off x="4042"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29" name="Freeform 1547"/>
              <p:cNvSpPr>
                <a:spLocks/>
              </p:cNvSpPr>
              <p:nvPr/>
            </p:nvSpPr>
            <p:spPr bwMode="auto">
              <a:xfrm>
                <a:off x="4042"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0" name="Freeform 1548"/>
              <p:cNvSpPr>
                <a:spLocks/>
              </p:cNvSpPr>
              <p:nvPr/>
            </p:nvSpPr>
            <p:spPr bwMode="auto">
              <a:xfrm>
                <a:off x="4058"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1" name="Freeform 1549"/>
              <p:cNvSpPr>
                <a:spLocks/>
              </p:cNvSpPr>
              <p:nvPr/>
            </p:nvSpPr>
            <p:spPr bwMode="auto">
              <a:xfrm>
                <a:off x="4058"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2" name="Freeform 1550"/>
              <p:cNvSpPr>
                <a:spLocks/>
              </p:cNvSpPr>
              <p:nvPr/>
            </p:nvSpPr>
            <p:spPr bwMode="auto">
              <a:xfrm>
                <a:off x="4054" y="1204"/>
                <a:ext cx="6" cy="6"/>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3" name="Freeform 1551"/>
              <p:cNvSpPr>
                <a:spLocks/>
              </p:cNvSpPr>
              <p:nvPr/>
            </p:nvSpPr>
            <p:spPr bwMode="auto">
              <a:xfrm>
                <a:off x="4054" y="1204"/>
                <a:ext cx="6" cy="6"/>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4" name="Freeform 1552"/>
              <p:cNvSpPr>
                <a:spLocks/>
              </p:cNvSpPr>
              <p:nvPr/>
            </p:nvSpPr>
            <p:spPr bwMode="auto">
              <a:xfrm>
                <a:off x="4054"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5" name="Freeform 1553"/>
              <p:cNvSpPr>
                <a:spLocks/>
              </p:cNvSpPr>
              <p:nvPr/>
            </p:nvSpPr>
            <p:spPr bwMode="auto">
              <a:xfrm>
                <a:off x="4054"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6" name="Freeform 1554"/>
              <p:cNvSpPr>
                <a:spLocks noEditPoints="1"/>
              </p:cNvSpPr>
              <p:nvPr/>
            </p:nvSpPr>
            <p:spPr bwMode="auto">
              <a:xfrm>
                <a:off x="7252" y="1370"/>
                <a:ext cx="108" cy="142"/>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7" name="Freeform 1555"/>
              <p:cNvSpPr>
                <a:spLocks/>
              </p:cNvSpPr>
              <p:nvPr/>
            </p:nvSpPr>
            <p:spPr bwMode="auto">
              <a:xfrm>
                <a:off x="7296" y="1430"/>
                <a:ext cx="22" cy="22"/>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8" name="Freeform 1556"/>
              <p:cNvSpPr>
                <a:spLocks/>
              </p:cNvSpPr>
              <p:nvPr/>
            </p:nvSpPr>
            <p:spPr bwMode="auto">
              <a:xfrm>
                <a:off x="7252" y="1370"/>
                <a:ext cx="108" cy="142"/>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39" name="Freeform 1557"/>
              <p:cNvSpPr>
                <a:spLocks noEditPoints="1"/>
              </p:cNvSpPr>
              <p:nvPr/>
            </p:nvSpPr>
            <p:spPr bwMode="auto">
              <a:xfrm>
                <a:off x="4960" y="1366"/>
                <a:ext cx="188" cy="146"/>
              </a:xfrm>
              <a:custGeom>
                <a:avLst/>
                <a:gdLst>
                  <a:gd name="T0" fmla="*/ 122 w 188"/>
                  <a:gd name="T1" fmla="*/ 126 h 146"/>
                  <a:gd name="T2" fmla="*/ 112 w 188"/>
                  <a:gd name="T3" fmla="*/ 130 h 146"/>
                  <a:gd name="T4" fmla="*/ 104 w 188"/>
                  <a:gd name="T5" fmla="*/ 130 h 146"/>
                  <a:gd name="T6" fmla="*/ 14 w 188"/>
                  <a:gd name="T7" fmla="*/ 120 h 146"/>
                  <a:gd name="T8" fmla="*/ 14 w 188"/>
                  <a:gd name="T9" fmla="*/ 100 h 146"/>
                  <a:gd name="T10" fmla="*/ 22 w 188"/>
                  <a:gd name="T11" fmla="*/ 122 h 146"/>
                  <a:gd name="T12" fmla="*/ 10 w 188"/>
                  <a:gd name="T13" fmla="*/ 48 h 146"/>
                  <a:gd name="T14" fmla="*/ 10 w 188"/>
                  <a:gd name="T15" fmla="*/ 66 h 146"/>
                  <a:gd name="T16" fmla="*/ 10 w 188"/>
                  <a:gd name="T17" fmla="*/ 68 h 146"/>
                  <a:gd name="T18" fmla="*/ 2 w 188"/>
                  <a:gd name="T19" fmla="*/ 58 h 146"/>
                  <a:gd name="T20" fmla="*/ 8 w 188"/>
                  <a:gd name="T21" fmla="*/ 48 h 146"/>
                  <a:gd name="T22" fmla="*/ 116 w 188"/>
                  <a:gd name="T23" fmla="*/ 2 h 146"/>
                  <a:gd name="T24" fmla="*/ 146 w 188"/>
                  <a:gd name="T25" fmla="*/ 20 h 146"/>
                  <a:gd name="T26" fmla="*/ 154 w 188"/>
                  <a:gd name="T27" fmla="*/ 40 h 146"/>
                  <a:gd name="T28" fmla="*/ 146 w 188"/>
                  <a:gd name="T29" fmla="*/ 52 h 146"/>
                  <a:gd name="T30" fmla="*/ 152 w 188"/>
                  <a:gd name="T31" fmla="*/ 54 h 146"/>
                  <a:gd name="T32" fmla="*/ 160 w 188"/>
                  <a:gd name="T33" fmla="*/ 60 h 146"/>
                  <a:gd name="T34" fmla="*/ 170 w 188"/>
                  <a:gd name="T35" fmla="*/ 34 h 146"/>
                  <a:gd name="T36" fmla="*/ 184 w 188"/>
                  <a:gd name="T37" fmla="*/ 40 h 146"/>
                  <a:gd name="T38" fmla="*/ 160 w 188"/>
                  <a:gd name="T39" fmla="*/ 88 h 146"/>
                  <a:gd name="T40" fmla="*/ 130 w 188"/>
                  <a:gd name="T41" fmla="*/ 94 h 146"/>
                  <a:gd name="T42" fmla="*/ 142 w 188"/>
                  <a:gd name="T43" fmla="*/ 94 h 146"/>
                  <a:gd name="T44" fmla="*/ 138 w 188"/>
                  <a:gd name="T45" fmla="*/ 100 h 146"/>
                  <a:gd name="T46" fmla="*/ 108 w 188"/>
                  <a:gd name="T47" fmla="*/ 86 h 146"/>
                  <a:gd name="T48" fmla="*/ 100 w 188"/>
                  <a:gd name="T49" fmla="*/ 128 h 146"/>
                  <a:gd name="T50" fmla="*/ 80 w 188"/>
                  <a:gd name="T51" fmla="*/ 142 h 146"/>
                  <a:gd name="T52" fmla="*/ 80 w 188"/>
                  <a:gd name="T53" fmla="*/ 118 h 146"/>
                  <a:gd name="T54" fmla="*/ 66 w 188"/>
                  <a:gd name="T55" fmla="*/ 116 h 146"/>
                  <a:gd name="T56" fmla="*/ 54 w 188"/>
                  <a:gd name="T57" fmla="*/ 112 h 146"/>
                  <a:gd name="T58" fmla="*/ 48 w 188"/>
                  <a:gd name="T59" fmla="*/ 132 h 146"/>
                  <a:gd name="T60" fmla="*/ 26 w 188"/>
                  <a:gd name="T61" fmla="*/ 134 h 146"/>
                  <a:gd name="T62" fmla="*/ 26 w 188"/>
                  <a:gd name="T63" fmla="*/ 114 h 146"/>
                  <a:gd name="T64" fmla="*/ 24 w 188"/>
                  <a:gd name="T65" fmla="*/ 52 h 146"/>
                  <a:gd name="T66" fmla="*/ 48 w 188"/>
                  <a:gd name="T67" fmla="*/ 50 h 146"/>
                  <a:gd name="T68" fmla="*/ 46 w 188"/>
                  <a:gd name="T69" fmla="*/ 74 h 146"/>
                  <a:gd name="T70" fmla="*/ 60 w 188"/>
                  <a:gd name="T71" fmla="*/ 98 h 146"/>
                  <a:gd name="T72" fmla="*/ 92 w 188"/>
                  <a:gd name="T73" fmla="*/ 88 h 146"/>
                  <a:gd name="T74" fmla="*/ 94 w 188"/>
                  <a:gd name="T75" fmla="*/ 42 h 146"/>
                  <a:gd name="T76" fmla="*/ 80 w 188"/>
                  <a:gd name="T77" fmla="*/ 88 h 146"/>
                  <a:gd name="T78" fmla="*/ 52 w 188"/>
                  <a:gd name="T79" fmla="*/ 86 h 146"/>
                  <a:gd name="T80" fmla="*/ 54 w 188"/>
                  <a:gd name="T81" fmla="*/ 76 h 146"/>
                  <a:gd name="T82" fmla="*/ 74 w 188"/>
                  <a:gd name="T83" fmla="*/ 26 h 146"/>
                  <a:gd name="T84" fmla="*/ 84 w 188"/>
                  <a:gd name="T85" fmla="*/ 20 h 146"/>
                  <a:gd name="T86" fmla="*/ 80 w 188"/>
                  <a:gd name="T87" fmla="*/ 18 h 146"/>
                  <a:gd name="T88" fmla="*/ 54 w 188"/>
                  <a:gd name="T89" fmla="*/ 30 h 146"/>
                  <a:gd name="T90" fmla="*/ 8 w 188"/>
                  <a:gd name="T91" fmla="*/ 62 h 146"/>
                  <a:gd name="T92" fmla="*/ 12 w 188"/>
                  <a:gd name="T93" fmla="*/ 44 h 146"/>
                  <a:gd name="T94" fmla="*/ 4 w 188"/>
                  <a:gd name="T95" fmla="*/ 68 h 146"/>
                  <a:gd name="T96" fmla="*/ 10 w 188"/>
                  <a:gd name="T97" fmla="*/ 98 h 146"/>
                  <a:gd name="T98" fmla="*/ 10 w 188"/>
                  <a:gd name="T99" fmla="*/ 120 h 146"/>
                  <a:gd name="T100" fmla="*/ 26 w 188"/>
                  <a:gd name="T101" fmla="*/ 138 h 146"/>
                  <a:gd name="T102" fmla="*/ 50 w 188"/>
                  <a:gd name="T103" fmla="*/ 142 h 146"/>
                  <a:gd name="T104" fmla="*/ 70 w 188"/>
                  <a:gd name="T105" fmla="*/ 118 h 146"/>
                  <a:gd name="T106" fmla="*/ 82 w 188"/>
                  <a:gd name="T107" fmla="*/ 146 h 146"/>
                  <a:gd name="T108" fmla="*/ 118 w 188"/>
                  <a:gd name="T109" fmla="*/ 132 h 146"/>
                  <a:gd name="T110" fmla="*/ 124 w 188"/>
                  <a:gd name="T111" fmla="*/ 114 h 146"/>
                  <a:gd name="T112" fmla="*/ 126 w 188"/>
                  <a:gd name="T113" fmla="*/ 100 h 146"/>
                  <a:gd name="T114" fmla="*/ 148 w 188"/>
                  <a:gd name="T115" fmla="*/ 92 h 146"/>
                  <a:gd name="T116" fmla="*/ 176 w 188"/>
                  <a:gd name="T117" fmla="*/ 86 h 146"/>
                  <a:gd name="T118" fmla="*/ 184 w 188"/>
                  <a:gd name="T119" fmla="*/ 28 h 146"/>
                  <a:gd name="T120" fmla="*/ 166 w 188"/>
                  <a:gd name="T121" fmla="*/ 30 h 146"/>
                  <a:gd name="T122" fmla="*/ 154 w 188"/>
                  <a:gd name="T12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2" y="126"/>
                    </a:lnTo>
                    <a:lnTo>
                      <a:pt x="122" y="126"/>
                    </a:lnTo>
                    <a:lnTo>
                      <a:pt x="120" y="130"/>
                    </a:lnTo>
                    <a:lnTo>
                      <a:pt x="120" y="130"/>
                    </a:lnTo>
                    <a:lnTo>
                      <a:pt x="114" y="130"/>
                    </a:lnTo>
                    <a:lnTo>
                      <a:pt x="114" y="130"/>
                    </a:lnTo>
                    <a:lnTo>
                      <a:pt x="114" y="130"/>
                    </a:lnTo>
                    <a:lnTo>
                      <a:pt x="114" y="130"/>
                    </a:lnTo>
                    <a:lnTo>
                      <a:pt x="112" y="130"/>
                    </a:lnTo>
                    <a:lnTo>
                      <a:pt x="112" y="130"/>
                    </a:lnTo>
                    <a:lnTo>
                      <a:pt x="106" y="130"/>
                    </a:lnTo>
                    <a:lnTo>
                      <a:pt x="106" y="130"/>
                    </a:lnTo>
                    <a:lnTo>
                      <a:pt x="104" y="130"/>
                    </a:lnTo>
                    <a:lnTo>
                      <a:pt x="104" y="130"/>
                    </a:lnTo>
                    <a:lnTo>
                      <a:pt x="104" y="130"/>
                    </a:lnTo>
                    <a:lnTo>
                      <a:pt x="104" y="130"/>
                    </a:lnTo>
                    <a:lnTo>
                      <a:pt x="104" y="130"/>
                    </a:lnTo>
                    <a:lnTo>
                      <a:pt x="104" y="130"/>
                    </a:lnTo>
                    <a:lnTo>
                      <a:pt x="116" y="108"/>
                    </a:lnTo>
                    <a:lnTo>
                      <a:pt x="116" y="108"/>
                    </a:lnTo>
                    <a:lnTo>
                      <a:pt x="118" y="104"/>
                    </a:lnTo>
                    <a:lnTo>
                      <a:pt x="118" y="104"/>
                    </a:lnTo>
                    <a:lnTo>
                      <a:pt x="118" y="104"/>
                    </a:lnTo>
                    <a:close/>
                    <a:moveTo>
                      <a:pt x="18" y="122"/>
                    </a:moveTo>
                    <a:lnTo>
                      <a:pt x="18" y="122"/>
                    </a:lnTo>
                    <a:lnTo>
                      <a:pt x="14" y="120"/>
                    </a:lnTo>
                    <a:lnTo>
                      <a:pt x="10" y="116"/>
                    </a:ln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2" y="122"/>
                    </a:lnTo>
                    <a:lnTo>
                      <a:pt x="22" y="122"/>
                    </a:lnTo>
                    <a:lnTo>
                      <a:pt x="20" y="122"/>
                    </a:lnTo>
                    <a:lnTo>
                      <a:pt x="20" y="122"/>
                    </a:lnTo>
                    <a:lnTo>
                      <a:pt x="18" y="122"/>
                    </a:lnTo>
                    <a:close/>
                    <a:moveTo>
                      <a:pt x="10" y="48"/>
                    </a:moveTo>
                    <a:lnTo>
                      <a:pt x="10" y="48"/>
                    </a:lnTo>
                    <a:lnTo>
                      <a:pt x="10" y="48"/>
                    </a:lnTo>
                    <a:lnTo>
                      <a:pt x="10" y="48"/>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6" y="64"/>
                    </a:lnTo>
                    <a:lnTo>
                      <a:pt x="16" y="64"/>
                    </a:lnTo>
                    <a:lnTo>
                      <a:pt x="14" y="68"/>
                    </a:lnTo>
                    <a:lnTo>
                      <a:pt x="10" y="68"/>
                    </a:lnTo>
                    <a:lnTo>
                      <a:pt x="10" y="68"/>
                    </a:lnTo>
                    <a:lnTo>
                      <a:pt x="8" y="68"/>
                    </a:lnTo>
                    <a:lnTo>
                      <a:pt x="8" y="68"/>
                    </a:lnTo>
                    <a:lnTo>
                      <a:pt x="8" y="68"/>
                    </a:lnTo>
                    <a:lnTo>
                      <a:pt x="8" y="68"/>
                    </a:lnTo>
                    <a:lnTo>
                      <a:pt x="6" y="66"/>
                    </a:lnTo>
                    <a:lnTo>
                      <a:pt x="4" y="62"/>
                    </a:lnTo>
                    <a:lnTo>
                      <a:pt x="2" y="58"/>
                    </a:lnTo>
                    <a:lnTo>
                      <a:pt x="2" y="54"/>
                    </a:lnTo>
                    <a:lnTo>
                      <a:pt x="2" y="54"/>
                    </a:lnTo>
                    <a:lnTo>
                      <a:pt x="8" y="48"/>
                    </a:lnTo>
                    <a:lnTo>
                      <a:pt x="8" y="48"/>
                    </a:lnTo>
                    <a:lnTo>
                      <a:pt x="8" y="48"/>
                    </a:lnTo>
                    <a:lnTo>
                      <a:pt x="8" y="48"/>
                    </a:lnTo>
                    <a:lnTo>
                      <a:pt x="8" y="48"/>
                    </a:lnTo>
                    <a:lnTo>
                      <a:pt x="8" y="48"/>
                    </a:lnTo>
                    <a:lnTo>
                      <a:pt x="10" y="48"/>
                    </a:lnTo>
                    <a:close/>
                    <a:moveTo>
                      <a:pt x="84" y="20"/>
                    </a:moveTo>
                    <a:lnTo>
                      <a:pt x="84" y="20"/>
                    </a:lnTo>
                    <a:lnTo>
                      <a:pt x="86" y="16"/>
                    </a:lnTo>
                    <a:lnTo>
                      <a:pt x="90" y="12"/>
                    </a:lnTo>
                    <a:lnTo>
                      <a:pt x="98" y="8"/>
                    </a:lnTo>
                    <a:lnTo>
                      <a:pt x="98" y="8"/>
                    </a:lnTo>
                    <a:lnTo>
                      <a:pt x="116" y="2"/>
                    </a:lnTo>
                    <a:lnTo>
                      <a:pt x="116" y="2"/>
                    </a:lnTo>
                    <a:lnTo>
                      <a:pt x="122" y="4"/>
                    </a:lnTo>
                    <a:lnTo>
                      <a:pt x="130" y="6"/>
                    </a:lnTo>
                    <a:lnTo>
                      <a:pt x="130" y="6"/>
                    </a:lnTo>
                    <a:lnTo>
                      <a:pt x="144" y="20"/>
                    </a:lnTo>
                    <a:lnTo>
                      <a:pt x="144" y="20"/>
                    </a:lnTo>
                    <a:lnTo>
                      <a:pt x="146" y="20"/>
                    </a:lnTo>
                    <a:lnTo>
                      <a:pt x="146" y="20"/>
                    </a:lnTo>
                    <a:lnTo>
                      <a:pt x="150" y="22"/>
                    </a:lnTo>
                    <a:lnTo>
                      <a:pt x="154" y="24"/>
                    </a:lnTo>
                    <a:lnTo>
                      <a:pt x="158" y="32"/>
                    </a:lnTo>
                    <a:lnTo>
                      <a:pt x="158" y="32"/>
                    </a:lnTo>
                    <a:lnTo>
                      <a:pt x="150" y="34"/>
                    </a:lnTo>
                    <a:lnTo>
                      <a:pt x="150" y="34"/>
                    </a:lnTo>
                    <a:lnTo>
                      <a:pt x="152" y="38"/>
                    </a:lnTo>
                    <a:lnTo>
                      <a:pt x="154" y="40"/>
                    </a:lnTo>
                    <a:lnTo>
                      <a:pt x="154" y="40"/>
                    </a:lnTo>
                    <a:lnTo>
                      <a:pt x="158" y="40"/>
                    </a:lnTo>
                    <a:lnTo>
                      <a:pt x="158" y="40"/>
                    </a:lnTo>
                    <a:lnTo>
                      <a:pt x="160" y="42"/>
                    </a:lnTo>
                    <a:lnTo>
                      <a:pt x="160" y="42"/>
                    </a:lnTo>
                    <a:lnTo>
                      <a:pt x="150" y="46"/>
                    </a:lnTo>
                    <a:lnTo>
                      <a:pt x="148" y="48"/>
                    </a:lnTo>
                    <a:lnTo>
                      <a:pt x="146" y="52"/>
                    </a:lnTo>
                    <a:lnTo>
                      <a:pt x="146" y="52"/>
                    </a:lnTo>
                    <a:lnTo>
                      <a:pt x="148" y="48"/>
                    </a:lnTo>
                    <a:lnTo>
                      <a:pt x="148" y="48"/>
                    </a:lnTo>
                    <a:lnTo>
                      <a:pt x="154" y="44"/>
                    </a:lnTo>
                    <a:lnTo>
                      <a:pt x="154" y="44"/>
                    </a:lnTo>
                    <a:lnTo>
                      <a:pt x="152" y="54"/>
                    </a:lnTo>
                    <a:lnTo>
                      <a:pt x="152" y="54"/>
                    </a:lnTo>
                    <a:lnTo>
                      <a:pt x="152" y="54"/>
                    </a:lnTo>
                    <a:lnTo>
                      <a:pt x="152" y="54"/>
                    </a:lnTo>
                    <a:lnTo>
                      <a:pt x="156" y="48"/>
                    </a:lnTo>
                    <a:lnTo>
                      <a:pt x="156" y="48"/>
                    </a:lnTo>
                    <a:lnTo>
                      <a:pt x="158" y="46"/>
                    </a:lnTo>
                    <a:lnTo>
                      <a:pt x="158" y="46"/>
                    </a:lnTo>
                    <a:lnTo>
                      <a:pt x="160" y="48"/>
                    </a:lnTo>
                    <a:lnTo>
                      <a:pt x="160" y="48"/>
                    </a:lnTo>
                    <a:lnTo>
                      <a:pt x="160" y="60"/>
                    </a:lnTo>
                    <a:lnTo>
                      <a:pt x="160" y="60"/>
                    </a:lnTo>
                    <a:lnTo>
                      <a:pt x="162" y="50"/>
                    </a:lnTo>
                    <a:lnTo>
                      <a:pt x="162" y="40"/>
                    </a:lnTo>
                    <a:lnTo>
                      <a:pt x="162" y="40"/>
                    </a:lnTo>
                    <a:lnTo>
                      <a:pt x="162" y="38"/>
                    </a:lnTo>
                    <a:lnTo>
                      <a:pt x="164" y="36"/>
                    </a:lnTo>
                    <a:lnTo>
                      <a:pt x="164" y="36"/>
                    </a:lnTo>
                    <a:lnTo>
                      <a:pt x="170" y="34"/>
                    </a:lnTo>
                    <a:lnTo>
                      <a:pt x="174" y="28"/>
                    </a:lnTo>
                    <a:lnTo>
                      <a:pt x="174" y="28"/>
                    </a:lnTo>
                    <a:lnTo>
                      <a:pt x="178" y="26"/>
                    </a:lnTo>
                    <a:lnTo>
                      <a:pt x="178" y="26"/>
                    </a:lnTo>
                    <a:lnTo>
                      <a:pt x="180" y="30"/>
                    </a:lnTo>
                    <a:lnTo>
                      <a:pt x="180" y="30"/>
                    </a:lnTo>
                    <a:lnTo>
                      <a:pt x="184" y="40"/>
                    </a:lnTo>
                    <a:lnTo>
                      <a:pt x="184" y="40"/>
                    </a:lnTo>
                    <a:lnTo>
                      <a:pt x="186" y="54"/>
                    </a:lnTo>
                    <a:lnTo>
                      <a:pt x="186" y="62"/>
                    </a:lnTo>
                    <a:lnTo>
                      <a:pt x="184" y="68"/>
                    </a:lnTo>
                    <a:lnTo>
                      <a:pt x="184" y="68"/>
                    </a:lnTo>
                    <a:lnTo>
                      <a:pt x="180" y="78"/>
                    </a:lnTo>
                    <a:lnTo>
                      <a:pt x="174" y="84"/>
                    </a:lnTo>
                    <a:lnTo>
                      <a:pt x="166" y="86"/>
                    </a:lnTo>
                    <a:lnTo>
                      <a:pt x="160" y="88"/>
                    </a:lnTo>
                    <a:lnTo>
                      <a:pt x="160" y="88"/>
                    </a:lnTo>
                    <a:lnTo>
                      <a:pt x="152" y="86"/>
                    </a:lnTo>
                    <a:lnTo>
                      <a:pt x="152" y="86"/>
                    </a:lnTo>
                    <a:lnTo>
                      <a:pt x="142" y="84"/>
                    </a:lnTo>
                    <a:lnTo>
                      <a:pt x="132" y="82"/>
                    </a:lnTo>
                    <a:lnTo>
                      <a:pt x="132" y="82"/>
                    </a:lnTo>
                    <a:lnTo>
                      <a:pt x="130" y="94"/>
                    </a:lnTo>
                    <a:lnTo>
                      <a:pt x="130" y="94"/>
                    </a:lnTo>
                    <a:lnTo>
                      <a:pt x="130" y="98"/>
                    </a:lnTo>
                    <a:lnTo>
                      <a:pt x="132" y="98"/>
                    </a:lnTo>
                    <a:lnTo>
                      <a:pt x="132" y="98"/>
                    </a:lnTo>
                    <a:lnTo>
                      <a:pt x="136" y="100"/>
                    </a:lnTo>
                    <a:lnTo>
                      <a:pt x="136" y="100"/>
                    </a:lnTo>
                    <a:lnTo>
                      <a:pt x="138" y="98"/>
                    </a:lnTo>
                    <a:lnTo>
                      <a:pt x="138" y="98"/>
                    </a:lnTo>
                    <a:lnTo>
                      <a:pt x="142" y="94"/>
                    </a:lnTo>
                    <a:lnTo>
                      <a:pt x="144" y="90"/>
                    </a:lnTo>
                    <a:lnTo>
                      <a:pt x="144" y="90"/>
                    </a:lnTo>
                    <a:lnTo>
                      <a:pt x="146" y="90"/>
                    </a:lnTo>
                    <a:lnTo>
                      <a:pt x="146" y="90"/>
                    </a:lnTo>
                    <a:lnTo>
                      <a:pt x="146" y="94"/>
                    </a:lnTo>
                    <a:lnTo>
                      <a:pt x="144" y="96"/>
                    </a:lnTo>
                    <a:lnTo>
                      <a:pt x="140" y="100"/>
                    </a:lnTo>
                    <a:lnTo>
                      <a:pt x="138" y="100"/>
                    </a:lnTo>
                    <a:lnTo>
                      <a:pt x="138" y="100"/>
                    </a:lnTo>
                    <a:lnTo>
                      <a:pt x="134" y="102"/>
                    </a:lnTo>
                    <a:lnTo>
                      <a:pt x="134" y="102"/>
                    </a:lnTo>
                    <a:lnTo>
                      <a:pt x="130" y="100"/>
                    </a:lnTo>
                    <a:lnTo>
                      <a:pt x="126" y="98"/>
                    </a:lnTo>
                    <a:lnTo>
                      <a:pt x="126" y="98"/>
                    </a:lnTo>
                    <a:lnTo>
                      <a:pt x="118" y="92"/>
                    </a:lnTo>
                    <a:lnTo>
                      <a:pt x="108" y="86"/>
                    </a:lnTo>
                    <a:lnTo>
                      <a:pt x="108" y="86"/>
                    </a:lnTo>
                    <a:lnTo>
                      <a:pt x="114" y="92"/>
                    </a:lnTo>
                    <a:lnTo>
                      <a:pt x="114" y="92"/>
                    </a:lnTo>
                    <a:lnTo>
                      <a:pt x="116" y="96"/>
                    </a:lnTo>
                    <a:lnTo>
                      <a:pt x="116" y="96"/>
                    </a:lnTo>
                    <a:lnTo>
                      <a:pt x="110" y="112"/>
                    </a:lnTo>
                    <a:lnTo>
                      <a:pt x="106" y="120"/>
                    </a:lnTo>
                    <a:lnTo>
                      <a:pt x="100" y="128"/>
                    </a:lnTo>
                    <a:lnTo>
                      <a:pt x="100" y="128"/>
                    </a:lnTo>
                    <a:lnTo>
                      <a:pt x="90" y="136"/>
                    </a:lnTo>
                    <a:lnTo>
                      <a:pt x="90" y="136"/>
                    </a:lnTo>
                    <a:lnTo>
                      <a:pt x="88" y="138"/>
                    </a:lnTo>
                    <a:lnTo>
                      <a:pt x="88" y="138"/>
                    </a:lnTo>
                    <a:lnTo>
                      <a:pt x="84" y="142"/>
                    </a:lnTo>
                    <a:lnTo>
                      <a:pt x="80" y="142"/>
                    </a:lnTo>
                    <a:lnTo>
                      <a:pt x="80" y="142"/>
                    </a:lnTo>
                    <a:lnTo>
                      <a:pt x="78" y="140"/>
                    </a:lnTo>
                    <a:lnTo>
                      <a:pt x="78" y="140"/>
                    </a:lnTo>
                    <a:lnTo>
                      <a:pt x="70" y="128"/>
                    </a:lnTo>
                    <a:lnTo>
                      <a:pt x="70" y="128"/>
                    </a:lnTo>
                    <a:lnTo>
                      <a:pt x="68" y="124"/>
                    </a:lnTo>
                    <a:lnTo>
                      <a:pt x="72" y="122"/>
                    </a:lnTo>
                    <a:lnTo>
                      <a:pt x="72" y="122"/>
                    </a:lnTo>
                    <a:lnTo>
                      <a:pt x="80" y="118"/>
                    </a:lnTo>
                    <a:lnTo>
                      <a:pt x="80" y="118"/>
                    </a:lnTo>
                    <a:lnTo>
                      <a:pt x="80" y="108"/>
                    </a:lnTo>
                    <a:lnTo>
                      <a:pt x="80"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4" y="122"/>
                    </a:lnTo>
                    <a:lnTo>
                      <a:pt x="52" y="126"/>
                    </a:lnTo>
                    <a:lnTo>
                      <a:pt x="50" y="130"/>
                    </a:lnTo>
                    <a:lnTo>
                      <a:pt x="50" y="130"/>
                    </a:lnTo>
                    <a:lnTo>
                      <a:pt x="48" y="132"/>
                    </a:lnTo>
                    <a:lnTo>
                      <a:pt x="48" y="136"/>
                    </a:lnTo>
                    <a:lnTo>
                      <a:pt x="48" y="136"/>
                    </a:lnTo>
                    <a:lnTo>
                      <a:pt x="46" y="138"/>
                    </a:lnTo>
                    <a:lnTo>
                      <a:pt x="44" y="138"/>
                    </a:lnTo>
                    <a:lnTo>
                      <a:pt x="44" y="138"/>
                    </a:lnTo>
                    <a:lnTo>
                      <a:pt x="28" y="136"/>
                    </a:lnTo>
                    <a:lnTo>
                      <a:pt x="28" y="136"/>
                    </a:lnTo>
                    <a:lnTo>
                      <a:pt x="26" y="134"/>
                    </a:lnTo>
                    <a:lnTo>
                      <a:pt x="26" y="130"/>
                    </a:lnTo>
                    <a:lnTo>
                      <a:pt x="26" y="130"/>
                    </a:lnTo>
                    <a:lnTo>
                      <a:pt x="26" y="126"/>
                    </a:lnTo>
                    <a:lnTo>
                      <a:pt x="28" y="122"/>
                    </a:lnTo>
                    <a:lnTo>
                      <a:pt x="28" y="122"/>
                    </a:lnTo>
                    <a:lnTo>
                      <a:pt x="28" y="118"/>
                    </a:lnTo>
                    <a:lnTo>
                      <a:pt x="26" y="114"/>
                    </a:lnTo>
                    <a:lnTo>
                      <a:pt x="26" y="114"/>
                    </a:lnTo>
                    <a:lnTo>
                      <a:pt x="22" y="106"/>
                    </a:lnTo>
                    <a:lnTo>
                      <a:pt x="18" y="96"/>
                    </a:lnTo>
                    <a:lnTo>
                      <a:pt x="16" y="88"/>
                    </a:lnTo>
                    <a:lnTo>
                      <a:pt x="16" y="78"/>
                    </a:lnTo>
                    <a:lnTo>
                      <a:pt x="16" y="78"/>
                    </a:lnTo>
                    <a:lnTo>
                      <a:pt x="16" y="68"/>
                    </a:lnTo>
                    <a:lnTo>
                      <a:pt x="20" y="60"/>
                    </a:lnTo>
                    <a:lnTo>
                      <a:pt x="24" y="52"/>
                    </a:lnTo>
                    <a:lnTo>
                      <a:pt x="30" y="46"/>
                    </a:lnTo>
                    <a:lnTo>
                      <a:pt x="30" y="46"/>
                    </a:lnTo>
                    <a:lnTo>
                      <a:pt x="42" y="38"/>
                    </a:lnTo>
                    <a:lnTo>
                      <a:pt x="56" y="34"/>
                    </a:lnTo>
                    <a:lnTo>
                      <a:pt x="56"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0"/>
                    </a:lnTo>
                    <a:lnTo>
                      <a:pt x="92" y="88"/>
                    </a:lnTo>
                    <a:lnTo>
                      <a:pt x="92" y="88"/>
                    </a:lnTo>
                    <a:lnTo>
                      <a:pt x="96" y="84"/>
                    </a:lnTo>
                    <a:lnTo>
                      <a:pt x="96" y="84"/>
                    </a:lnTo>
                    <a:lnTo>
                      <a:pt x="98" y="78"/>
                    </a:lnTo>
                    <a:lnTo>
                      <a:pt x="98" y="72"/>
                    </a:lnTo>
                    <a:lnTo>
                      <a:pt x="96" y="58"/>
                    </a:lnTo>
                    <a:lnTo>
                      <a:pt x="96" y="58"/>
                    </a:lnTo>
                    <a:lnTo>
                      <a:pt x="94" y="42"/>
                    </a:lnTo>
                    <a:lnTo>
                      <a:pt x="94" y="42"/>
                    </a:lnTo>
                    <a:lnTo>
                      <a:pt x="94" y="60"/>
                    </a:lnTo>
                    <a:lnTo>
                      <a:pt x="94" y="60"/>
                    </a:lnTo>
                    <a:lnTo>
                      <a:pt x="94" y="80"/>
                    </a:lnTo>
                    <a:lnTo>
                      <a:pt x="94" y="80"/>
                    </a:lnTo>
                    <a:lnTo>
                      <a:pt x="92" y="84"/>
                    </a:lnTo>
                    <a:lnTo>
                      <a:pt x="88" y="86"/>
                    </a:lnTo>
                    <a:lnTo>
                      <a:pt x="88" y="86"/>
                    </a:lnTo>
                    <a:lnTo>
                      <a:pt x="80" y="88"/>
                    </a:lnTo>
                    <a:lnTo>
                      <a:pt x="72" y="92"/>
                    </a:lnTo>
                    <a:lnTo>
                      <a:pt x="72" y="92"/>
                    </a:lnTo>
                    <a:lnTo>
                      <a:pt x="64" y="94"/>
                    </a:lnTo>
                    <a:lnTo>
                      <a:pt x="64" y="94"/>
                    </a:lnTo>
                    <a:lnTo>
                      <a:pt x="58" y="94"/>
                    </a:lnTo>
                    <a:lnTo>
                      <a:pt x="54" y="90"/>
                    </a:lnTo>
                    <a:lnTo>
                      <a:pt x="54" y="90"/>
                    </a:lnTo>
                    <a:lnTo>
                      <a:pt x="52" y="86"/>
                    </a:lnTo>
                    <a:lnTo>
                      <a:pt x="54" y="84"/>
                    </a:lnTo>
                    <a:lnTo>
                      <a:pt x="54" y="84"/>
                    </a:lnTo>
                    <a:lnTo>
                      <a:pt x="56" y="76"/>
                    </a:lnTo>
                    <a:lnTo>
                      <a:pt x="56" y="76"/>
                    </a:lnTo>
                    <a:lnTo>
                      <a:pt x="60" y="68"/>
                    </a:lnTo>
                    <a:lnTo>
                      <a:pt x="60" y="68"/>
                    </a:lnTo>
                    <a:lnTo>
                      <a:pt x="54" y="76"/>
                    </a:lnTo>
                    <a:lnTo>
                      <a:pt x="54" y="76"/>
                    </a:lnTo>
                    <a:lnTo>
                      <a:pt x="46" y="66"/>
                    </a:lnTo>
                    <a:lnTo>
                      <a:pt x="46" y="66"/>
                    </a:lnTo>
                    <a:lnTo>
                      <a:pt x="44" y="62"/>
                    </a:lnTo>
                    <a:lnTo>
                      <a:pt x="44" y="62"/>
                    </a:lnTo>
                    <a:lnTo>
                      <a:pt x="48" y="56"/>
                    </a:lnTo>
                    <a:lnTo>
                      <a:pt x="52" y="48"/>
                    </a:lnTo>
                    <a:lnTo>
                      <a:pt x="52" y="48"/>
                    </a:lnTo>
                    <a:lnTo>
                      <a:pt x="74" y="26"/>
                    </a:lnTo>
                    <a:lnTo>
                      <a:pt x="74" y="26"/>
                    </a:lnTo>
                    <a:lnTo>
                      <a:pt x="76" y="22"/>
                    </a:lnTo>
                    <a:lnTo>
                      <a:pt x="80" y="22"/>
                    </a:lnTo>
                    <a:lnTo>
                      <a:pt x="88" y="20"/>
                    </a:lnTo>
                    <a:lnTo>
                      <a:pt x="88" y="20"/>
                    </a:lnTo>
                    <a:lnTo>
                      <a:pt x="90" y="20"/>
                    </a:lnTo>
                    <a:lnTo>
                      <a:pt x="90" y="20"/>
                    </a:lnTo>
                    <a:lnTo>
                      <a:pt x="84" y="20"/>
                    </a:lnTo>
                    <a:close/>
                    <a:moveTo>
                      <a:pt x="114" y="0"/>
                    </a:moveTo>
                    <a:lnTo>
                      <a:pt x="114" y="0"/>
                    </a:lnTo>
                    <a:lnTo>
                      <a:pt x="106" y="0"/>
                    </a:lnTo>
                    <a:lnTo>
                      <a:pt x="98" y="2"/>
                    </a:lnTo>
                    <a:lnTo>
                      <a:pt x="92" y="6"/>
                    </a:lnTo>
                    <a:lnTo>
                      <a:pt x="86" y="12"/>
                    </a:lnTo>
                    <a:lnTo>
                      <a:pt x="86" y="12"/>
                    </a:lnTo>
                    <a:lnTo>
                      <a:pt x="80" y="18"/>
                    </a:lnTo>
                    <a:lnTo>
                      <a:pt x="76" y="20"/>
                    </a:lnTo>
                    <a:lnTo>
                      <a:pt x="74" y="20"/>
                    </a:lnTo>
                    <a:lnTo>
                      <a:pt x="74" y="20"/>
                    </a:lnTo>
                    <a:lnTo>
                      <a:pt x="70" y="22"/>
                    </a:lnTo>
                    <a:lnTo>
                      <a:pt x="70" y="22"/>
                    </a:lnTo>
                    <a:lnTo>
                      <a:pt x="62" y="28"/>
                    </a:lnTo>
                    <a:lnTo>
                      <a:pt x="54" y="30"/>
                    </a:lnTo>
                    <a:lnTo>
                      <a:pt x="54" y="30"/>
                    </a:lnTo>
                    <a:lnTo>
                      <a:pt x="42" y="34"/>
                    </a:lnTo>
                    <a:lnTo>
                      <a:pt x="34" y="40"/>
                    </a:lnTo>
                    <a:lnTo>
                      <a:pt x="26" y="46"/>
                    </a:lnTo>
                    <a:lnTo>
                      <a:pt x="18" y="54"/>
                    </a:lnTo>
                    <a:lnTo>
                      <a:pt x="18" y="54"/>
                    </a:lnTo>
                    <a:lnTo>
                      <a:pt x="12" y="62"/>
                    </a:lnTo>
                    <a:lnTo>
                      <a:pt x="12" y="62"/>
                    </a:lnTo>
                    <a:lnTo>
                      <a:pt x="8" y="62"/>
                    </a:lnTo>
                    <a:lnTo>
                      <a:pt x="8" y="62"/>
                    </a:lnTo>
                    <a:lnTo>
                      <a:pt x="12" y="54"/>
                    </a:lnTo>
                    <a:lnTo>
                      <a:pt x="12" y="54"/>
                    </a:lnTo>
                    <a:lnTo>
                      <a:pt x="14" y="54"/>
                    </a:lnTo>
                    <a:lnTo>
                      <a:pt x="14" y="54"/>
                    </a:lnTo>
                    <a:lnTo>
                      <a:pt x="14" y="48"/>
                    </a:lnTo>
                    <a:lnTo>
                      <a:pt x="14" y="48"/>
                    </a:lnTo>
                    <a:lnTo>
                      <a:pt x="12" y="44"/>
                    </a:lnTo>
                    <a:lnTo>
                      <a:pt x="12" y="44"/>
                    </a:lnTo>
                    <a:lnTo>
                      <a:pt x="4" y="48"/>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8"/>
                    </a:lnTo>
                    <a:lnTo>
                      <a:pt x="22" y="128"/>
                    </a:lnTo>
                    <a:lnTo>
                      <a:pt x="22" y="130"/>
                    </a:lnTo>
                    <a:lnTo>
                      <a:pt x="22" y="130"/>
                    </a:lnTo>
                    <a:lnTo>
                      <a:pt x="22" y="136"/>
                    </a:lnTo>
                    <a:lnTo>
                      <a:pt x="22" y="138"/>
                    </a:lnTo>
                    <a:lnTo>
                      <a:pt x="26" y="138"/>
                    </a:lnTo>
                    <a:lnTo>
                      <a:pt x="26" y="138"/>
                    </a:lnTo>
                    <a:lnTo>
                      <a:pt x="34" y="142"/>
                    </a:lnTo>
                    <a:lnTo>
                      <a:pt x="44" y="142"/>
                    </a:lnTo>
                    <a:lnTo>
                      <a:pt x="44" y="142"/>
                    </a:lnTo>
                    <a:lnTo>
                      <a:pt x="46" y="142"/>
                    </a:lnTo>
                    <a:lnTo>
                      <a:pt x="46" y="142"/>
                    </a:lnTo>
                    <a:lnTo>
                      <a:pt x="48" y="142"/>
                    </a:lnTo>
                    <a:lnTo>
                      <a:pt x="50" y="142"/>
                    </a:lnTo>
                    <a:lnTo>
                      <a:pt x="52" y="136"/>
                    </a:lnTo>
                    <a:lnTo>
                      <a:pt x="52" y="136"/>
                    </a:lnTo>
                    <a:lnTo>
                      <a:pt x="52" y="130"/>
                    </a:lnTo>
                    <a:lnTo>
                      <a:pt x="52" y="130"/>
                    </a:lnTo>
                    <a:lnTo>
                      <a:pt x="58" y="118"/>
                    </a:lnTo>
                    <a:lnTo>
                      <a:pt x="58" y="118"/>
                    </a:lnTo>
                    <a:lnTo>
                      <a:pt x="70" y="118"/>
                    </a:lnTo>
                    <a:lnTo>
                      <a:pt x="70" y="118"/>
                    </a:lnTo>
                    <a:lnTo>
                      <a:pt x="66" y="124"/>
                    </a:lnTo>
                    <a:lnTo>
                      <a:pt x="66" y="128"/>
                    </a:lnTo>
                    <a:lnTo>
                      <a:pt x="66" y="128"/>
                    </a:lnTo>
                    <a:lnTo>
                      <a:pt x="74" y="142"/>
                    </a:lnTo>
                    <a:lnTo>
                      <a:pt x="74" y="142"/>
                    </a:lnTo>
                    <a:lnTo>
                      <a:pt x="78" y="144"/>
                    </a:lnTo>
                    <a:lnTo>
                      <a:pt x="82" y="146"/>
                    </a:lnTo>
                    <a:lnTo>
                      <a:pt x="82" y="146"/>
                    </a:lnTo>
                    <a:lnTo>
                      <a:pt x="86" y="144"/>
                    </a:lnTo>
                    <a:lnTo>
                      <a:pt x="90" y="142"/>
                    </a:lnTo>
                    <a:lnTo>
                      <a:pt x="90" y="142"/>
                    </a:lnTo>
                    <a:lnTo>
                      <a:pt x="98" y="132"/>
                    </a:lnTo>
                    <a:lnTo>
                      <a:pt x="98" y="132"/>
                    </a:lnTo>
                    <a:lnTo>
                      <a:pt x="100" y="132"/>
                    </a:lnTo>
                    <a:lnTo>
                      <a:pt x="100" y="132"/>
                    </a:lnTo>
                    <a:lnTo>
                      <a:pt x="118" y="132"/>
                    </a:lnTo>
                    <a:lnTo>
                      <a:pt x="118" y="132"/>
                    </a:lnTo>
                    <a:lnTo>
                      <a:pt x="122" y="132"/>
                    </a:lnTo>
                    <a:lnTo>
                      <a:pt x="124" y="130"/>
                    </a:lnTo>
                    <a:lnTo>
                      <a:pt x="124" y="128"/>
                    </a:lnTo>
                    <a:lnTo>
                      <a:pt x="124" y="124"/>
                    </a:lnTo>
                    <a:lnTo>
                      <a:pt x="124" y="124"/>
                    </a:lnTo>
                    <a:lnTo>
                      <a:pt x="124" y="114"/>
                    </a:lnTo>
                    <a:lnTo>
                      <a:pt x="124" y="114"/>
                    </a:lnTo>
                    <a:lnTo>
                      <a:pt x="122" y="104"/>
                    </a:lnTo>
                    <a:lnTo>
                      <a:pt x="122"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100"/>
                    </a:lnTo>
                    <a:lnTo>
                      <a:pt x="146" y="96"/>
                    </a:lnTo>
                    <a:lnTo>
                      <a:pt x="146" y="96"/>
                    </a:lnTo>
                    <a:lnTo>
                      <a:pt x="148" y="92"/>
                    </a:lnTo>
                    <a:lnTo>
                      <a:pt x="152" y="90"/>
                    </a:lnTo>
                    <a:lnTo>
                      <a:pt x="152" y="90"/>
                    </a:lnTo>
                    <a:lnTo>
                      <a:pt x="156" y="90"/>
                    </a:lnTo>
                    <a:lnTo>
                      <a:pt x="156" y="90"/>
                    </a:lnTo>
                    <a:lnTo>
                      <a:pt x="158" y="90"/>
                    </a:lnTo>
                    <a:lnTo>
                      <a:pt x="158" y="90"/>
                    </a:lnTo>
                    <a:lnTo>
                      <a:pt x="168" y="90"/>
                    </a:lnTo>
                    <a:lnTo>
                      <a:pt x="176" y="86"/>
                    </a:lnTo>
                    <a:lnTo>
                      <a:pt x="182" y="80"/>
                    </a:lnTo>
                    <a:lnTo>
                      <a:pt x="186" y="72"/>
                    </a:lnTo>
                    <a:lnTo>
                      <a:pt x="186" y="72"/>
                    </a:lnTo>
                    <a:lnTo>
                      <a:pt x="188" y="58"/>
                    </a:lnTo>
                    <a:lnTo>
                      <a:pt x="188" y="46"/>
                    </a:lnTo>
                    <a:lnTo>
                      <a:pt x="188" y="46"/>
                    </a:lnTo>
                    <a:lnTo>
                      <a:pt x="186" y="36"/>
                    </a:lnTo>
                    <a:lnTo>
                      <a:pt x="184" y="28"/>
                    </a:lnTo>
                    <a:lnTo>
                      <a:pt x="184" y="28"/>
                    </a:lnTo>
                    <a:lnTo>
                      <a:pt x="182" y="24"/>
                    </a:lnTo>
                    <a:lnTo>
                      <a:pt x="178" y="24"/>
                    </a:lnTo>
                    <a:lnTo>
                      <a:pt x="178" y="24"/>
                    </a:lnTo>
                    <a:lnTo>
                      <a:pt x="174" y="24"/>
                    </a:lnTo>
                    <a:lnTo>
                      <a:pt x="172" y="28"/>
                    </a:lnTo>
                    <a:lnTo>
                      <a:pt x="172" y="28"/>
                    </a:lnTo>
                    <a:lnTo>
                      <a:pt x="166" y="30"/>
                    </a:lnTo>
                    <a:lnTo>
                      <a:pt x="166" y="30"/>
                    </a:lnTo>
                    <a:lnTo>
                      <a:pt x="164" y="32"/>
                    </a:lnTo>
                    <a:lnTo>
                      <a:pt x="164" y="32"/>
                    </a:lnTo>
                    <a:lnTo>
                      <a:pt x="162" y="30"/>
                    </a:lnTo>
                    <a:lnTo>
                      <a:pt x="162" y="30"/>
                    </a:lnTo>
                    <a:lnTo>
                      <a:pt x="158" y="24"/>
                    </a:lnTo>
                    <a:lnTo>
                      <a:pt x="154" y="20"/>
                    </a:lnTo>
                    <a:lnTo>
                      <a:pt x="154" y="20"/>
                    </a:lnTo>
                    <a:lnTo>
                      <a:pt x="138" y="10"/>
                    </a:lnTo>
                    <a:lnTo>
                      <a:pt x="138" y="10"/>
                    </a:lnTo>
                    <a:lnTo>
                      <a:pt x="134"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0" name="Freeform 1558"/>
              <p:cNvSpPr>
                <a:spLocks/>
              </p:cNvSpPr>
              <p:nvPr/>
            </p:nvSpPr>
            <p:spPr bwMode="auto">
              <a:xfrm>
                <a:off x="5064" y="1470"/>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2 h 26"/>
                  <a:gd name="T14" fmla="*/ 18 w 18"/>
                  <a:gd name="T15" fmla="*/ 22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12 w 18"/>
                  <a:gd name="T49" fmla="*/ 4 h 26"/>
                  <a:gd name="T50" fmla="*/ 12 w 18"/>
                  <a:gd name="T51" fmla="*/ 4 h 26"/>
                  <a:gd name="T52" fmla="*/ 14 w 18"/>
                  <a:gd name="T53" fmla="*/ 0 h 26"/>
                  <a:gd name="T54" fmla="*/ 14 w 18"/>
                  <a:gd name="T55" fmla="*/ 0 h 26"/>
                  <a:gd name="T56" fmla="*/ 14 w 18"/>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6">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8" y="26"/>
                    </a:lnTo>
                    <a:lnTo>
                      <a:pt x="8" y="26"/>
                    </a:lnTo>
                    <a:lnTo>
                      <a:pt x="2" y="26"/>
                    </a:lnTo>
                    <a:lnTo>
                      <a:pt x="2" y="26"/>
                    </a:lnTo>
                    <a:lnTo>
                      <a:pt x="0" y="26"/>
                    </a:lnTo>
                    <a:lnTo>
                      <a:pt x="0" y="26"/>
                    </a:lnTo>
                    <a:lnTo>
                      <a:pt x="0" y="26"/>
                    </a:lnTo>
                    <a:lnTo>
                      <a:pt x="0" y="26"/>
                    </a:lnTo>
                    <a:lnTo>
                      <a:pt x="0" y="26"/>
                    </a:lnTo>
                    <a:lnTo>
                      <a:pt x="0" y="26"/>
                    </a:lnTo>
                    <a:lnTo>
                      <a:pt x="12" y="4"/>
                    </a:lnTo>
                    <a:lnTo>
                      <a:pt x="12"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1" name="Freeform 1559"/>
              <p:cNvSpPr>
                <a:spLocks/>
              </p:cNvSpPr>
              <p:nvPr/>
            </p:nvSpPr>
            <p:spPr bwMode="auto">
              <a:xfrm>
                <a:off x="4966" y="1466"/>
                <a:ext cx="18" cy="22"/>
              </a:xfrm>
              <a:custGeom>
                <a:avLst/>
                <a:gdLst>
                  <a:gd name="T0" fmla="*/ 12 w 18"/>
                  <a:gd name="T1" fmla="*/ 22 h 22"/>
                  <a:gd name="T2" fmla="*/ 12 w 18"/>
                  <a:gd name="T3" fmla="*/ 22 h 22"/>
                  <a:gd name="T4" fmla="*/ 8 w 18"/>
                  <a:gd name="T5" fmla="*/ 20 h 22"/>
                  <a:gd name="T6" fmla="*/ 4 w 18"/>
                  <a:gd name="T7" fmla="*/ 16 h 22"/>
                  <a:gd name="T8" fmla="*/ 2 w 18"/>
                  <a:gd name="T9" fmla="*/ 12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6 h 22"/>
                  <a:gd name="T32" fmla="*/ 18 w 18"/>
                  <a:gd name="T33" fmla="*/ 16 h 22"/>
                  <a:gd name="T34" fmla="*/ 18 w 18"/>
                  <a:gd name="T35" fmla="*/ 20 h 22"/>
                  <a:gd name="T36" fmla="*/ 16 w 18"/>
                  <a:gd name="T37" fmla="*/ 22 h 22"/>
                  <a:gd name="T38" fmla="*/ 16 w 18"/>
                  <a:gd name="T39" fmla="*/ 22 h 22"/>
                  <a:gd name="T40" fmla="*/ 14 w 18"/>
                  <a:gd name="T41" fmla="*/ 22 h 22"/>
                  <a:gd name="T42" fmla="*/ 14 w 18"/>
                  <a:gd name="T43" fmla="*/ 22 h 22"/>
                  <a:gd name="T44" fmla="*/ 12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2" y="22"/>
                    </a:moveTo>
                    <a:lnTo>
                      <a:pt x="12" y="22"/>
                    </a:lnTo>
                    <a:lnTo>
                      <a:pt x="8" y="20"/>
                    </a:lnTo>
                    <a:lnTo>
                      <a:pt x="4" y="16"/>
                    </a:ln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6" y="22"/>
                    </a:lnTo>
                    <a:lnTo>
                      <a:pt x="16" y="22"/>
                    </a:lnTo>
                    <a:lnTo>
                      <a:pt x="14" y="22"/>
                    </a:lnTo>
                    <a:lnTo>
                      <a:pt x="14" y="22"/>
                    </a:lnTo>
                    <a:lnTo>
                      <a:pt x="12"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2" name="Freeform 1560"/>
              <p:cNvSpPr>
                <a:spLocks/>
              </p:cNvSpPr>
              <p:nvPr/>
            </p:nvSpPr>
            <p:spPr bwMode="auto">
              <a:xfrm>
                <a:off x="4962" y="1414"/>
                <a:ext cx="14" cy="20"/>
              </a:xfrm>
              <a:custGeom>
                <a:avLst/>
                <a:gdLst>
                  <a:gd name="T0" fmla="*/ 8 w 14"/>
                  <a:gd name="T1" fmla="*/ 0 h 20"/>
                  <a:gd name="T2" fmla="*/ 8 w 14"/>
                  <a:gd name="T3" fmla="*/ 0 h 20"/>
                  <a:gd name="T4" fmla="*/ 8 w 14"/>
                  <a:gd name="T5" fmla="*/ 0 h 20"/>
                  <a:gd name="T6" fmla="*/ 8 w 14"/>
                  <a:gd name="T7" fmla="*/ 0 h 20"/>
                  <a:gd name="T8" fmla="*/ 4 w 14"/>
                  <a:gd name="T9" fmla="*/ 12 h 20"/>
                  <a:gd name="T10" fmla="*/ 4 w 14"/>
                  <a:gd name="T11" fmla="*/ 12 h 20"/>
                  <a:gd name="T12" fmla="*/ 6 w 14"/>
                  <a:gd name="T13" fmla="*/ 16 h 20"/>
                  <a:gd name="T14" fmla="*/ 6 w 14"/>
                  <a:gd name="T15" fmla="*/ 16 h 20"/>
                  <a:gd name="T16" fmla="*/ 6 w 14"/>
                  <a:gd name="T17" fmla="*/ 18 h 20"/>
                  <a:gd name="T18" fmla="*/ 6 w 14"/>
                  <a:gd name="T19" fmla="*/ 18 h 20"/>
                  <a:gd name="T20" fmla="*/ 8 w 14"/>
                  <a:gd name="T21" fmla="*/ 18 h 20"/>
                  <a:gd name="T22" fmla="*/ 8 w 14"/>
                  <a:gd name="T23" fmla="*/ 18 h 20"/>
                  <a:gd name="T24" fmla="*/ 12 w 14"/>
                  <a:gd name="T25" fmla="*/ 16 h 20"/>
                  <a:gd name="T26" fmla="*/ 12 w 14"/>
                  <a:gd name="T27" fmla="*/ 16 h 20"/>
                  <a:gd name="T28" fmla="*/ 12 w 14"/>
                  <a:gd name="T29" fmla="*/ 16 h 20"/>
                  <a:gd name="T30" fmla="*/ 12 w 14"/>
                  <a:gd name="T31" fmla="*/ 16 h 20"/>
                  <a:gd name="T32" fmla="*/ 14 w 14"/>
                  <a:gd name="T33" fmla="*/ 16 h 20"/>
                  <a:gd name="T34" fmla="*/ 14 w 14"/>
                  <a:gd name="T35" fmla="*/ 16 h 20"/>
                  <a:gd name="T36" fmla="*/ 12 w 14"/>
                  <a:gd name="T37" fmla="*/ 20 h 20"/>
                  <a:gd name="T38" fmla="*/ 8 w 14"/>
                  <a:gd name="T39" fmla="*/ 20 h 20"/>
                  <a:gd name="T40" fmla="*/ 8 w 14"/>
                  <a:gd name="T41" fmla="*/ 20 h 20"/>
                  <a:gd name="T42" fmla="*/ 6 w 14"/>
                  <a:gd name="T43" fmla="*/ 20 h 20"/>
                  <a:gd name="T44" fmla="*/ 6 w 14"/>
                  <a:gd name="T45" fmla="*/ 20 h 20"/>
                  <a:gd name="T46" fmla="*/ 6 w 14"/>
                  <a:gd name="T47" fmla="*/ 20 h 20"/>
                  <a:gd name="T48" fmla="*/ 6 w 14"/>
                  <a:gd name="T49" fmla="*/ 20 h 20"/>
                  <a:gd name="T50" fmla="*/ 4 w 14"/>
                  <a:gd name="T51" fmla="*/ 18 h 20"/>
                  <a:gd name="T52" fmla="*/ 2 w 14"/>
                  <a:gd name="T53" fmla="*/ 14 h 20"/>
                  <a:gd name="T54" fmla="*/ 0 w 14"/>
                  <a:gd name="T55" fmla="*/ 10 h 20"/>
                  <a:gd name="T56" fmla="*/ 0 w 14"/>
                  <a:gd name="T57" fmla="*/ 6 h 20"/>
                  <a:gd name="T58" fmla="*/ 0 w 14"/>
                  <a:gd name="T59" fmla="*/ 6 h 20"/>
                  <a:gd name="T60" fmla="*/ 6 w 14"/>
                  <a:gd name="T61" fmla="*/ 0 h 20"/>
                  <a:gd name="T62" fmla="*/ 6 w 14"/>
                  <a:gd name="T63" fmla="*/ 0 h 20"/>
                  <a:gd name="T64" fmla="*/ 6 w 14"/>
                  <a:gd name="T65" fmla="*/ 0 h 20"/>
                  <a:gd name="T66" fmla="*/ 6 w 14"/>
                  <a:gd name="T67" fmla="*/ 0 h 20"/>
                  <a:gd name="T68" fmla="*/ 6 w 14"/>
                  <a:gd name="T69" fmla="*/ 0 h 20"/>
                  <a:gd name="T70" fmla="*/ 6 w 14"/>
                  <a:gd name="T71" fmla="*/ 0 h 20"/>
                  <a:gd name="T72" fmla="*/ 8 w 14"/>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0">
                    <a:moveTo>
                      <a:pt x="8" y="0"/>
                    </a:moveTo>
                    <a:lnTo>
                      <a:pt x="8" y="0"/>
                    </a:lnTo>
                    <a:lnTo>
                      <a:pt x="8" y="0"/>
                    </a:lnTo>
                    <a:lnTo>
                      <a:pt x="8" y="0"/>
                    </a:lnTo>
                    <a:lnTo>
                      <a:pt x="4" y="12"/>
                    </a:lnTo>
                    <a:lnTo>
                      <a:pt x="4" y="12"/>
                    </a:lnTo>
                    <a:lnTo>
                      <a:pt x="6" y="16"/>
                    </a:lnTo>
                    <a:lnTo>
                      <a:pt x="6" y="16"/>
                    </a:lnTo>
                    <a:lnTo>
                      <a:pt x="6" y="18"/>
                    </a:lnTo>
                    <a:lnTo>
                      <a:pt x="6" y="18"/>
                    </a:lnTo>
                    <a:lnTo>
                      <a:pt x="8" y="18"/>
                    </a:lnTo>
                    <a:lnTo>
                      <a:pt x="8" y="18"/>
                    </a:lnTo>
                    <a:lnTo>
                      <a:pt x="12" y="16"/>
                    </a:lnTo>
                    <a:lnTo>
                      <a:pt x="12" y="16"/>
                    </a:lnTo>
                    <a:lnTo>
                      <a:pt x="12" y="16"/>
                    </a:lnTo>
                    <a:lnTo>
                      <a:pt x="12" y="16"/>
                    </a:lnTo>
                    <a:lnTo>
                      <a:pt x="14" y="16"/>
                    </a:lnTo>
                    <a:lnTo>
                      <a:pt x="14" y="16"/>
                    </a:lnTo>
                    <a:lnTo>
                      <a:pt x="12" y="20"/>
                    </a:lnTo>
                    <a:lnTo>
                      <a:pt x="8" y="20"/>
                    </a:lnTo>
                    <a:lnTo>
                      <a:pt x="8" y="20"/>
                    </a:lnTo>
                    <a:lnTo>
                      <a:pt x="6" y="20"/>
                    </a:lnTo>
                    <a:lnTo>
                      <a:pt x="6" y="20"/>
                    </a:lnTo>
                    <a:lnTo>
                      <a:pt x="6" y="20"/>
                    </a:lnTo>
                    <a:lnTo>
                      <a:pt x="6" y="20"/>
                    </a:lnTo>
                    <a:lnTo>
                      <a:pt x="4" y="18"/>
                    </a:lnTo>
                    <a:lnTo>
                      <a:pt x="2" y="14"/>
                    </a:lnTo>
                    <a:lnTo>
                      <a:pt x="0" y="10"/>
                    </a:lnTo>
                    <a:lnTo>
                      <a:pt x="0" y="6"/>
                    </a:lnTo>
                    <a:lnTo>
                      <a:pt x="0" y="6"/>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3" name="Freeform 1561"/>
              <p:cNvSpPr>
                <a:spLocks/>
              </p:cNvSpPr>
              <p:nvPr/>
            </p:nvSpPr>
            <p:spPr bwMode="auto">
              <a:xfrm>
                <a:off x="4976" y="1368"/>
                <a:ext cx="170" cy="140"/>
              </a:xfrm>
              <a:custGeom>
                <a:avLst/>
                <a:gdLst>
                  <a:gd name="T0" fmla="*/ 74 w 170"/>
                  <a:gd name="T1" fmla="*/ 10 h 140"/>
                  <a:gd name="T2" fmla="*/ 100 w 170"/>
                  <a:gd name="T3" fmla="*/ 0 h 140"/>
                  <a:gd name="T4" fmla="*/ 128 w 170"/>
                  <a:gd name="T5" fmla="*/ 18 h 140"/>
                  <a:gd name="T6" fmla="*/ 134 w 170"/>
                  <a:gd name="T7" fmla="*/ 20 h 140"/>
                  <a:gd name="T8" fmla="*/ 134 w 170"/>
                  <a:gd name="T9" fmla="*/ 32 h 140"/>
                  <a:gd name="T10" fmla="*/ 138 w 170"/>
                  <a:gd name="T11" fmla="*/ 38 h 140"/>
                  <a:gd name="T12" fmla="*/ 144 w 170"/>
                  <a:gd name="T13" fmla="*/ 40 h 140"/>
                  <a:gd name="T14" fmla="*/ 130 w 170"/>
                  <a:gd name="T15" fmla="*/ 50 h 140"/>
                  <a:gd name="T16" fmla="*/ 138 w 170"/>
                  <a:gd name="T17" fmla="*/ 42 h 140"/>
                  <a:gd name="T18" fmla="*/ 136 w 170"/>
                  <a:gd name="T19" fmla="*/ 52 h 140"/>
                  <a:gd name="T20" fmla="*/ 142 w 170"/>
                  <a:gd name="T21" fmla="*/ 44 h 140"/>
                  <a:gd name="T22" fmla="*/ 144 w 170"/>
                  <a:gd name="T23" fmla="*/ 58 h 140"/>
                  <a:gd name="T24" fmla="*/ 146 w 170"/>
                  <a:gd name="T25" fmla="*/ 36 h 140"/>
                  <a:gd name="T26" fmla="*/ 158 w 170"/>
                  <a:gd name="T27" fmla="*/ 26 h 140"/>
                  <a:gd name="T28" fmla="*/ 164 w 170"/>
                  <a:gd name="T29" fmla="*/ 28 h 140"/>
                  <a:gd name="T30" fmla="*/ 170 w 170"/>
                  <a:gd name="T31" fmla="*/ 52 h 140"/>
                  <a:gd name="T32" fmla="*/ 164 w 170"/>
                  <a:gd name="T33" fmla="*/ 76 h 140"/>
                  <a:gd name="T34" fmla="*/ 144 w 170"/>
                  <a:gd name="T35" fmla="*/ 86 h 140"/>
                  <a:gd name="T36" fmla="*/ 116 w 170"/>
                  <a:gd name="T37" fmla="*/ 80 h 140"/>
                  <a:gd name="T38" fmla="*/ 114 w 170"/>
                  <a:gd name="T39" fmla="*/ 96 h 140"/>
                  <a:gd name="T40" fmla="*/ 120 w 170"/>
                  <a:gd name="T41" fmla="*/ 98 h 140"/>
                  <a:gd name="T42" fmla="*/ 128 w 170"/>
                  <a:gd name="T43" fmla="*/ 88 h 140"/>
                  <a:gd name="T44" fmla="*/ 130 w 170"/>
                  <a:gd name="T45" fmla="*/ 92 h 140"/>
                  <a:gd name="T46" fmla="*/ 122 w 170"/>
                  <a:gd name="T47" fmla="*/ 98 h 140"/>
                  <a:gd name="T48" fmla="*/ 110 w 170"/>
                  <a:gd name="T49" fmla="*/ 96 h 140"/>
                  <a:gd name="T50" fmla="*/ 92 w 170"/>
                  <a:gd name="T51" fmla="*/ 84 h 140"/>
                  <a:gd name="T52" fmla="*/ 100 w 170"/>
                  <a:gd name="T53" fmla="*/ 94 h 140"/>
                  <a:gd name="T54" fmla="*/ 84 w 170"/>
                  <a:gd name="T55" fmla="*/ 126 h 140"/>
                  <a:gd name="T56" fmla="*/ 72 w 170"/>
                  <a:gd name="T57" fmla="*/ 136 h 140"/>
                  <a:gd name="T58" fmla="*/ 62 w 170"/>
                  <a:gd name="T59" fmla="*/ 138 h 140"/>
                  <a:gd name="T60" fmla="*/ 52 w 170"/>
                  <a:gd name="T61" fmla="*/ 122 h 140"/>
                  <a:gd name="T62" fmla="*/ 64 w 170"/>
                  <a:gd name="T63" fmla="*/ 116 h 140"/>
                  <a:gd name="T64" fmla="*/ 60 w 170"/>
                  <a:gd name="T65" fmla="*/ 112 h 140"/>
                  <a:gd name="T66" fmla="*/ 50 w 170"/>
                  <a:gd name="T67" fmla="*/ 114 h 140"/>
                  <a:gd name="T68" fmla="*/ 38 w 170"/>
                  <a:gd name="T69" fmla="*/ 112 h 140"/>
                  <a:gd name="T70" fmla="*/ 38 w 170"/>
                  <a:gd name="T71" fmla="*/ 110 h 140"/>
                  <a:gd name="T72" fmla="*/ 36 w 170"/>
                  <a:gd name="T73" fmla="*/ 124 h 140"/>
                  <a:gd name="T74" fmla="*/ 32 w 170"/>
                  <a:gd name="T75" fmla="*/ 134 h 140"/>
                  <a:gd name="T76" fmla="*/ 28 w 170"/>
                  <a:gd name="T77" fmla="*/ 136 h 140"/>
                  <a:gd name="T78" fmla="*/ 10 w 170"/>
                  <a:gd name="T79" fmla="*/ 128 h 140"/>
                  <a:gd name="T80" fmla="*/ 12 w 170"/>
                  <a:gd name="T81" fmla="*/ 120 h 140"/>
                  <a:gd name="T82" fmla="*/ 6 w 170"/>
                  <a:gd name="T83" fmla="*/ 104 h 140"/>
                  <a:gd name="T84" fmla="*/ 0 w 170"/>
                  <a:gd name="T85" fmla="*/ 76 h 140"/>
                  <a:gd name="T86" fmla="*/ 14 w 170"/>
                  <a:gd name="T87" fmla="*/ 44 h 140"/>
                  <a:gd name="T88" fmla="*/ 40 w 170"/>
                  <a:gd name="T89" fmla="*/ 32 h 140"/>
                  <a:gd name="T90" fmla="*/ 32 w 170"/>
                  <a:gd name="T91" fmla="*/ 48 h 140"/>
                  <a:gd name="T92" fmla="*/ 26 w 170"/>
                  <a:gd name="T93" fmla="*/ 62 h 140"/>
                  <a:gd name="T94" fmla="*/ 34 w 170"/>
                  <a:gd name="T95" fmla="*/ 78 h 140"/>
                  <a:gd name="T96" fmla="*/ 34 w 170"/>
                  <a:gd name="T97" fmla="*/ 88 h 140"/>
                  <a:gd name="T98" fmla="*/ 48 w 170"/>
                  <a:gd name="T99" fmla="*/ 96 h 140"/>
                  <a:gd name="T100" fmla="*/ 58 w 170"/>
                  <a:gd name="T101" fmla="*/ 94 h 140"/>
                  <a:gd name="T102" fmla="*/ 80 w 170"/>
                  <a:gd name="T103" fmla="*/ 82 h 140"/>
                  <a:gd name="T104" fmla="*/ 80 w 170"/>
                  <a:gd name="T105" fmla="*/ 56 h 140"/>
                  <a:gd name="T106" fmla="*/ 78 w 170"/>
                  <a:gd name="T107" fmla="*/ 58 h 140"/>
                  <a:gd name="T108" fmla="*/ 76 w 170"/>
                  <a:gd name="T109" fmla="*/ 82 h 140"/>
                  <a:gd name="T110" fmla="*/ 56 w 170"/>
                  <a:gd name="T111" fmla="*/ 90 h 140"/>
                  <a:gd name="T112" fmla="*/ 42 w 170"/>
                  <a:gd name="T113" fmla="*/ 92 h 140"/>
                  <a:gd name="T114" fmla="*/ 38 w 170"/>
                  <a:gd name="T115" fmla="*/ 82 h 140"/>
                  <a:gd name="T116" fmla="*/ 44 w 170"/>
                  <a:gd name="T117" fmla="*/ 66 h 140"/>
                  <a:gd name="T118" fmla="*/ 30 w 170"/>
                  <a:gd name="T119" fmla="*/ 64 h 140"/>
                  <a:gd name="T120" fmla="*/ 32 w 170"/>
                  <a:gd name="T121" fmla="*/ 54 h 140"/>
                  <a:gd name="T122" fmla="*/ 58 w 170"/>
                  <a:gd name="T123" fmla="*/ 24 h 140"/>
                  <a:gd name="T124" fmla="*/ 72 w 170"/>
                  <a:gd name="T12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0">
                    <a:moveTo>
                      <a:pt x="68" y="18"/>
                    </a:moveTo>
                    <a:lnTo>
                      <a:pt x="68" y="18"/>
                    </a:lnTo>
                    <a:lnTo>
                      <a:pt x="70" y="14"/>
                    </a:lnTo>
                    <a:lnTo>
                      <a:pt x="74" y="10"/>
                    </a:lnTo>
                    <a:lnTo>
                      <a:pt x="82" y="6"/>
                    </a:lnTo>
                    <a:lnTo>
                      <a:pt x="82" y="6"/>
                    </a:lnTo>
                    <a:lnTo>
                      <a:pt x="100" y="0"/>
                    </a:lnTo>
                    <a:lnTo>
                      <a:pt x="100" y="0"/>
                    </a:lnTo>
                    <a:lnTo>
                      <a:pt x="106" y="2"/>
                    </a:lnTo>
                    <a:lnTo>
                      <a:pt x="114" y="4"/>
                    </a:lnTo>
                    <a:lnTo>
                      <a:pt x="114" y="4"/>
                    </a:lnTo>
                    <a:lnTo>
                      <a:pt x="128" y="18"/>
                    </a:lnTo>
                    <a:lnTo>
                      <a:pt x="128" y="18"/>
                    </a:lnTo>
                    <a:lnTo>
                      <a:pt x="130" y="18"/>
                    </a:lnTo>
                    <a:lnTo>
                      <a:pt x="130" y="18"/>
                    </a:lnTo>
                    <a:lnTo>
                      <a:pt x="134" y="20"/>
                    </a:lnTo>
                    <a:lnTo>
                      <a:pt x="138" y="22"/>
                    </a:lnTo>
                    <a:lnTo>
                      <a:pt x="142" y="30"/>
                    </a:lnTo>
                    <a:lnTo>
                      <a:pt x="142" y="30"/>
                    </a:lnTo>
                    <a:lnTo>
                      <a:pt x="134" y="32"/>
                    </a:lnTo>
                    <a:lnTo>
                      <a:pt x="134" y="32"/>
                    </a:lnTo>
                    <a:lnTo>
                      <a:pt x="136" y="36"/>
                    </a:lnTo>
                    <a:lnTo>
                      <a:pt x="138" y="38"/>
                    </a:lnTo>
                    <a:lnTo>
                      <a:pt x="138" y="38"/>
                    </a:lnTo>
                    <a:lnTo>
                      <a:pt x="142" y="38"/>
                    </a:lnTo>
                    <a:lnTo>
                      <a:pt x="142" y="38"/>
                    </a:lnTo>
                    <a:lnTo>
                      <a:pt x="144" y="40"/>
                    </a:lnTo>
                    <a:lnTo>
                      <a:pt x="144" y="40"/>
                    </a:lnTo>
                    <a:lnTo>
                      <a:pt x="134" y="44"/>
                    </a:lnTo>
                    <a:lnTo>
                      <a:pt x="132" y="46"/>
                    </a:lnTo>
                    <a:lnTo>
                      <a:pt x="130" y="50"/>
                    </a:lnTo>
                    <a:lnTo>
                      <a:pt x="130" y="50"/>
                    </a:lnTo>
                    <a:lnTo>
                      <a:pt x="132" y="46"/>
                    </a:lnTo>
                    <a:lnTo>
                      <a:pt x="132" y="46"/>
                    </a:lnTo>
                    <a:lnTo>
                      <a:pt x="138" y="42"/>
                    </a:lnTo>
                    <a:lnTo>
                      <a:pt x="138" y="42"/>
                    </a:lnTo>
                    <a:lnTo>
                      <a:pt x="136" y="52"/>
                    </a:lnTo>
                    <a:lnTo>
                      <a:pt x="136" y="52"/>
                    </a:lnTo>
                    <a:lnTo>
                      <a:pt x="136" y="52"/>
                    </a:lnTo>
                    <a:lnTo>
                      <a:pt x="136" y="52"/>
                    </a:lnTo>
                    <a:lnTo>
                      <a:pt x="140" y="46"/>
                    </a:lnTo>
                    <a:lnTo>
                      <a:pt x="140" y="46"/>
                    </a:lnTo>
                    <a:lnTo>
                      <a:pt x="142" y="44"/>
                    </a:lnTo>
                    <a:lnTo>
                      <a:pt x="142" y="44"/>
                    </a:lnTo>
                    <a:lnTo>
                      <a:pt x="144" y="46"/>
                    </a:lnTo>
                    <a:lnTo>
                      <a:pt x="144" y="46"/>
                    </a:lnTo>
                    <a:lnTo>
                      <a:pt x="144" y="58"/>
                    </a:lnTo>
                    <a:lnTo>
                      <a:pt x="144" y="58"/>
                    </a:lnTo>
                    <a:lnTo>
                      <a:pt x="146" y="48"/>
                    </a:lnTo>
                    <a:lnTo>
                      <a:pt x="146" y="38"/>
                    </a:lnTo>
                    <a:lnTo>
                      <a:pt x="146" y="38"/>
                    </a:lnTo>
                    <a:lnTo>
                      <a:pt x="146" y="36"/>
                    </a:lnTo>
                    <a:lnTo>
                      <a:pt x="148" y="34"/>
                    </a:lnTo>
                    <a:lnTo>
                      <a:pt x="148" y="34"/>
                    </a:lnTo>
                    <a:lnTo>
                      <a:pt x="154" y="32"/>
                    </a:lnTo>
                    <a:lnTo>
                      <a:pt x="158" y="26"/>
                    </a:lnTo>
                    <a:lnTo>
                      <a:pt x="158" y="26"/>
                    </a:lnTo>
                    <a:lnTo>
                      <a:pt x="162" y="24"/>
                    </a:lnTo>
                    <a:lnTo>
                      <a:pt x="162" y="24"/>
                    </a:lnTo>
                    <a:lnTo>
                      <a:pt x="164" y="28"/>
                    </a:lnTo>
                    <a:lnTo>
                      <a:pt x="164" y="28"/>
                    </a:lnTo>
                    <a:lnTo>
                      <a:pt x="168" y="38"/>
                    </a:lnTo>
                    <a:lnTo>
                      <a:pt x="168" y="38"/>
                    </a:lnTo>
                    <a:lnTo>
                      <a:pt x="170" y="52"/>
                    </a:lnTo>
                    <a:lnTo>
                      <a:pt x="170" y="60"/>
                    </a:lnTo>
                    <a:lnTo>
                      <a:pt x="168" y="66"/>
                    </a:lnTo>
                    <a:lnTo>
                      <a:pt x="168" y="66"/>
                    </a:lnTo>
                    <a:lnTo>
                      <a:pt x="164" y="76"/>
                    </a:lnTo>
                    <a:lnTo>
                      <a:pt x="158" y="82"/>
                    </a:lnTo>
                    <a:lnTo>
                      <a:pt x="150" y="84"/>
                    </a:lnTo>
                    <a:lnTo>
                      <a:pt x="144" y="86"/>
                    </a:lnTo>
                    <a:lnTo>
                      <a:pt x="144" y="86"/>
                    </a:lnTo>
                    <a:lnTo>
                      <a:pt x="136" y="84"/>
                    </a:lnTo>
                    <a:lnTo>
                      <a:pt x="136" y="84"/>
                    </a:lnTo>
                    <a:lnTo>
                      <a:pt x="126" y="82"/>
                    </a:lnTo>
                    <a:lnTo>
                      <a:pt x="116" y="80"/>
                    </a:lnTo>
                    <a:lnTo>
                      <a:pt x="116" y="80"/>
                    </a:lnTo>
                    <a:lnTo>
                      <a:pt x="114" y="92"/>
                    </a:lnTo>
                    <a:lnTo>
                      <a:pt x="114" y="92"/>
                    </a:lnTo>
                    <a:lnTo>
                      <a:pt x="114" y="96"/>
                    </a:lnTo>
                    <a:lnTo>
                      <a:pt x="116" y="96"/>
                    </a:lnTo>
                    <a:lnTo>
                      <a:pt x="116" y="96"/>
                    </a:lnTo>
                    <a:lnTo>
                      <a:pt x="120" y="98"/>
                    </a:lnTo>
                    <a:lnTo>
                      <a:pt x="120" y="98"/>
                    </a:lnTo>
                    <a:lnTo>
                      <a:pt x="122" y="96"/>
                    </a:lnTo>
                    <a:lnTo>
                      <a:pt x="122" y="96"/>
                    </a:lnTo>
                    <a:lnTo>
                      <a:pt x="126" y="92"/>
                    </a:lnTo>
                    <a:lnTo>
                      <a:pt x="128" y="88"/>
                    </a:lnTo>
                    <a:lnTo>
                      <a:pt x="128" y="88"/>
                    </a:lnTo>
                    <a:lnTo>
                      <a:pt x="130" y="88"/>
                    </a:lnTo>
                    <a:lnTo>
                      <a:pt x="130" y="88"/>
                    </a:lnTo>
                    <a:lnTo>
                      <a:pt x="130" y="92"/>
                    </a:lnTo>
                    <a:lnTo>
                      <a:pt x="128" y="94"/>
                    </a:lnTo>
                    <a:lnTo>
                      <a:pt x="124" y="98"/>
                    </a:lnTo>
                    <a:lnTo>
                      <a:pt x="122" y="98"/>
                    </a:lnTo>
                    <a:lnTo>
                      <a:pt x="122" y="98"/>
                    </a:lnTo>
                    <a:lnTo>
                      <a:pt x="118" y="100"/>
                    </a:lnTo>
                    <a:lnTo>
                      <a:pt x="118" y="100"/>
                    </a:lnTo>
                    <a:lnTo>
                      <a:pt x="114" y="98"/>
                    </a:lnTo>
                    <a:lnTo>
                      <a:pt x="110" y="96"/>
                    </a:lnTo>
                    <a:lnTo>
                      <a:pt x="110" y="96"/>
                    </a:lnTo>
                    <a:lnTo>
                      <a:pt x="102" y="90"/>
                    </a:lnTo>
                    <a:lnTo>
                      <a:pt x="92" y="84"/>
                    </a:lnTo>
                    <a:lnTo>
                      <a:pt x="92" y="84"/>
                    </a:lnTo>
                    <a:lnTo>
                      <a:pt x="98" y="90"/>
                    </a:lnTo>
                    <a:lnTo>
                      <a:pt x="98" y="90"/>
                    </a:lnTo>
                    <a:lnTo>
                      <a:pt x="100" y="94"/>
                    </a:lnTo>
                    <a:lnTo>
                      <a:pt x="100" y="94"/>
                    </a:lnTo>
                    <a:lnTo>
                      <a:pt x="94" y="110"/>
                    </a:lnTo>
                    <a:lnTo>
                      <a:pt x="90" y="118"/>
                    </a:lnTo>
                    <a:lnTo>
                      <a:pt x="84" y="126"/>
                    </a:lnTo>
                    <a:lnTo>
                      <a:pt x="84" y="126"/>
                    </a:lnTo>
                    <a:lnTo>
                      <a:pt x="74" y="134"/>
                    </a:lnTo>
                    <a:lnTo>
                      <a:pt x="74" y="134"/>
                    </a:lnTo>
                    <a:lnTo>
                      <a:pt x="72" y="136"/>
                    </a:lnTo>
                    <a:lnTo>
                      <a:pt x="72" y="136"/>
                    </a:lnTo>
                    <a:lnTo>
                      <a:pt x="68" y="140"/>
                    </a:lnTo>
                    <a:lnTo>
                      <a:pt x="64" y="140"/>
                    </a:lnTo>
                    <a:lnTo>
                      <a:pt x="64" y="140"/>
                    </a:lnTo>
                    <a:lnTo>
                      <a:pt x="62" y="138"/>
                    </a:lnTo>
                    <a:lnTo>
                      <a:pt x="62" y="138"/>
                    </a:lnTo>
                    <a:lnTo>
                      <a:pt x="54" y="126"/>
                    </a:lnTo>
                    <a:lnTo>
                      <a:pt x="54" y="126"/>
                    </a:lnTo>
                    <a:lnTo>
                      <a:pt x="52" y="122"/>
                    </a:lnTo>
                    <a:lnTo>
                      <a:pt x="56" y="120"/>
                    </a:lnTo>
                    <a:lnTo>
                      <a:pt x="56" y="120"/>
                    </a:lnTo>
                    <a:lnTo>
                      <a:pt x="64" y="116"/>
                    </a:lnTo>
                    <a:lnTo>
                      <a:pt x="64" y="116"/>
                    </a:lnTo>
                    <a:lnTo>
                      <a:pt x="64" y="106"/>
                    </a:lnTo>
                    <a:lnTo>
                      <a:pt x="64" y="106"/>
                    </a:lnTo>
                    <a:lnTo>
                      <a:pt x="62" y="110"/>
                    </a:lnTo>
                    <a:lnTo>
                      <a:pt x="60" y="112"/>
                    </a:lnTo>
                    <a:lnTo>
                      <a:pt x="54" y="114"/>
                    </a:lnTo>
                    <a:lnTo>
                      <a:pt x="54" y="114"/>
                    </a:lnTo>
                    <a:lnTo>
                      <a:pt x="50" y="114"/>
                    </a:lnTo>
                    <a:lnTo>
                      <a:pt x="50" y="114"/>
                    </a:lnTo>
                    <a:lnTo>
                      <a:pt x="46" y="114"/>
                    </a:lnTo>
                    <a:lnTo>
                      <a:pt x="46" y="114"/>
                    </a:lnTo>
                    <a:lnTo>
                      <a:pt x="40" y="112"/>
                    </a:lnTo>
                    <a:lnTo>
                      <a:pt x="38" y="112"/>
                    </a:lnTo>
                    <a:lnTo>
                      <a:pt x="38" y="108"/>
                    </a:lnTo>
                    <a:lnTo>
                      <a:pt x="38" y="108"/>
                    </a:lnTo>
                    <a:lnTo>
                      <a:pt x="38" y="110"/>
                    </a:lnTo>
                    <a:lnTo>
                      <a:pt x="38" y="110"/>
                    </a:lnTo>
                    <a:lnTo>
                      <a:pt x="38" y="112"/>
                    </a:lnTo>
                    <a:lnTo>
                      <a:pt x="38" y="112"/>
                    </a:lnTo>
                    <a:lnTo>
                      <a:pt x="38" y="120"/>
                    </a:lnTo>
                    <a:lnTo>
                      <a:pt x="36" y="124"/>
                    </a:lnTo>
                    <a:lnTo>
                      <a:pt x="34" y="128"/>
                    </a:lnTo>
                    <a:lnTo>
                      <a:pt x="34" y="128"/>
                    </a:lnTo>
                    <a:lnTo>
                      <a:pt x="32" y="130"/>
                    </a:lnTo>
                    <a:lnTo>
                      <a:pt x="32" y="134"/>
                    </a:lnTo>
                    <a:lnTo>
                      <a:pt x="32" y="134"/>
                    </a:lnTo>
                    <a:lnTo>
                      <a:pt x="30" y="136"/>
                    </a:lnTo>
                    <a:lnTo>
                      <a:pt x="28" y="136"/>
                    </a:lnTo>
                    <a:lnTo>
                      <a:pt x="28" y="136"/>
                    </a:lnTo>
                    <a:lnTo>
                      <a:pt x="12" y="134"/>
                    </a:lnTo>
                    <a:lnTo>
                      <a:pt x="12" y="134"/>
                    </a:lnTo>
                    <a:lnTo>
                      <a:pt x="10" y="132"/>
                    </a:lnTo>
                    <a:lnTo>
                      <a:pt x="10" y="128"/>
                    </a:lnTo>
                    <a:lnTo>
                      <a:pt x="10" y="128"/>
                    </a:lnTo>
                    <a:lnTo>
                      <a:pt x="10" y="124"/>
                    </a:lnTo>
                    <a:lnTo>
                      <a:pt x="12" y="120"/>
                    </a:lnTo>
                    <a:lnTo>
                      <a:pt x="12" y="120"/>
                    </a:lnTo>
                    <a:lnTo>
                      <a:pt x="12" y="116"/>
                    </a:lnTo>
                    <a:lnTo>
                      <a:pt x="10" y="112"/>
                    </a:lnTo>
                    <a:lnTo>
                      <a:pt x="10" y="112"/>
                    </a:lnTo>
                    <a:lnTo>
                      <a:pt x="6" y="104"/>
                    </a:lnTo>
                    <a:lnTo>
                      <a:pt x="2" y="94"/>
                    </a:lnTo>
                    <a:lnTo>
                      <a:pt x="0" y="86"/>
                    </a:lnTo>
                    <a:lnTo>
                      <a:pt x="0" y="76"/>
                    </a:lnTo>
                    <a:lnTo>
                      <a:pt x="0" y="76"/>
                    </a:lnTo>
                    <a:lnTo>
                      <a:pt x="0" y="66"/>
                    </a:lnTo>
                    <a:lnTo>
                      <a:pt x="4" y="58"/>
                    </a:lnTo>
                    <a:lnTo>
                      <a:pt x="8" y="50"/>
                    </a:lnTo>
                    <a:lnTo>
                      <a:pt x="14" y="44"/>
                    </a:lnTo>
                    <a:lnTo>
                      <a:pt x="14" y="44"/>
                    </a:lnTo>
                    <a:lnTo>
                      <a:pt x="26" y="36"/>
                    </a:lnTo>
                    <a:lnTo>
                      <a:pt x="40" y="32"/>
                    </a:lnTo>
                    <a:lnTo>
                      <a:pt x="40" y="32"/>
                    </a:lnTo>
                    <a:lnTo>
                      <a:pt x="44" y="32"/>
                    </a:lnTo>
                    <a:lnTo>
                      <a:pt x="44" y="32"/>
                    </a:lnTo>
                    <a:lnTo>
                      <a:pt x="32" y="48"/>
                    </a:lnTo>
                    <a:lnTo>
                      <a:pt x="32" y="48"/>
                    </a:lnTo>
                    <a:lnTo>
                      <a:pt x="28" y="52"/>
                    </a:lnTo>
                    <a:lnTo>
                      <a:pt x="26" y="58"/>
                    </a:lnTo>
                    <a:lnTo>
                      <a:pt x="26" y="58"/>
                    </a:lnTo>
                    <a:lnTo>
                      <a:pt x="26" y="62"/>
                    </a:lnTo>
                    <a:lnTo>
                      <a:pt x="26" y="66"/>
                    </a:lnTo>
                    <a:lnTo>
                      <a:pt x="30" y="72"/>
                    </a:lnTo>
                    <a:lnTo>
                      <a:pt x="30" y="72"/>
                    </a:lnTo>
                    <a:lnTo>
                      <a:pt x="34" y="78"/>
                    </a:lnTo>
                    <a:lnTo>
                      <a:pt x="34" y="80"/>
                    </a:lnTo>
                    <a:lnTo>
                      <a:pt x="34" y="84"/>
                    </a:lnTo>
                    <a:lnTo>
                      <a:pt x="34" y="84"/>
                    </a:lnTo>
                    <a:lnTo>
                      <a:pt x="34" y="88"/>
                    </a:lnTo>
                    <a:lnTo>
                      <a:pt x="34" y="88"/>
                    </a:lnTo>
                    <a:lnTo>
                      <a:pt x="40" y="94"/>
                    </a:lnTo>
                    <a:lnTo>
                      <a:pt x="44" y="96"/>
                    </a:lnTo>
                    <a:lnTo>
                      <a:pt x="48" y="96"/>
                    </a:lnTo>
                    <a:lnTo>
                      <a:pt x="48" y="96"/>
                    </a:lnTo>
                    <a:lnTo>
                      <a:pt x="52" y="96"/>
                    </a:lnTo>
                    <a:lnTo>
                      <a:pt x="58" y="94"/>
                    </a:lnTo>
                    <a:lnTo>
                      <a:pt x="58" y="94"/>
                    </a:lnTo>
                    <a:lnTo>
                      <a:pt x="66" y="88"/>
                    </a:lnTo>
                    <a:lnTo>
                      <a:pt x="76" y="86"/>
                    </a:lnTo>
                    <a:lnTo>
                      <a:pt x="76" y="86"/>
                    </a:lnTo>
                    <a:lnTo>
                      <a:pt x="80" y="82"/>
                    </a:lnTo>
                    <a:lnTo>
                      <a:pt x="80" y="82"/>
                    </a:lnTo>
                    <a:lnTo>
                      <a:pt x="82" y="76"/>
                    </a:lnTo>
                    <a:lnTo>
                      <a:pt x="82" y="70"/>
                    </a:lnTo>
                    <a:lnTo>
                      <a:pt x="80" y="56"/>
                    </a:lnTo>
                    <a:lnTo>
                      <a:pt x="80" y="56"/>
                    </a:lnTo>
                    <a:lnTo>
                      <a:pt x="78" y="40"/>
                    </a:lnTo>
                    <a:lnTo>
                      <a:pt x="78" y="40"/>
                    </a:lnTo>
                    <a:lnTo>
                      <a:pt x="78" y="58"/>
                    </a:lnTo>
                    <a:lnTo>
                      <a:pt x="78" y="58"/>
                    </a:lnTo>
                    <a:lnTo>
                      <a:pt x="78" y="78"/>
                    </a:lnTo>
                    <a:lnTo>
                      <a:pt x="78" y="78"/>
                    </a:lnTo>
                    <a:lnTo>
                      <a:pt x="76" y="82"/>
                    </a:lnTo>
                    <a:lnTo>
                      <a:pt x="72" y="84"/>
                    </a:lnTo>
                    <a:lnTo>
                      <a:pt x="72" y="84"/>
                    </a:lnTo>
                    <a:lnTo>
                      <a:pt x="64" y="86"/>
                    </a:lnTo>
                    <a:lnTo>
                      <a:pt x="56" y="90"/>
                    </a:lnTo>
                    <a:lnTo>
                      <a:pt x="56" y="90"/>
                    </a:lnTo>
                    <a:lnTo>
                      <a:pt x="48" y="92"/>
                    </a:lnTo>
                    <a:lnTo>
                      <a:pt x="48" y="92"/>
                    </a:lnTo>
                    <a:lnTo>
                      <a:pt x="42" y="92"/>
                    </a:lnTo>
                    <a:lnTo>
                      <a:pt x="38" y="88"/>
                    </a:lnTo>
                    <a:lnTo>
                      <a:pt x="38" y="88"/>
                    </a:lnTo>
                    <a:lnTo>
                      <a:pt x="36" y="84"/>
                    </a:lnTo>
                    <a:lnTo>
                      <a:pt x="38" y="82"/>
                    </a:lnTo>
                    <a:lnTo>
                      <a:pt x="38" y="82"/>
                    </a:lnTo>
                    <a:lnTo>
                      <a:pt x="40" y="74"/>
                    </a:lnTo>
                    <a:lnTo>
                      <a:pt x="40" y="74"/>
                    </a:lnTo>
                    <a:lnTo>
                      <a:pt x="44" y="66"/>
                    </a:lnTo>
                    <a:lnTo>
                      <a:pt x="44" y="66"/>
                    </a:lnTo>
                    <a:lnTo>
                      <a:pt x="38" y="74"/>
                    </a:lnTo>
                    <a:lnTo>
                      <a:pt x="38" y="74"/>
                    </a:lnTo>
                    <a:lnTo>
                      <a:pt x="30" y="64"/>
                    </a:lnTo>
                    <a:lnTo>
                      <a:pt x="30" y="64"/>
                    </a:lnTo>
                    <a:lnTo>
                      <a:pt x="28" y="60"/>
                    </a:lnTo>
                    <a:lnTo>
                      <a:pt x="28" y="60"/>
                    </a:lnTo>
                    <a:lnTo>
                      <a:pt x="32" y="54"/>
                    </a:lnTo>
                    <a:lnTo>
                      <a:pt x="36" y="46"/>
                    </a:lnTo>
                    <a:lnTo>
                      <a:pt x="36" y="46"/>
                    </a:lnTo>
                    <a:lnTo>
                      <a:pt x="58" y="24"/>
                    </a:lnTo>
                    <a:lnTo>
                      <a:pt x="58" y="24"/>
                    </a:lnTo>
                    <a:lnTo>
                      <a:pt x="60" y="20"/>
                    </a:lnTo>
                    <a:lnTo>
                      <a:pt x="64" y="20"/>
                    </a:lnTo>
                    <a:lnTo>
                      <a:pt x="72" y="18"/>
                    </a:lnTo>
                    <a:lnTo>
                      <a:pt x="72" y="18"/>
                    </a:lnTo>
                    <a:lnTo>
                      <a:pt x="74" y="18"/>
                    </a:lnTo>
                    <a:lnTo>
                      <a:pt x="74" y="18"/>
                    </a:lnTo>
                    <a:lnTo>
                      <a:pt x="68"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4" name="Freeform 1562"/>
              <p:cNvSpPr>
                <a:spLocks/>
              </p:cNvSpPr>
              <p:nvPr/>
            </p:nvSpPr>
            <p:spPr bwMode="auto">
              <a:xfrm>
                <a:off x="4960" y="1366"/>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0 h 146"/>
                  <a:gd name="T10" fmla="*/ 34 w 188"/>
                  <a:gd name="T11" fmla="*/ 40 h 146"/>
                  <a:gd name="T12" fmla="*/ 18 w 188"/>
                  <a:gd name="T13" fmla="*/ 54 h 146"/>
                  <a:gd name="T14" fmla="*/ 8 w 188"/>
                  <a:gd name="T15" fmla="*/ 62 h 146"/>
                  <a:gd name="T16" fmla="*/ 12 w 188"/>
                  <a:gd name="T17" fmla="*/ 54 h 146"/>
                  <a:gd name="T18" fmla="*/ 14 w 188"/>
                  <a:gd name="T19" fmla="*/ 48 h 146"/>
                  <a:gd name="T20" fmla="*/ 12 w 188"/>
                  <a:gd name="T21" fmla="*/ 44 h 146"/>
                  <a:gd name="T22" fmla="*/ 0 w 188"/>
                  <a:gd name="T23" fmla="*/ 56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6 h 146"/>
                  <a:gd name="T36" fmla="*/ 16 w 188"/>
                  <a:gd name="T37" fmla="*/ 124 h 146"/>
                  <a:gd name="T38" fmla="*/ 22 w 188"/>
                  <a:gd name="T39" fmla="*/ 130 h 146"/>
                  <a:gd name="T40" fmla="*/ 22 w 188"/>
                  <a:gd name="T41" fmla="*/ 138 h 146"/>
                  <a:gd name="T42" fmla="*/ 34 w 188"/>
                  <a:gd name="T43" fmla="*/ 142 h 146"/>
                  <a:gd name="T44" fmla="*/ 46 w 188"/>
                  <a:gd name="T45" fmla="*/ 142 h 146"/>
                  <a:gd name="T46" fmla="*/ 50 w 188"/>
                  <a:gd name="T47" fmla="*/ 142 h 146"/>
                  <a:gd name="T48" fmla="*/ 52 w 188"/>
                  <a:gd name="T49" fmla="*/ 130 h 146"/>
                  <a:gd name="T50" fmla="*/ 58 w 188"/>
                  <a:gd name="T51" fmla="*/ 118 h 146"/>
                  <a:gd name="T52" fmla="*/ 66 w 188"/>
                  <a:gd name="T53" fmla="*/ 124 h 146"/>
                  <a:gd name="T54" fmla="*/ 74 w 188"/>
                  <a:gd name="T55" fmla="*/ 142 h 146"/>
                  <a:gd name="T56" fmla="*/ 82 w 188"/>
                  <a:gd name="T57" fmla="*/ 146 h 146"/>
                  <a:gd name="T58" fmla="*/ 90 w 188"/>
                  <a:gd name="T59" fmla="*/ 142 h 146"/>
                  <a:gd name="T60" fmla="*/ 98 w 188"/>
                  <a:gd name="T61" fmla="*/ 132 h 146"/>
                  <a:gd name="T62" fmla="*/ 118 w 188"/>
                  <a:gd name="T63" fmla="*/ 132 h 146"/>
                  <a:gd name="T64" fmla="*/ 124 w 188"/>
                  <a:gd name="T65" fmla="*/ 130 h 146"/>
                  <a:gd name="T66" fmla="*/ 124 w 188"/>
                  <a:gd name="T67" fmla="*/ 124 h 146"/>
                  <a:gd name="T68" fmla="*/ 122 w 188"/>
                  <a:gd name="T69" fmla="*/ 104 h 146"/>
                  <a:gd name="T70" fmla="*/ 118 w 188"/>
                  <a:gd name="T71" fmla="*/ 96 h 146"/>
                  <a:gd name="T72" fmla="*/ 126 w 188"/>
                  <a:gd name="T73" fmla="*/ 100 h 146"/>
                  <a:gd name="T74" fmla="*/ 134 w 188"/>
                  <a:gd name="T75" fmla="*/ 104 h 146"/>
                  <a:gd name="T76" fmla="*/ 144 w 188"/>
                  <a:gd name="T77" fmla="*/ 100 h 146"/>
                  <a:gd name="T78" fmla="*/ 148 w 188"/>
                  <a:gd name="T79" fmla="*/ 92 h 146"/>
                  <a:gd name="T80" fmla="*/ 156 w 188"/>
                  <a:gd name="T81" fmla="*/ 90 h 146"/>
                  <a:gd name="T82" fmla="*/ 158 w 188"/>
                  <a:gd name="T83" fmla="*/ 90 h 146"/>
                  <a:gd name="T84" fmla="*/ 182 w 188"/>
                  <a:gd name="T85" fmla="*/ 80 h 146"/>
                  <a:gd name="T86" fmla="*/ 188 w 188"/>
                  <a:gd name="T87" fmla="*/ 58 h 146"/>
                  <a:gd name="T88" fmla="*/ 186 w 188"/>
                  <a:gd name="T89" fmla="*/ 36 h 146"/>
                  <a:gd name="T90" fmla="*/ 182 w 188"/>
                  <a:gd name="T91" fmla="*/ 24 h 146"/>
                  <a:gd name="T92" fmla="*/ 174 w 188"/>
                  <a:gd name="T93" fmla="*/ 24 h 146"/>
                  <a:gd name="T94" fmla="*/ 166 w 188"/>
                  <a:gd name="T95" fmla="*/ 30 h 146"/>
                  <a:gd name="T96" fmla="*/ 164 w 188"/>
                  <a:gd name="T97" fmla="*/ 32 h 146"/>
                  <a:gd name="T98" fmla="*/ 158 w 188"/>
                  <a:gd name="T99" fmla="*/ 24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2"/>
                    </a:lnTo>
                    <a:lnTo>
                      <a:pt x="92" y="6"/>
                    </a:lnTo>
                    <a:lnTo>
                      <a:pt x="86" y="12"/>
                    </a:lnTo>
                    <a:lnTo>
                      <a:pt x="86" y="12"/>
                    </a:lnTo>
                    <a:lnTo>
                      <a:pt x="80" y="18"/>
                    </a:lnTo>
                    <a:lnTo>
                      <a:pt x="76" y="20"/>
                    </a:lnTo>
                    <a:lnTo>
                      <a:pt x="74" y="20"/>
                    </a:lnTo>
                    <a:lnTo>
                      <a:pt x="74" y="20"/>
                    </a:lnTo>
                    <a:lnTo>
                      <a:pt x="70" y="22"/>
                    </a:lnTo>
                    <a:lnTo>
                      <a:pt x="70" y="22"/>
                    </a:lnTo>
                    <a:lnTo>
                      <a:pt x="62" y="28"/>
                    </a:lnTo>
                    <a:lnTo>
                      <a:pt x="54" y="30"/>
                    </a:lnTo>
                    <a:lnTo>
                      <a:pt x="54" y="30"/>
                    </a:lnTo>
                    <a:lnTo>
                      <a:pt x="42" y="34"/>
                    </a:lnTo>
                    <a:lnTo>
                      <a:pt x="34" y="40"/>
                    </a:lnTo>
                    <a:lnTo>
                      <a:pt x="26" y="46"/>
                    </a:lnTo>
                    <a:lnTo>
                      <a:pt x="18" y="54"/>
                    </a:lnTo>
                    <a:lnTo>
                      <a:pt x="18" y="54"/>
                    </a:lnTo>
                    <a:lnTo>
                      <a:pt x="12" y="62"/>
                    </a:lnTo>
                    <a:lnTo>
                      <a:pt x="12" y="62"/>
                    </a:lnTo>
                    <a:lnTo>
                      <a:pt x="8" y="62"/>
                    </a:lnTo>
                    <a:lnTo>
                      <a:pt x="8" y="62"/>
                    </a:lnTo>
                    <a:lnTo>
                      <a:pt x="12" y="54"/>
                    </a:lnTo>
                    <a:lnTo>
                      <a:pt x="12" y="54"/>
                    </a:lnTo>
                    <a:lnTo>
                      <a:pt x="14" y="54"/>
                    </a:lnTo>
                    <a:lnTo>
                      <a:pt x="14" y="54"/>
                    </a:lnTo>
                    <a:lnTo>
                      <a:pt x="14" y="48"/>
                    </a:lnTo>
                    <a:lnTo>
                      <a:pt x="14" y="48"/>
                    </a:lnTo>
                    <a:lnTo>
                      <a:pt x="12" y="44"/>
                    </a:lnTo>
                    <a:lnTo>
                      <a:pt x="12" y="44"/>
                    </a:lnTo>
                    <a:lnTo>
                      <a:pt x="4" y="48"/>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8"/>
                    </a:lnTo>
                    <a:lnTo>
                      <a:pt x="22" y="128"/>
                    </a:lnTo>
                    <a:lnTo>
                      <a:pt x="22" y="130"/>
                    </a:lnTo>
                    <a:lnTo>
                      <a:pt x="22" y="130"/>
                    </a:lnTo>
                    <a:lnTo>
                      <a:pt x="22" y="136"/>
                    </a:lnTo>
                    <a:lnTo>
                      <a:pt x="22" y="138"/>
                    </a:lnTo>
                    <a:lnTo>
                      <a:pt x="26" y="138"/>
                    </a:lnTo>
                    <a:lnTo>
                      <a:pt x="26" y="138"/>
                    </a:lnTo>
                    <a:lnTo>
                      <a:pt x="34" y="142"/>
                    </a:lnTo>
                    <a:lnTo>
                      <a:pt x="44" y="142"/>
                    </a:lnTo>
                    <a:lnTo>
                      <a:pt x="44" y="142"/>
                    </a:lnTo>
                    <a:lnTo>
                      <a:pt x="46" y="142"/>
                    </a:lnTo>
                    <a:lnTo>
                      <a:pt x="46" y="142"/>
                    </a:lnTo>
                    <a:lnTo>
                      <a:pt x="48" y="142"/>
                    </a:lnTo>
                    <a:lnTo>
                      <a:pt x="50" y="142"/>
                    </a:lnTo>
                    <a:lnTo>
                      <a:pt x="52" y="136"/>
                    </a:lnTo>
                    <a:lnTo>
                      <a:pt x="52" y="136"/>
                    </a:lnTo>
                    <a:lnTo>
                      <a:pt x="52" y="130"/>
                    </a:lnTo>
                    <a:lnTo>
                      <a:pt x="52" y="130"/>
                    </a:lnTo>
                    <a:lnTo>
                      <a:pt x="58" y="118"/>
                    </a:lnTo>
                    <a:lnTo>
                      <a:pt x="58" y="118"/>
                    </a:lnTo>
                    <a:lnTo>
                      <a:pt x="70" y="118"/>
                    </a:lnTo>
                    <a:lnTo>
                      <a:pt x="70" y="118"/>
                    </a:lnTo>
                    <a:lnTo>
                      <a:pt x="66" y="124"/>
                    </a:lnTo>
                    <a:lnTo>
                      <a:pt x="66" y="128"/>
                    </a:lnTo>
                    <a:lnTo>
                      <a:pt x="66" y="128"/>
                    </a:lnTo>
                    <a:lnTo>
                      <a:pt x="74" y="142"/>
                    </a:lnTo>
                    <a:lnTo>
                      <a:pt x="74" y="142"/>
                    </a:lnTo>
                    <a:lnTo>
                      <a:pt x="78" y="144"/>
                    </a:lnTo>
                    <a:lnTo>
                      <a:pt x="82" y="146"/>
                    </a:lnTo>
                    <a:lnTo>
                      <a:pt x="82" y="146"/>
                    </a:lnTo>
                    <a:lnTo>
                      <a:pt x="86" y="144"/>
                    </a:lnTo>
                    <a:lnTo>
                      <a:pt x="90" y="142"/>
                    </a:lnTo>
                    <a:lnTo>
                      <a:pt x="90" y="142"/>
                    </a:lnTo>
                    <a:lnTo>
                      <a:pt x="98" y="132"/>
                    </a:lnTo>
                    <a:lnTo>
                      <a:pt x="98" y="132"/>
                    </a:lnTo>
                    <a:lnTo>
                      <a:pt x="100" y="132"/>
                    </a:lnTo>
                    <a:lnTo>
                      <a:pt x="100" y="132"/>
                    </a:lnTo>
                    <a:lnTo>
                      <a:pt x="118" y="132"/>
                    </a:lnTo>
                    <a:lnTo>
                      <a:pt x="118" y="132"/>
                    </a:lnTo>
                    <a:lnTo>
                      <a:pt x="122" y="132"/>
                    </a:lnTo>
                    <a:lnTo>
                      <a:pt x="124" y="130"/>
                    </a:lnTo>
                    <a:lnTo>
                      <a:pt x="124" y="128"/>
                    </a:lnTo>
                    <a:lnTo>
                      <a:pt x="124" y="124"/>
                    </a:lnTo>
                    <a:lnTo>
                      <a:pt x="124" y="124"/>
                    </a:lnTo>
                    <a:lnTo>
                      <a:pt x="124" y="114"/>
                    </a:lnTo>
                    <a:lnTo>
                      <a:pt x="124" y="114"/>
                    </a:lnTo>
                    <a:lnTo>
                      <a:pt x="122" y="104"/>
                    </a:lnTo>
                    <a:lnTo>
                      <a:pt x="122" y="104"/>
                    </a:lnTo>
                    <a:lnTo>
                      <a:pt x="118" y="96"/>
                    </a:lnTo>
                    <a:lnTo>
                      <a:pt x="118" y="96"/>
                    </a:lnTo>
                    <a:lnTo>
                      <a:pt x="120" y="94"/>
                    </a:lnTo>
                    <a:lnTo>
                      <a:pt x="120" y="94"/>
                    </a:lnTo>
                    <a:lnTo>
                      <a:pt x="126" y="100"/>
                    </a:lnTo>
                    <a:lnTo>
                      <a:pt x="126" y="100"/>
                    </a:lnTo>
                    <a:lnTo>
                      <a:pt x="130" y="104"/>
                    </a:lnTo>
                    <a:lnTo>
                      <a:pt x="134" y="104"/>
                    </a:lnTo>
                    <a:lnTo>
                      <a:pt x="134" y="104"/>
                    </a:lnTo>
                    <a:lnTo>
                      <a:pt x="142" y="102"/>
                    </a:lnTo>
                    <a:lnTo>
                      <a:pt x="144" y="100"/>
                    </a:lnTo>
                    <a:lnTo>
                      <a:pt x="146" y="96"/>
                    </a:lnTo>
                    <a:lnTo>
                      <a:pt x="146" y="96"/>
                    </a:lnTo>
                    <a:lnTo>
                      <a:pt x="148" y="92"/>
                    </a:lnTo>
                    <a:lnTo>
                      <a:pt x="152" y="90"/>
                    </a:lnTo>
                    <a:lnTo>
                      <a:pt x="152" y="90"/>
                    </a:lnTo>
                    <a:lnTo>
                      <a:pt x="156" y="90"/>
                    </a:lnTo>
                    <a:lnTo>
                      <a:pt x="156" y="90"/>
                    </a:lnTo>
                    <a:lnTo>
                      <a:pt x="158" y="90"/>
                    </a:lnTo>
                    <a:lnTo>
                      <a:pt x="158" y="90"/>
                    </a:lnTo>
                    <a:lnTo>
                      <a:pt x="168" y="90"/>
                    </a:lnTo>
                    <a:lnTo>
                      <a:pt x="176" y="86"/>
                    </a:lnTo>
                    <a:lnTo>
                      <a:pt x="182" y="80"/>
                    </a:lnTo>
                    <a:lnTo>
                      <a:pt x="186" y="72"/>
                    </a:lnTo>
                    <a:lnTo>
                      <a:pt x="186" y="72"/>
                    </a:lnTo>
                    <a:lnTo>
                      <a:pt x="188" y="58"/>
                    </a:lnTo>
                    <a:lnTo>
                      <a:pt x="188" y="46"/>
                    </a:lnTo>
                    <a:lnTo>
                      <a:pt x="188" y="46"/>
                    </a:lnTo>
                    <a:lnTo>
                      <a:pt x="186" y="36"/>
                    </a:lnTo>
                    <a:lnTo>
                      <a:pt x="184" y="28"/>
                    </a:lnTo>
                    <a:lnTo>
                      <a:pt x="184" y="28"/>
                    </a:lnTo>
                    <a:lnTo>
                      <a:pt x="182" y="24"/>
                    </a:lnTo>
                    <a:lnTo>
                      <a:pt x="178" y="24"/>
                    </a:lnTo>
                    <a:lnTo>
                      <a:pt x="178" y="24"/>
                    </a:lnTo>
                    <a:lnTo>
                      <a:pt x="174" y="24"/>
                    </a:lnTo>
                    <a:lnTo>
                      <a:pt x="172" y="28"/>
                    </a:lnTo>
                    <a:lnTo>
                      <a:pt x="172" y="28"/>
                    </a:lnTo>
                    <a:lnTo>
                      <a:pt x="166" y="30"/>
                    </a:lnTo>
                    <a:lnTo>
                      <a:pt x="166" y="30"/>
                    </a:lnTo>
                    <a:lnTo>
                      <a:pt x="164" y="32"/>
                    </a:lnTo>
                    <a:lnTo>
                      <a:pt x="164" y="32"/>
                    </a:lnTo>
                    <a:lnTo>
                      <a:pt x="162" y="30"/>
                    </a:lnTo>
                    <a:lnTo>
                      <a:pt x="162" y="30"/>
                    </a:lnTo>
                    <a:lnTo>
                      <a:pt x="158" y="24"/>
                    </a:lnTo>
                    <a:lnTo>
                      <a:pt x="154" y="20"/>
                    </a:lnTo>
                    <a:lnTo>
                      <a:pt x="154" y="20"/>
                    </a:lnTo>
                    <a:lnTo>
                      <a:pt x="138" y="10"/>
                    </a:lnTo>
                    <a:lnTo>
                      <a:pt x="138" y="10"/>
                    </a:lnTo>
                    <a:lnTo>
                      <a:pt x="134"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5" name="Freeform 1563"/>
              <p:cNvSpPr>
                <a:spLocks/>
              </p:cNvSpPr>
              <p:nvPr/>
            </p:nvSpPr>
            <p:spPr bwMode="auto">
              <a:xfrm>
                <a:off x="4966" y="1466"/>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6" name="Freeform 1564"/>
              <p:cNvSpPr>
                <a:spLocks/>
              </p:cNvSpPr>
              <p:nvPr/>
            </p:nvSpPr>
            <p:spPr bwMode="auto">
              <a:xfrm>
                <a:off x="4966" y="1466"/>
                <a:ext cx="18" cy="22"/>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2" y="12"/>
                    </a:lnTo>
                    <a:lnTo>
                      <a:pt x="4" y="16"/>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7" name="Freeform 1565"/>
              <p:cNvSpPr>
                <a:spLocks/>
              </p:cNvSpPr>
              <p:nvPr/>
            </p:nvSpPr>
            <p:spPr bwMode="auto">
              <a:xfrm>
                <a:off x="4974" y="1466"/>
                <a:ext cx="10" cy="22"/>
              </a:xfrm>
              <a:custGeom>
                <a:avLst/>
                <a:gdLst>
                  <a:gd name="T0" fmla="*/ 0 w 10"/>
                  <a:gd name="T1" fmla="*/ 0 h 22"/>
                  <a:gd name="T2" fmla="*/ 0 w 10"/>
                  <a:gd name="T3" fmla="*/ 0 h 22"/>
                  <a:gd name="T4" fmla="*/ 0 w 10"/>
                  <a:gd name="T5" fmla="*/ 0 h 22"/>
                  <a:gd name="T6" fmla="*/ 0 w 10"/>
                  <a:gd name="T7" fmla="*/ 0 h 22"/>
                  <a:gd name="T8" fmla="*/ 10 w 10"/>
                  <a:gd name="T9" fmla="*/ 16 h 22"/>
                  <a:gd name="T10" fmla="*/ 10 w 10"/>
                  <a:gd name="T11" fmla="*/ 16 h 22"/>
                  <a:gd name="T12" fmla="*/ 10 w 10"/>
                  <a:gd name="T13" fmla="*/ 20 h 22"/>
                  <a:gd name="T14" fmla="*/ 6 w 10"/>
                  <a:gd name="T15" fmla="*/ 22 h 22"/>
                  <a:gd name="T16" fmla="*/ 6 w 10"/>
                  <a:gd name="T17" fmla="*/ 22 h 22"/>
                  <a:gd name="T18" fmla="*/ 6 w 10"/>
                  <a:gd name="T19" fmla="*/ 22 h 22"/>
                  <a:gd name="T20" fmla="*/ 6 w 10"/>
                  <a:gd name="T21" fmla="*/ 22 h 22"/>
                  <a:gd name="T22" fmla="*/ 4 w 10"/>
                  <a:gd name="T23" fmla="*/ 22 h 22"/>
                  <a:gd name="T24" fmla="*/ 4 w 10"/>
                  <a:gd name="T25" fmla="*/ 22 h 22"/>
                  <a:gd name="T26" fmla="*/ 6 w 10"/>
                  <a:gd name="T27" fmla="*/ 22 h 22"/>
                  <a:gd name="T28" fmla="*/ 6 w 10"/>
                  <a:gd name="T29" fmla="*/ 22 h 22"/>
                  <a:gd name="T30" fmla="*/ 8 w 10"/>
                  <a:gd name="T31" fmla="*/ 22 h 22"/>
                  <a:gd name="T32" fmla="*/ 8 w 10"/>
                  <a:gd name="T33" fmla="*/ 22 h 22"/>
                  <a:gd name="T34" fmla="*/ 10 w 10"/>
                  <a:gd name="T35" fmla="*/ 20 h 22"/>
                  <a:gd name="T36" fmla="*/ 10 w 10"/>
                  <a:gd name="T37" fmla="*/ 16 h 22"/>
                  <a:gd name="T38" fmla="*/ 10 w 10"/>
                  <a:gd name="T39" fmla="*/ 16 h 22"/>
                  <a:gd name="T40" fmla="*/ 0 w 10"/>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22">
                    <a:moveTo>
                      <a:pt x="0" y="0"/>
                    </a:moveTo>
                    <a:lnTo>
                      <a:pt x="0" y="0"/>
                    </a:lnTo>
                    <a:lnTo>
                      <a:pt x="0" y="0"/>
                    </a:lnTo>
                    <a:lnTo>
                      <a:pt x="0" y="0"/>
                    </a:lnTo>
                    <a:lnTo>
                      <a:pt x="10" y="16"/>
                    </a:lnTo>
                    <a:lnTo>
                      <a:pt x="10" y="16"/>
                    </a:lnTo>
                    <a:lnTo>
                      <a:pt x="10" y="20"/>
                    </a:lnTo>
                    <a:lnTo>
                      <a:pt x="6" y="22"/>
                    </a:lnTo>
                    <a:lnTo>
                      <a:pt x="6" y="22"/>
                    </a:lnTo>
                    <a:lnTo>
                      <a:pt x="6" y="22"/>
                    </a:lnTo>
                    <a:lnTo>
                      <a:pt x="6" y="22"/>
                    </a:lnTo>
                    <a:lnTo>
                      <a:pt x="4" y="22"/>
                    </a:lnTo>
                    <a:lnTo>
                      <a:pt x="4" y="22"/>
                    </a:lnTo>
                    <a:lnTo>
                      <a:pt x="6" y="22"/>
                    </a:lnTo>
                    <a:lnTo>
                      <a:pt x="6" y="22"/>
                    </a:lnTo>
                    <a:lnTo>
                      <a:pt x="8" y="22"/>
                    </a:lnTo>
                    <a:lnTo>
                      <a:pt x="8" y="22"/>
                    </a:lnTo>
                    <a:lnTo>
                      <a:pt x="10" y="20"/>
                    </a:lnTo>
                    <a:lnTo>
                      <a:pt x="10" y="16"/>
                    </a:lnTo>
                    <a:lnTo>
                      <a:pt x="10" y="16"/>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8" name="Freeform 1566"/>
              <p:cNvSpPr>
                <a:spLocks/>
              </p:cNvSpPr>
              <p:nvPr/>
            </p:nvSpPr>
            <p:spPr bwMode="auto">
              <a:xfrm>
                <a:off x="4974" y="1466"/>
                <a:ext cx="10" cy="22"/>
              </a:xfrm>
              <a:custGeom>
                <a:avLst/>
                <a:gdLst>
                  <a:gd name="T0" fmla="*/ 0 w 10"/>
                  <a:gd name="T1" fmla="*/ 0 h 22"/>
                  <a:gd name="T2" fmla="*/ 0 w 10"/>
                  <a:gd name="T3" fmla="*/ 0 h 22"/>
                  <a:gd name="T4" fmla="*/ 0 w 10"/>
                  <a:gd name="T5" fmla="*/ 0 h 22"/>
                  <a:gd name="T6" fmla="*/ 0 w 10"/>
                  <a:gd name="T7" fmla="*/ 0 h 22"/>
                  <a:gd name="T8" fmla="*/ 10 w 10"/>
                  <a:gd name="T9" fmla="*/ 16 h 22"/>
                  <a:gd name="T10" fmla="*/ 10 w 10"/>
                  <a:gd name="T11" fmla="*/ 16 h 22"/>
                  <a:gd name="T12" fmla="*/ 10 w 10"/>
                  <a:gd name="T13" fmla="*/ 20 h 22"/>
                  <a:gd name="T14" fmla="*/ 6 w 10"/>
                  <a:gd name="T15" fmla="*/ 22 h 22"/>
                  <a:gd name="T16" fmla="*/ 6 w 10"/>
                  <a:gd name="T17" fmla="*/ 22 h 22"/>
                  <a:gd name="T18" fmla="*/ 6 w 10"/>
                  <a:gd name="T19" fmla="*/ 22 h 22"/>
                  <a:gd name="T20" fmla="*/ 6 w 10"/>
                  <a:gd name="T21" fmla="*/ 22 h 22"/>
                  <a:gd name="T22" fmla="*/ 4 w 10"/>
                  <a:gd name="T23" fmla="*/ 22 h 22"/>
                  <a:gd name="T24" fmla="*/ 4 w 10"/>
                  <a:gd name="T25" fmla="*/ 22 h 22"/>
                  <a:gd name="T26" fmla="*/ 6 w 10"/>
                  <a:gd name="T27" fmla="*/ 22 h 22"/>
                  <a:gd name="T28" fmla="*/ 6 w 10"/>
                  <a:gd name="T29" fmla="*/ 22 h 22"/>
                  <a:gd name="T30" fmla="*/ 8 w 10"/>
                  <a:gd name="T31" fmla="*/ 22 h 22"/>
                  <a:gd name="T32" fmla="*/ 8 w 10"/>
                  <a:gd name="T33" fmla="*/ 22 h 22"/>
                  <a:gd name="T34" fmla="*/ 10 w 10"/>
                  <a:gd name="T35" fmla="*/ 20 h 22"/>
                  <a:gd name="T36" fmla="*/ 10 w 10"/>
                  <a:gd name="T37" fmla="*/ 16 h 22"/>
                  <a:gd name="T38" fmla="*/ 10 w 10"/>
                  <a:gd name="T39" fmla="*/ 16 h 22"/>
                  <a:gd name="T40" fmla="*/ 0 w 10"/>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22">
                    <a:moveTo>
                      <a:pt x="0" y="0"/>
                    </a:moveTo>
                    <a:lnTo>
                      <a:pt x="0" y="0"/>
                    </a:lnTo>
                    <a:lnTo>
                      <a:pt x="0" y="0"/>
                    </a:lnTo>
                    <a:lnTo>
                      <a:pt x="0" y="0"/>
                    </a:lnTo>
                    <a:lnTo>
                      <a:pt x="10" y="16"/>
                    </a:lnTo>
                    <a:lnTo>
                      <a:pt x="10" y="16"/>
                    </a:lnTo>
                    <a:lnTo>
                      <a:pt x="10" y="20"/>
                    </a:lnTo>
                    <a:lnTo>
                      <a:pt x="6" y="22"/>
                    </a:lnTo>
                    <a:lnTo>
                      <a:pt x="6" y="22"/>
                    </a:lnTo>
                    <a:lnTo>
                      <a:pt x="6" y="22"/>
                    </a:lnTo>
                    <a:lnTo>
                      <a:pt x="6" y="22"/>
                    </a:lnTo>
                    <a:lnTo>
                      <a:pt x="4" y="22"/>
                    </a:lnTo>
                    <a:lnTo>
                      <a:pt x="4" y="22"/>
                    </a:lnTo>
                    <a:lnTo>
                      <a:pt x="6" y="22"/>
                    </a:lnTo>
                    <a:lnTo>
                      <a:pt x="6" y="22"/>
                    </a:lnTo>
                    <a:lnTo>
                      <a:pt x="8" y="22"/>
                    </a:lnTo>
                    <a:lnTo>
                      <a:pt x="8" y="22"/>
                    </a:lnTo>
                    <a:lnTo>
                      <a:pt x="10" y="20"/>
                    </a:lnTo>
                    <a:lnTo>
                      <a:pt x="10" y="16"/>
                    </a:lnTo>
                    <a:lnTo>
                      <a:pt x="1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49" name="Freeform 1567"/>
              <p:cNvSpPr>
                <a:spLocks/>
              </p:cNvSpPr>
              <p:nvPr/>
            </p:nvSpPr>
            <p:spPr bwMode="auto">
              <a:xfrm>
                <a:off x="5064" y="1470"/>
                <a:ext cx="16" cy="26"/>
              </a:xfrm>
              <a:custGeom>
                <a:avLst/>
                <a:gdLst>
                  <a:gd name="T0" fmla="*/ 14 w 16"/>
                  <a:gd name="T1" fmla="*/ 0 h 26"/>
                  <a:gd name="T2" fmla="*/ 14 w 16"/>
                  <a:gd name="T3" fmla="*/ 0 h 26"/>
                  <a:gd name="T4" fmla="*/ 12 w 16"/>
                  <a:gd name="T5" fmla="*/ 4 h 26"/>
                  <a:gd name="T6" fmla="*/ 12 w 16"/>
                  <a:gd name="T7" fmla="*/ 4 h 26"/>
                  <a:gd name="T8" fmla="*/ 0 w 16"/>
                  <a:gd name="T9" fmla="*/ 26 h 26"/>
                  <a:gd name="T10" fmla="*/ 0 w 16"/>
                  <a:gd name="T11" fmla="*/ 26 h 26"/>
                  <a:gd name="T12" fmla="*/ 2 w 16"/>
                  <a:gd name="T13" fmla="*/ 26 h 26"/>
                  <a:gd name="T14" fmla="*/ 2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6 w 16"/>
                  <a:gd name="T29" fmla="*/ 26 h 26"/>
                  <a:gd name="T30" fmla="*/ 16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2" y="4"/>
                    </a:lnTo>
                    <a:lnTo>
                      <a:pt x="12" y="4"/>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0" name="Freeform 1568"/>
              <p:cNvSpPr>
                <a:spLocks/>
              </p:cNvSpPr>
              <p:nvPr/>
            </p:nvSpPr>
            <p:spPr bwMode="auto">
              <a:xfrm>
                <a:off x="5064" y="1470"/>
                <a:ext cx="16" cy="26"/>
              </a:xfrm>
              <a:custGeom>
                <a:avLst/>
                <a:gdLst>
                  <a:gd name="T0" fmla="*/ 14 w 16"/>
                  <a:gd name="T1" fmla="*/ 0 h 26"/>
                  <a:gd name="T2" fmla="*/ 14 w 16"/>
                  <a:gd name="T3" fmla="*/ 0 h 26"/>
                  <a:gd name="T4" fmla="*/ 12 w 16"/>
                  <a:gd name="T5" fmla="*/ 4 h 26"/>
                  <a:gd name="T6" fmla="*/ 12 w 16"/>
                  <a:gd name="T7" fmla="*/ 4 h 26"/>
                  <a:gd name="T8" fmla="*/ 0 w 16"/>
                  <a:gd name="T9" fmla="*/ 26 h 26"/>
                  <a:gd name="T10" fmla="*/ 0 w 16"/>
                  <a:gd name="T11" fmla="*/ 26 h 26"/>
                  <a:gd name="T12" fmla="*/ 2 w 16"/>
                  <a:gd name="T13" fmla="*/ 26 h 26"/>
                  <a:gd name="T14" fmla="*/ 2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6 w 16"/>
                  <a:gd name="T29" fmla="*/ 26 h 26"/>
                  <a:gd name="T30" fmla="*/ 16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2" y="4"/>
                    </a:lnTo>
                    <a:lnTo>
                      <a:pt x="12" y="4"/>
                    </a:lnTo>
                    <a:lnTo>
                      <a:pt x="0" y="26"/>
                    </a:lnTo>
                    <a:lnTo>
                      <a:pt x="0" y="26"/>
                    </a:lnTo>
                    <a:lnTo>
                      <a:pt x="2" y="26"/>
                    </a:lnTo>
                    <a:lnTo>
                      <a:pt x="2" y="26"/>
                    </a:lnTo>
                    <a:lnTo>
                      <a:pt x="8" y="26"/>
                    </a:lnTo>
                    <a:lnTo>
                      <a:pt x="8" y="26"/>
                    </a:lnTo>
                    <a:lnTo>
                      <a:pt x="10" y="26"/>
                    </a:lnTo>
                    <a:lnTo>
                      <a:pt x="10" y="26"/>
                    </a:lnTo>
                    <a:lnTo>
                      <a:pt x="10" y="26"/>
                    </a:lnTo>
                    <a:lnTo>
                      <a:pt x="10"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1" name="Freeform 1569"/>
              <p:cNvSpPr>
                <a:spLocks noEditPoints="1"/>
              </p:cNvSpPr>
              <p:nvPr/>
            </p:nvSpPr>
            <p:spPr bwMode="auto">
              <a:xfrm>
                <a:off x="5064" y="1470"/>
                <a:ext cx="14" cy="26"/>
              </a:xfrm>
              <a:custGeom>
                <a:avLst/>
                <a:gdLst>
                  <a:gd name="T0" fmla="*/ 8 w 14"/>
                  <a:gd name="T1" fmla="*/ 26 h 26"/>
                  <a:gd name="T2" fmla="*/ 8 w 14"/>
                  <a:gd name="T3" fmla="*/ 26 h 26"/>
                  <a:gd name="T4" fmla="*/ 10 w 14"/>
                  <a:gd name="T5" fmla="*/ 26 h 26"/>
                  <a:gd name="T6" fmla="*/ 10 w 14"/>
                  <a:gd name="T7" fmla="*/ 26 h 26"/>
                  <a:gd name="T8" fmla="*/ 8 w 14"/>
                  <a:gd name="T9" fmla="*/ 26 h 26"/>
                  <a:gd name="T10" fmla="*/ 0 w 14"/>
                  <a:gd name="T11" fmla="*/ 26 h 26"/>
                  <a:gd name="T12" fmla="*/ 0 w 14"/>
                  <a:gd name="T13" fmla="*/ 26 h 26"/>
                  <a:gd name="T14" fmla="*/ 0 w 14"/>
                  <a:gd name="T15" fmla="*/ 26 h 26"/>
                  <a:gd name="T16" fmla="*/ 0 w 14"/>
                  <a:gd name="T17" fmla="*/ 26 h 26"/>
                  <a:gd name="T18" fmla="*/ 2 w 14"/>
                  <a:gd name="T19" fmla="*/ 26 h 26"/>
                  <a:gd name="T20" fmla="*/ 2 w 14"/>
                  <a:gd name="T21" fmla="*/ 26 h 26"/>
                  <a:gd name="T22" fmla="*/ 0 w 14"/>
                  <a:gd name="T23" fmla="*/ 26 h 26"/>
                  <a:gd name="T24" fmla="*/ 14 w 14"/>
                  <a:gd name="T25" fmla="*/ 0 h 26"/>
                  <a:gd name="T26" fmla="*/ 14 w 14"/>
                  <a:gd name="T27" fmla="*/ 0 h 26"/>
                  <a:gd name="T28" fmla="*/ 12 w 14"/>
                  <a:gd name="T29" fmla="*/ 4 h 26"/>
                  <a:gd name="T30" fmla="*/ 12 w 14"/>
                  <a:gd name="T31" fmla="*/ 4 h 26"/>
                  <a:gd name="T32" fmla="*/ 14 w 14"/>
                  <a:gd name="T33" fmla="*/ 0 h 26"/>
                  <a:gd name="T34" fmla="*/ 14 w 14"/>
                  <a:gd name="T35" fmla="*/ 0 h 26"/>
                  <a:gd name="T36" fmla="*/ 14 w 14"/>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6">
                    <a:moveTo>
                      <a:pt x="8" y="26"/>
                    </a:moveTo>
                    <a:lnTo>
                      <a:pt x="8" y="26"/>
                    </a:lnTo>
                    <a:lnTo>
                      <a:pt x="10" y="26"/>
                    </a:lnTo>
                    <a:lnTo>
                      <a:pt x="10" y="26"/>
                    </a:lnTo>
                    <a:lnTo>
                      <a:pt x="8" y="26"/>
                    </a:lnTo>
                    <a:close/>
                    <a:moveTo>
                      <a:pt x="0" y="26"/>
                    </a:moveTo>
                    <a:lnTo>
                      <a:pt x="0" y="26"/>
                    </a:lnTo>
                    <a:lnTo>
                      <a:pt x="0" y="26"/>
                    </a:lnTo>
                    <a:lnTo>
                      <a:pt x="0" y="26"/>
                    </a:lnTo>
                    <a:lnTo>
                      <a:pt x="2" y="26"/>
                    </a:lnTo>
                    <a:lnTo>
                      <a:pt x="2" y="26"/>
                    </a:lnTo>
                    <a:lnTo>
                      <a:pt x="0" y="26"/>
                    </a:lnTo>
                    <a:close/>
                    <a:moveTo>
                      <a:pt x="14" y="0"/>
                    </a:moveTo>
                    <a:lnTo>
                      <a:pt x="14" y="0"/>
                    </a:lnTo>
                    <a:lnTo>
                      <a:pt x="12" y="4"/>
                    </a:lnTo>
                    <a:lnTo>
                      <a:pt x="12" y="4"/>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2" name="Rectangle 1570"/>
              <p:cNvSpPr>
                <a:spLocks noChangeArrowheads="1"/>
              </p:cNvSpPr>
              <p:nvPr/>
            </p:nvSpPr>
            <p:spPr bwMode="auto">
              <a:xfrm>
                <a:off x="5072" y="1496"/>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3" name="Freeform 1571"/>
              <p:cNvSpPr>
                <a:spLocks/>
              </p:cNvSpPr>
              <p:nvPr/>
            </p:nvSpPr>
            <p:spPr bwMode="auto">
              <a:xfrm>
                <a:off x="5064" y="1496"/>
                <a:ext cx="2"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4" name="Freeform 1572"/>
              <p:cNvSpPr>
                <a:spLocks/>
              </p:cNvSpPr>
              <p:nvPr/>
            </p:nvSpPr>
            <p:spPr bwMode="auto">
              <a:xfrm>
                <a:off x="5076" y="1470"/>
                <a:ext cx="2" cy="4"/>
              </a:xfrm>
              <a:custGeom>
                <a:avLst/>
                <a:gdLst>
                  <a:gd name="T0" fmla="*/ 2 w 2"/>
                  <a:gd name="T1" fmla="*/ 0 h 4"/>
                  <a:gd name="T2" fmla="*/ 2 w 2"/>
                  <a:gd name="T3" fmla="*/ 0 h 4"/>
                  <a:gd name="T4" fmla="*/ 0 w 2"/>
                  <a:gd name="T5" fmla="*/ 4 h 4"/>
                  <a:gd name="T6" fmla="*/ 0 w 2"/>
                  <a:gd name="T7" fmla="*/ 4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4"/>
                    </a:lnTo>
                    <a:lnTo>
                      <a:pt x="0" y="4"/>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5" name="Freeform 1573"/>
              <p:cNvSpPr>
                <a:spLocks/>
              </p:cNvSpPr>
              <p:nvPr/>
            </p:nvSpPr>
            <p:spPr bwMode="auto">
              <a:xfrm>
                <a:off x="4962" y="1414"/>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10 h 20"/>
                  <a:gd name="T14" fmla="*/ 2 w 12"/>
                  <a:gd name="T15" fmla="*/ 14 h 20"/>
                  <a:gd name="T16" fmla="*/ 4 w 12"/>
                  <a:gd name="T17" fmla="*/ 18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20 h 20"/>
                  <a:gd name="T32" fmla="*/ 12 w 12"/>
                  <a:gd name="T33" fmla="*/ 16 h 20"/>
                  <a:gd name="T34" fmla="*/ 12 w 12"/>
                  <a:gd name="T35" fmla="*/ 16 h 20"/>
                  <a:gd name="T36" fmla="*/ 10 w 12"/>
                  <a:gd name="T37" fmla="*/ 18 h 20"/>
                  <a:gd name="T38" fmla="*/ 10 w 12"/>
                  <a:gd name="T39" fmla="*/ 18 h 20"/>
                  <a:gd name="T40" fmla="*/ 6 w 12"/>
                  <a:gd name="T41" fmla="*/ 18 h 20"/>
                  <a:gd name="T42" fmla="*/ 6 w 12"/>
                  <a:gd name="T43" fmla="*/ 18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10"/>
                    </a:lnTo>
                    <a:lnTo>
                      <a:pt x="2" y="14"/>
                    </a:lnTo>
                    <a:lnTo>
                      <a:pt x="4" y="18"/>
                    </a:lnTo>
                    <a:lnTo>
                      <a:pt x="6" y="20"/>
                    </a:lnTo>
                    <a:lnTo>
                      <a:pt x="6" y="20"/>
                    </a:lnTo>
                    <a:lnTo>
                      <a:pt x="6" y="20"/>
                    </a:lnTo>
                    <a:lnTo>
                      <a:pt x="6" y="20"/>
                    </a:lnTo>
                    <a:lnTo>
                      <a:pt x="8" y="20"/>
                    </a:lnTo>
                    <a:lnTo>
                      <a:pt x="8" y="20"/>
                    </a:lnTo>
                    <a:lnTo>
                      <a:pt x="10" y="20"/>
                    </a:lnTo>
                    <a:lnTo>
                      <a:pt x="12" y="16"/>
                    </a:lnTo>
                    <a:lnTo>
                      <a:pt x="12" y="16"/>
                    </a:lnTo>
                    <a:lnTo>
                      <a:pt x="10" y="18"/>
                    </a:lnTo>
                    <a:lnTo>
                      <a:pt x="10" y="18"/>
                    </a:lnTo>
                    <a:lnTo>
                      <a:pt x="6" y="18"/>
                    </a:lnTo>
                    <a:lnTo>
                      <a:pt x="6" y="18"/>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6" name="Freeform 1574"/>
              <p:cNvSpPr>
                <a:spLocks/>
              </p:cNvSpPr>
              <p:nvPr/>
            </p:nvSpPr>
            <p:spPr bwMode="auto">
              <a:xfrm>
                <a:off x="4962" y="1414"/>
                <a:ext cx="12" cy="20"/>
              </a:xfrm>
              <a:custGeom>
                <a:avLst/>
                <a:gdLst>
                  <a:gd name="T0" fmla="*/ 8 w 12"/>
                  <a:gd name="T1" fmla="*/ 0 h 20"/>
                  <a:gd name="T2" fmla="*/ 8 w 12"/>
                  <a:gd name="T3" fmla="*/ 0 h 20"/>
                  <a:gd name="T4" fmla="*/ 6 w 12"/>
                  <a:gd name="T5" fmla="*/ 0 h 20"/>
                  <a:gd name="T6" fmla="*/ 6 w 12"/>
                  <a:gd name="T7" fmla="*/ 0 h 20"/>
                  <a:gd name="T8" fmla="*/ 2 w 12"/>
                  <a:gd name="T9" fmla="*/ 6 h 20"/>
                  <a:gd name="T10" fmla="*/ 2 w 12"/>
                  <a:gd name="T11" fmla="*/ 6 h 20"/>
                  <a:gd name="T12" fmla="*/ 0 w 12"/>
                  <a:gd name="T13" fmla="*/ 10 h 20"/>
                  <a:gd name="T14" fmla="*/ 2 w 12"/>
                  <a:gd name="T15" fmla="*/ 14 h 20"/>
                  <a:gd name="T16" fmla="*/ 4 w 12"/>
                  <a:gd name="T17" fmla="*/ 18 h 20"/>
                  <a:gd name="T18" fmla="*/ 6 w 12"/>
                  <a:gd name="T19" fmla="*/ 20 h 20"/>
                  <a:gd name="T20" fmla="*/ 6 w 12"/>
                  <a:gd name="T21" fmla="*/ 20 h 20"/>
                  <a:gd name="T22" fmla="*/ 6 w 12"/>
                  <a:gd name="T23" fmla="*/ 20 h 20"/>
                  <a:gd name="T24" fmla="*/ 6 w 12"/>
                  <a:gd name="T25" fmla="*/ 20 h 20"/>
                  <a:gd name="T26" fmla="*/ 8 w 12"/>
                  <a:gd name="T27" fmla="*/ 20 h 20"/>
                  <a:gd name="T28" fmla="*/ 8 w 12"/>
                  <a:gd name="T29" fmla="*/ 20 h 20"/>
                  <a:gd name="T30" fmla="*/ 10 w 12"/>
                  <a:gd name="T31" fmla="*/ 20 h 20"/>
                  <a:gd name="T32" fmla="*/ 12 w 12"/>
                  <a:gd name="T33" fmla="*/ 16 h 20"/>
                  <a:gd name="T34" fmla="*/ 12 w 12"/>
                  <a:gd name="T35" fmla="*/ 16 h 20"/>
                  <a:gd name="T36" fmla="*/ 10 w 12"/>
                  <a:gd name="T37" fmla="*/ 18 h 20"/>
                  <a:gd name="T38" fmla="*/ 10 w 12"/>
                  <a:gd name="T39" fmla="*/ 18 h 20"/>
                  <a:gd name="T40" fmla="*/ 6 w 12"/>
                  <a:gd name="T41" fmla="*/ 18 h 20"/>
                  <a:gd name="T42" fmla="*/ 6 w 12"/>
                  <a:gd name="T43" fmla="*/ 18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6"/>
                    </a:lnTo>
                    <a:lnTo>
                      <a:pt x="2" y="6"/>
                    </a:lnTo>
                    <a:lnTo>
                      <a:pt x="0" y="10"/>
                    </a:lnTo>
                    <a:lnTo>
                      <a:pt x="2" y="14"/>
                    </a:lnTo>
                    <a:lnTo>
                      <a:pt x="4" y="18"/>
                    </a:lnTo>
                    <a:lnTo>
                      <a:pt x="6" y="20"/>
                    </a:lnTo>
                    <a:lnTo>
                      <a:pt x="6" y="20"/>
                    </a:lnTo>
                    <a:lnTo>
                      <a:pt x="6" y="20"/>
                    </a:lnTo>
                    <a:lnTo>
                      <a:pt x="6" y="20"/>
                    </a:lnTo>
                    <a:lnTo>
                      <a:pt x="8" y="20"/>
                    </a:lnTo>
                    <a:lnTo>
                      <a:pt x="8" y="20"/>
                    </a:lnTo>
                    <a:lnTo>
                      <a:pt x="10" y="20"/>
                    </a:lnTo>
                    <a:lnTo>
                      <a:pt x="12" y="16"/>
                    </a:lnTo>
                    <a:lnTo>
                      <a:pt x="12" y="16"/>
                    </a:lnTo>
                    <a:lnTo>
                      <a:pt x="10" y="18"/>
                    </a:lnTo>
                    <a:lnTo>
                      <a:pt x="10" y="18"/>
                    </a:lnTo>
                    <a:lnTo>
                      <a:pt x="6" y="18"/>
                    </a:lnTo>
                    <a:lnTo>
                      <a:pt x="6" y="18"/>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7" name="Freeform 1575"/>
              <p:cNvSpPr>
                <a:spLocks noEditPoints="1"/>
              </p:cNvSpPr>
              <p:nvPr/>
            </p:nvSpPr>
            <p:spPr bwMode="auto">
              <a:xfrm>
                <a:off x="4966" y="1414"/>
                <a:ext cx="10" cy="20"/>
              </a:xfrm>
              <a:custGeom>
                <a:avLst/>
                <a:gdLst>
                  <a:gd name="T0" fmla="*/ 10 w 10"/>
                  <a:gd name="T1" fmla="*/ 16 h 20"/>
                  <a:gd name="T2" fmla="*/ 10 w 10"/>
                  <a:gd name="T3" fmla="*/ 16 h 20"/>
                  <a:gd name="T4" fmla="*/ 8 w 10"/>
                  <a:gd name="T5" fmla="*/ 16 h 20"/>
                  <a:gd name="T6" fmla="*/ 8 w 10"/>
                  <a:gd name="T7" fmla="*/ 16 h 20"/>
                  <a:gd name="T8" fmla="*/ 6 w 10"/>
                  <a:gd name="T9" fmla="*/ 20 h 20"/>
                  <a:gd name="T10" fmla="*/ 4 w 10"/>
                  <a:gd name="T11" fmla="*/ 20 h 20"/>
                  <a:gd name="T12" fmla="*/ 4 w 10"/>
                  <a:gd name="T13" fmla="*/ 20 h 20"/>
                  <a:gd name="T14" fmla="*/ 2 w 10"/>
                  <a:gd name="T15" fmla="*/ 20 h 20"/>
                  <a:gd name="T16" fmla="*/ 2 w 10"/>
                  <a:gd name="T17" fmla="*/ 20 h 20"/>
                  <a:gd name="T18" fmla="*/ 4 w 10"/>
                  <a:gd name="T19" fmla="*/ 20 h 20"/>
                  <a:gd name="T20" fmla="*/ 4 w 10"/>
                  <a:gd name="T21" fmla="*/ 20 h 20"/>
                  <a:gd name="T22" fmla="*/ 8 w 10"/>
                  <a:gd name="T23" fmla="*/ 20 h 20"/>
                  <a:gd name="T24" fmla="*/ 10 w 10"/>
                  <a:gd name="T25" fmla="*/ 16 h 20"/>
                  <a:gd name="T26" fmla="*/ 4 w 10"/>
                  <a:gd name="T27" fmla="*/ 0 h 20"/>
                  <a:gd name="T28" fmla="*/ 4 w 10"/>
                  <a:gd name="T29" fmla="*/ 0 h 20"/>
                  <a:gd name="T30" fmla="*/ 2 w 10"/>
                  <a:gd name="T31" fmla="*/ 0 h 20"/>
                  <a:gd name="T32" fmla="*/ 2 w 10"/>
                  <a:gd name="T33" fmla="*/ 0 h 20"/>
                  <a:gd name="T34" fmla="*/ 2 w 10"/>
                  <a:gd name="T35" fmla="*/ 0 h 20"/>
                  <a:gd name="T36" fmla="*/ 2 w 10"/>
                  <a:gd name="T37" fmla="*/ 0 h 20"/>
                  <a:gd name="T38" fmla="*/ 4 w 10"/>
                  <a:gd name="T39" fmla="*/ 0 h 20"/>
                  <a:gd name="T40" fmla="*/ 4 w 10"/>
                  <a:gd name="T41" fmla="*/ 0 h 20"/>
                  <a:gd name="T42" fmla="*/ 4 w 10"/>
                  <a:gd name="T43" fmla="*/ 0 h 20"/>
                  <a:gd name="T44" fmla="*/ 4 w 10"/>
                  <a:gd name="T45" fmla="*/ 0 h 20"/>
                  <a:gd name="T46" fmla="*/ 0 w 10"/>
                  <a:gd name="T47" fmla="*/ 12 h 20"/>
                  <a:gd name="T48" fmla="*/ 0 w 10"/>
                  <a:gd name="T49" fmla="*/ 12 h 20"/>
                  <a:gd name="T50" fmla="*/ 2 w 10"/>
                  <a:gd name="T51" fmla="*/ 16 h 20"/>
                  <a:gd name="T52" fmla="*/ 2 w 10"/>
                  <a:gd name="T53" fmla="*/ 16 h 20"/>
                  <a:gd name="T54" fmla="*/ 2 w 10"/>
                  <a:gd name="T55" fmla="*/ 18 h 20"/>
                  <a:gd name="T56" fmla="*/ 2 w 10"/>
                  <a:gd name="T57" fmla="*/ 18 h 20"/>
                  <a:gd name="T58" fmla="*/ 2 w 10"/>
                  <a:gd name="T59" fmla="*/ 16 h 20"/>
                  <a:gd name="T60" fmla="*/ 2 w 10"/>
                  <a:gd name="T61" fmla="*/ 16 h 20"/>
                  <a:gd name="T62" fmla="*/ 0 w 10"/>
                  <a:gd name="T63" fmla="*/ 12 h 20"/>
                  <a:gd name="T64" fmla="*/ 0 w 10"/>
                  <a:gd name="T65" fmla="*/ 12 h 20"/>
                  <a:gd name="T66" fmla="*/ 4 w 10"/>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20">
                    <a:moveTo>
                      <a:pt x="10" y="16"/>
                    </a:moveTo>
                    <a:lnTo>
                      <a:pt x="10" y="16"/>
                    </a:lnTo>
                    <a:lnTo>
                      <a:pt x="8" y="16"/>
                    </a:lnTo>
                    <a:lnTo>
                      <a:pt x="8" y="16"/>
                    </a:lnTo>
                    <a:lnTo>
                      <a:pt x="6" y="20"/>
                    </a:lnTo>
                    <a:lnTo>
                      <a:pt x="4" y="20"/>
                    </a:lnTo>
                    <a:lnTo>
                      <a:pt x="4" y="20"/>
                    </a:lnTo>
                    <a:lnTo>
                      <a:pt x="2" y="20"/>
                    </a:lnTo>
                    <a:lnTo>
                      <a:pt x="2" y="20"/>
                    </a:lnTo>
                    <a:lnTo>
                      <a:pt x="4" y="20"/>
                    </a:lnTo>
                    <a:lnTo>
                      <a:pt x="4" y="20"/>
                    </a:lnTo>
                    <a:lnTo>
                      <a:pt x="8" y="20"/>
                    </a:lnTo>
                    <a:lnTo>
                      <a:pt x="10" y="16"/>
                    </a:lnTo>
                    <a:close/>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8"/>
                    </a:lnTo>
                    <a:lnTo>
                      <a:pt x="2" y="18"/>
                    </a:lnTo>
                    <a:lnTo>
                      <a:pt x="2" y="16"/>
                    </a:lnTo>
                    <a:lnTo>
                      <a:pt x="2" y="16"/>
                    </a:lnTo>
                    <a:lnTo>
                      <a:pt x="0" y="12"/>
                    </a:lnTo>
                    <a:lnTo>
                      <a:pt x="0" y="12"/>
                    </a:lnTo>
                    <a:lnTo>
                      <a:pt x="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8" name="Freeform 1576"/>
              <p:cNvSpPr>
                <a:spLocks/>
              </p:cNvSpPr>
              <p:nvPr/>
            </p:nvSpPr>
            <p:spPr bwMode="auto">
              <a:xfrm>
                <a:off x="4968" y="1430"/>
                <a:ext cx="8" cy="4"/>
              </a:xfrm>
              <a:custGeom>
                <a:avLst/>
                <a:gdLst>
                  <a:gd name="T0" fmla="*/ 8 w 8"/>
                  <a:gd name="T1" fmla="*/ 0 h 4"/>
                  <a:gd name="T2" fmla="*/ 8 w 8"/>
                  <a:gd name="T3" fmla="*/ 0 h 4"/>
                  <a:gd name="T4" fmla="*/ 6 w 8"/>
                  <a:gd name="T5" fmla="*/ 0 h 4"/>
                  <a:gd name="T6" fmla="*/ 6 w 8"/>
                  <a:gd name="T7" fmla="*/ 0 h 4"/>
                  <a:gd name="T8" fmla="*/ 4 w 8"/>
                  <a:gd name="T9" fmla="*/ 4 h 4"/>
                  <a:gd name="T10" fmla="*/ 2 w 8"/>
                  <a:gd name="T11" fmla="*/ 4 h 4"/>
                  <a:gd name="T12" fmla="*/ 2 w 8"/>
                  <a:gd name="T13" fmla="*/ 4 h 4"/>
                  <a:gd name="T14" fmla="*/ 0 w 8"/>
                  <a:gd name="T15" fmla="*/ 4 h 4"/>
                  <a:gd name="T16" fmla="*/ 0 w 8"/>
                  <a:gd name="T17" fmla="*/ 4 h 4"/>
                  <a:gd name="T18" fmla="*/ 2 w 8"/>
                  <a:gd name="T19" fmla="*/ 4 h 4"/>
                  <a:gd name="T20" fmla="*/ 2 w 8"/>
                  <a:gd name="T21" fmla="*/ 4 h 4"/>
                  <a:gd name="T22" fmla="*/ 6 w 8"/>
                  <a:gd name="T23" fmla="*/ 4 h 4"/>
                  <a:gd name="T24" fmla="*/ 8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8" y="0"/>
                    </a:moveTo>
                    <a:lnTo>
                      <a:pt x="8" y="0"/>
                    </a:lnTo>
                    <a:lnTo>
                      <a:pt x="6" y="0"/>
                    </a:lnTo>
                    <a:lnTo>
                      <a:pt x="6" y="0"/>
                    </a:lnTo>
                    <a:lnTo>
                      <a:pt x="4" y="4"/>
                    </a:lnTo>
                    <a:lnTo>
                      <a:pt x="2" y="4"/>
                    </a:lnTo>
                    <a:lnTo>
                      <a:pt x="2" y="4"/>
                    </a:lnTo>
                    <a:lnTo>
                      <a:pt x="0" y="4"/>
                    </a:lnTo>
                    <a:lnTo>
                      <a:pt x="0" y="4"/>
                    </a:lnTo>
                    <a:lnTo>
                      <a:pt x="2" y="4"/>
                    </a:lnTo>
                    <a:lnTo>
                      <a:pt x="2" y="4"/>
                    </a:lnTo>
                    <a:lnTo>
                      <a:pt x="6" y="4"/>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59" name="Freeform 1577"/>
              <p:cNvSpPr>
                <a:spLocks/>
              </p:cNvSpPr>
              <p:nvPr/>
            </p:nvSpPr>
            <p:spPr bwMode="auto">
              <a:xfrm>
                <a:off x="4966" y="1414"/>
                <a:ext cx="4" cy="18"/>
              </a:xfrm>
              <a:custGeom>
                <a:avLst/>
                <a:gdLst>
                  <a:gd name="T0" fmla="*/ 4 w 4"/>
                  <a:gd name="T1" fmla="*/ 0 h 18"/>
                  <a:gd name="T2" fmla="*/ 4 w 4"/>
                  <a:gd name="T3" fmla="*/ 0 h 18"/>
                  <a:gd name="T4" fmla="*/ 2 w 4"/>
                  <a:gd name="T5" fmla="*/ 0 h 18"/>
                  <a:gd name="T6" fmla="*/ 2 w 4"/>
                  <a:gd name="T7" fmla="*/ 0 h 18"/>
                  <a:gd name="T8" fmla="*/ 2 w 4"/>
                  <a:gd name="T9" fmla="*/ 0 h 18"/>
                  <a:gd name="T10" fmla="*/ 2 w 4"/>
                  <a:gd name="T11" fmla="*/ 0 h 18"/>
                  <a:gd name="T12" fmla="*/ 4 w 4"/>
                  <a:gd name="T13" fmla="*/ 0 h 18"/>
                  <a:gd name="T14" fmla="*/ 4 w 4"/>
                  <a:gd name="T15" fmla="*/ 0 h 18"/>
                  <a:gd name="T16" fmla="*/ 4 w 4"/>
                  <a:gd name="T17" fmla="*/ 0 h 18"/>
                  <a:gd name="T18" fmla="*/ 4 w 4"/>
                  <a:gd name="T19" fmla="*/ 0 h 18"/>
                  <a:gd name="T20" fmla="*/ 0 w 4"/>
                  <a:gd name="T21" fmla="*/ 12 h 18"/>
                  <a:gd name="T22" fmla="*/ 0 w 4"/>
                  <a:gd name="T23" fmla="*/ 12 h 18"/>
                  <a:gd name="T24" fmla="*/ 2 w 4"/>
                  <a:gd name="T25" fmla="*/ 16 h 18"/>
                  <a:gd name="T26" fmla="*/ 2 w 4"/>
                  <a:gd name="T27" fmla="*/ 16 h 18"/>
                  <a:gd name="T28" fmla="*/ 2 w 4"/>
                  <a:gd name="T29" fmla="*/ 18 h 18"/>
                  <a:gd name="T30" fmla="*/ 2 w 4"/>
                  <a:gd name="T31" fmla="*/ 18 h 18"/>
                  <a:gd name="T32" fmla="*/ 2 w 4"/>
                  <a:gd name="T33" fmla="*/ 16 h 18"/>
                  <a:gd name="T34" fmla="*/ 2 w 4"/>
                  <a:gd name="T35" fmla="*/ 16 h 18"/>
                  <a:gd name="T36" fmla="*/ 0 w 4"/>
                  <a:gd name="T37" fmla="*/ 12 h 18"/>
                  <a:gd name="T38" fmla="*/ 0 w 4"/>
                  <a:gd name="T39" fmla="*/ 12 h 18"/>
                  <a:gd name="T40" fmla="*/ 4 w 4"/>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8">
                    <a:moveTo>
                      <a:pt x="4" y="0"/>
                    </a:moveTo>
                    <a:lnTo>
                      <a:pt x="4" y="0"/>
                    </a:lnTo>
                    <a:lnTo>
                      <a:pt x="2" y="0"/>
                    </a:lnTo>
                    <a:lnTo>
                      <a:pt x="2" y="0"/>
                    </a:lnTo>
                    <a:lnTo>
                      <a:pt x="2" y="0"/>
                    </a:lnTo>
                    <a:lnTo>
                      <a:pt x="2" y="0"/>
                    </a:lnTo>
                    <a:lnTo>
                      <a:pt x="4" y="0"/>
                    </a:lnTo>
                    <a:lnTo>
                      <a:pt x="4" y="0"/>
                    </a:lnTo>
                    <a:lnTo>
                      <a:pt x="4" y="0"/>
                    </a:lnTo>
                    <a:lnTo>
                      <a:pt x="4" y="0"/>
                    </a:lnTo>
                    <a:lnTo>
                      <a:pt x="0" y="12"/>
                    </a:lnTo>
                    <a:lnTo>
                      <a:pt x="0" y="12"/>
                    </a:lnTo>
                    <a:lnTo>
                      <a:pt x="2" y="16"/>
                    </a:lnTo>
                    <a:lnTo>
                      <a:pt x="2" y="16"/>
                    </a:lnTo>
                    <a:lnTo>
                      <a:pt x="2" y="18"/>
                    </a:lnTo>
                    <a:lnTo>
                      <a:pt x="2" y="18"/>
                    </a:lnTo>
                    <a:lnTo>
                      <a:pt x="2" y="16"/>
                    </a:lnTo>
                    <a:lnTo>
                      <a:pt x="2" y="16"/>
                    </a:lnTo>
                    <a:lnTo>
                      <a:pt x="0" y="12"/>
                    </a:lnTo>
                    <a:lnTo>
                      <a:pt x="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0" name="Freeform 1578"/>
              <p:cNvSpPr>
                <a:spLocks noEditPoints="1"/>
              </p:cNvSpPr>
              <p:nvPr/>
            </p:nvSpPr>
            <p:spPr bwMode="auto">
              <a:xfrm>
                <a:off x="5076" y="1404"/>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4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4"/>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1" name="Freeform 1579"/>
              <p:cNvSpPr>
                <a:spLocks/>
              </p:cNvSpPr>
              <p:nvPr/>
            </p:nvSpPr>
            <p:spPr bwMode="auto">
              <a:xfrm>
                <a:off x="5082" y="1410"/>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2" name="Freeform 1580"/>
              <p:cNvSpPr>
                <a:spLocks/>
              </p:cNvSpPr>
              <p:nvPr/>
            </p:nvSpPr>
            <p:spPr bwMode="auto">
              <a:xfrm>
                <a:off x="5076" y="1404"/>
                <a:ext cx="20" cy="14"/>
              </a:xfrm>
              <a:custGeom>
                <a:avLst/>
                <a:gdLst>
                  <a:gd name="T0" fmla="*/ 14 w 20"/>
                  <a:gd name="T1" fmla="*/ 0 h 14"/>
                  <a:gd name="T2" fmla="*/ 14 w 20"/>
                  <a:gd name="T3" fmla="*/ 0 h 14"/>
                  <a:gd name="T4" fmla="*/ 8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4"/>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3" name="Freeform 1581"/>
              <p:cNvSpPr>
                <a:spLocks/>
              </p:cNvSpPr>
              <p:nvPr/>
            </p:nvSpPr>
            <p:spPr bwMode="auto">
              <a:xfrm>
                <a:off x="5030" y="1394"/>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2 h 18"/>
                  <a:gd name="T22" fmla="*/ 10 w 22"/>
                  <a:gd name="T23" fmla="*/ 12 h 18"/>
                  <a:gd name="T24" fmla="*/ 14 w 22"/>
                  <a:gd name="T25" fmla="*/ 4 h 18"/>
                  <a:gd name="T26" fmla="*/ 18 w 22"/>
                  <a:gd name="T27" fmla="*/ 2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4" name="Freeform 1582"/>
              <p:cNvSpPr>
                <a:spLocks/>
              </p:cNvSpPr>
              <p:nvPr/>
            </p:nvSpPr>
            <p:spPr bwMode="auto">
              <a:xfrm>
                <a:off x="5030" y="1394"/>
                <a:ext cx="22" cy="18"/>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2 h 18"/>
                  <a:gd name="T22" fmla="*/ 10 w 22"/>
                  <a:gd name="T23" fmla="*/ 12 h 18"/>
                  <a:gd name="T24" fmla="*/ 14 w 22"/>
                  <a:gd name="T25" fmla="*/ 4 h 18"/>
                  <a:gd name="T26" fmla="*/ 18 w 22"/>
                  <a:gd name="T27" fmla="*/ 2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5" name="Freeform 1583"/>
              <p:cNvSpPr>
                <a:spLocks/>
              </p:cNvSpPr>
              <p:nvPr/>
            </p:nvSpPr>
            <p:spPr bwMode="auto">
              <a:xfrm>
                <a:off x="5126" y="139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6" name="Freeform 1584"/>
              <p:cNvSpPr>
                <a:spLocks/>
              </p:cNvSpPr>
              <p:nvPr/>
            </p:nvSpPr>
            <p:spPr bwMode="auto">
              <a:xfrm>
                <a:off x="5126" y="1398"/>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7" name="Freeform 1585"/>
              <p:cNvSpPr>
                <a:spLocks/>
              </p:cNvSpPr>
              <p:nvPr/>
            </p:nvSpPr>
            <p:spPr bwMode="auto">
              <a:xfrm>
                <a:off x="5072" y="1394"/>
                <a:ext cx="6" cy="8"/>
              </a:xfrm>
              <a:custGeom>
                <a:avLst/>
                <a:gdLst>
                  <a:gd name="T0" fmla="*/ 6 w 6"/>
                  <a:gd name="T1" fmla="*/ 0 h 8"/>
                  <a:gd name="T2" fmla="*/ 6 w 6"/>
                  <a:gd name="T3" fmla="*/ 0 h 8"/>
                  <a:gd name="T4" fmla="*/ 0 w 6"/>
                  <a:gd name="T5" fmla="*/ 2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2"/>
                    </a:lnTo>
                    <a:lnTo>
                      <a:pt x="0" y="4"/>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8" name="Freeform 1586"/>
              <p:cNvSpPr>
                <a:spLocks/>
              </p:cNvSpPr>
              <p:nvPr/>
            </p:nvSpPr>
            <p:spPr bwMode="auto">
              <a:xfrm>
                <a:off x="5072" y="1394"/>
                <a:ext cx="6" cy="8"/>
              </a:xfrm>
              <a:custGeom>
                <a:avLst/>
                <a:gdLst>
                  <a:gd name="T0" fmla="*/ 6 w 6"/>
                  <a:gd name="T1" fmla="*/ 0 h 8"/>
                  <a:gd name="T2" fmla="*/ 6 w 6"/>
                  <a:gd name="T3" fmla="*/ 0 h 8"/>
                  <a:gd name="T4" fmla="*/ 0 w 6"/>
                  <a:gd name="T5" fmla="*/ 2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2"/>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69" name="Freeform 1587"/>
              <p:cNvSpPr>
                <a:spLocks/>
              </p:cNvSpPr>
              <p:nvPr/>
            </p:nvSpPr>
            <p:spPr bwMode="auto">
              <a:xfrm>
                <a:off x="5086"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0" name="Freeform 1588"/>
              <p:cNvSpPr>
                <a:spLocks/>
              </p:cNvSpPr>
              <p:nvPr/>
            </p:nvSpPr>
            <p:spPr bwMode="auto">
              <a:xfrm>
                <a:off x="5086" y="1442"/>
                <a:ext cx="6" cy="6"/>
              </a:xfrm>
              <a:custGeom>
                <a:avLst/>
                <a:gdLst>
                  <a:gd name="T0" fmla="*/ 6 w 6"/>
                  <a:gd name="T1" fmla="*/ 0 h 6"/>
                  <a:gd name="T2" fmla="*/ 6 w 6"/>
                  <a:gd name="T3" fmla="*/ 0 h 6"/>
                  <a:gd name="T4" fmla="*/ 2 w 6"/>
                  <a:gd name="T5" fmla="*/ 2 h 6"/>
                  <a:gd name="T6" fmla="*/ 0 w 6"/>
                  <a:gd name="T7" fmla="*/ 6 h 6"/>
                  <a:gd name="T8" fmla="*/ 0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6" y="0"/>
                    </a:lnTo>
                    <a:lnTo>
                      <a:pt x="2" y="2"/>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1" name="Freeform 1589"/>
              <p:cNvSpPr>
                <a:spLocks/>
              </p:cNvSpPr>
              <p:nvPr/>
            </p:nvSpPr>
            <p:spPr bwMode="auto">
              <a:xfrm>
                <a:off x="5082"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2" name="Freeform 1590"/>
              <p:cNvSpPr>
                <a:spLocks/>
              </p:cNvSpPr>
              <p:nvPr/>
            </p:nvSpPr>
            <p:spPr bwMode="auto">
              <a:xfrm>
                <a:off x="5082" y="1412"/>
                <a:ext cx="6" cy="4"/>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3" name="Freeform 1591"/>
              <p:cNvSpPr>
                <a:spLocks/>
              </p:cNvSpPr>
              <p:nvPr/>
            </p:nvSpPr>
            <p:spPr bwMode="auto">
              <a:xfrm>
                <a:off x="5082"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4" name="Freeform 1592"/>
              <p:cNvSpPr>
                <a:spLocks/>
              </p:cNvSpPr>
              <p:nvPr/>
            </p:nvSpPr>
            <p:spPr bwMode="auto">
              <a:xfrm>
                <a:off x="5082" y="1410"/>
                <a:ext cx="6" cy="2"/>
              </a:xfrm>
              <a:custGeom>
                <a:avLst/>
                <a:gdLst>
                  <a:gd name="T0" fmla="*/ 2 w 6"/>
                  <a:gd name="T1" fmla="*/ 0 h 2"/>
                  <a:gd name="T2" fmla="*/ 2 w 6"/>
                  <a:gd name="T3" fmla="*/ 0 h 2"/>
                  <a:gd name="T4" fmla="*/ 0 w 6"/>
                  <a:gd name="T5" fmla="*/ 2 h 2"/>
                  <a:gd name="T6" fmla="*/ 0 w 6"/>
                  <a:gd name="T7" fmla="*/ 2 h 2"/>
                  <a:gd name="T8" fmla="*/ 2 w 6"/>
                  <a:gd name="T9" fmla="*/ 2 h 2"/>
                  <a:gd name="T10" fmla="*/ 2 w 6"/>
                  <a:gd name="T11" fmla="*/ 2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2"/>
                    </a:lnTo>
                    <a:lnTo>
                      <a:pt x="2" y="2"/>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5" name="Freeform 1593"/>
              <p:cNvSpPr>
                <a:spLocks/>
              </p:cNvSpPr>
              <p:nvPr/>
            </p:nvSpPr>
            <p:spPr bwMode="auto">
              <a:xfrm>
                <a:off x="6318" y="1368"/>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6" name="Freeform 1594"/>
              <p:cNvSpPr>
                <a:spLocks/>
              </p:cNvSpPr>
              <p:nvPr/>
            </p:nvSpPr>
            <p:spPr bwMode="auto">
              <a:xfrm>
                <a:off x="6410" y="1368"/>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7" name="Freeform 1595"/>
              <p:cNvSpPr>
                <a:spLocks/>
              </p:cNvSpPr>
              <p:nvPr/>
            </p:nvSpPr>
            <p:spPr bwMode="auto">
              <a:xfrm>
                <a:off x="6504" y="1368"/>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8" name="Freeform 1596"/>
              <p:cNvSpPr>
                <a:spLocks/>
              </p:cNvSpPr>
              <p:nvPr/>
            </p:nvSpPr>
            <p:spPr bwMode="auto">
              <a:xfrm>
                <a:off x="691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79" name="Freeform 1597"/>
              <p:cNvSpPr>
                <a:spLocks/>
              </p:cNvSpPr>
              <p:nvPr/>
            </p:nvSpPr>
            <p:spPr bwMode="auto">
              <a:xfrm>
                <a:off x="700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0" name="Freeform 1598"/>
              <p:cNvSpPr>
                <a:spLocks/>
              </p:cNvSpPr>
              <p:nvPr/>
            </p:nvSpPr>
            <p:spPr bwMode="auto">
              <a:xfrm>
                <a:off x="7098"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1" name="Freeform 1599"/>
              <p:cNvSpPr>
                <a:spLocks/>
              </p:cNvSpPr>
              <p:nvPr/>
            </p:nvSpPr>
            <p:spPr bwMode="auto">
              <a:xfrm>
                <a:off x="718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2" name="Freeform 1600"/>
              <p:cNvSpPr>
                <a:spLocks/>
              </p:cNvSpPr>
              <p:nvPr/>
            </p:nvSpPr>
            <p:spPr bwMode="auto">
              <a:xfrm>
                <a:off x="742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3" name="Freeform 1601"/>
              <p:cNvSpPr>
                <a:spLocks/>
              </p:cNvSpPr>
              <p:nvPr/>
            </p:nvSpPr>
            <p:spPr bwMode="auto">
              <a:xfrm>
                <a:off x="751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4" name="Freeform 1602"/>
              <p:cNvSpPr>
                <a:spLocks/>
              </p:cNvSpPr>
              <p:nvPr/>
            </p:nvSpPr>
            <p:spPr bwMode="auto">
              <a:xfrm>
                <a:off x="7280"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5" name="Freeform 1603"/>
              <p:cNvSpPr>
                <a:spLocks/>
              </p:cNvSpPr>
              <p:nvPr/>
            </p:nvSpPr>
            <p:spPr bwMode="auto">
              <a:xfrm>
                <a:off x="7280"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6" name="Freeform 1604"/>
              <p:cNvSpPr>
                <a:spLocks/>
              </p:cNvSpPr>
              <p:nvPr/>
            </p:nvSpPr>
            <p:spPr bwMode="auto">
              <a:xfrm>
                <a:off x="7340" y="1162"/>
                <a:ext cx="48" cy="144"/>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7" name="Freeform 1605"/>
              <p:cNvSpPr>
                <a:spLocks/>
              </p:cNvSpPr>
              <p:nvPr/>
            </p:nvSpPr>
            <p:spPr bwMode="auto">
              <a:xfrm>
                <a:off x="7340" y="1162"/>
                <a:ext cx="48" cy="144"/>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8" name="Freeform 1606"/>
              <p:cNvSpPr>
                <a:spLocks noEditPoints="1"/>
              </p:cNvSpPr>
              <p:nvPr/>
            </p:nvSpPr>
            <p:spPr bwMode="auto">
              <a:xfrm>
                <a:off x="6138" y="1158"/>
                <a:ext cx="100" cy="148"/>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89" name="Freeform 1607"/>
              <p:cNvSpPr>
                <a:spLocks noEditPoints="1"/>
              </p:cNvSpPr>
              <p:nvPr/>
            </p:nvSpPr>
            <p:spPr bwMode="auto">
              <a:xfrm>
                <a:off x="6276" y="1158"/>
                <a:ext cx="98" cy="148"/>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0" name="Freeform 1608"/>
              <p:cNvSpPr>
                <a:spLocks noEditPoints="1"/>
              </p:cNvSpPr>
              <p:nvPr/>
            </p:nvSpPr>
            <p:spPr bwMode="auto">
              <a:xfrm>
                <a:off x="6686" y="1178"/>
                <a:ext cx="100" cy="148"/>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1" name="Freeform 1609"/>
              <p:cNvSpPr>
                <a:spLocks/>
              </p:cNvSpPr>
              <p:nvPr/>
            </p:nvSpPr>
            <p:spPr bwMode="auto">
              <a:xfrm>
                <a:off x="6824"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2" name="Freeform 1610"/>
              <p:cNvSpPr>
                <a:spLocks/>
              </p:cNvSpPr>
              <p:nvPr/>
            </p:nvSpPr>
            <p:spPr bwMode="auto">
              <a:xfrm>
                <a:off x="6414"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593" name="Freeform 1611"/>
              <p:cNvSpPr>
                <a:spLocks/>
              </p:cNvSpPr>
              <p:nvPr/>
            </p:nvSpPr>
            <p:spPr bwMode="auto">
              <a:xfrm>
                <a:off x="6506"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1" name="Group 1813"/>
            <p:cNvGrpSpPr>
              <a:grpSpLocks/>
            </p:cNvGrpSpPr>
            <p:nvPr/>
          </p:nvGrpSpPr>
          <p:grpSpPr bwMode="auto">
            <a:xfrm>
              <a:off x="6603977" y="917575"/>
              <a:ext cx="5400656" cy="838200"/>
              <a:chOff x="4160" y="778"/>
              <a:chExt cx="3402" cy="528"/>
            </a:xfrm>
          </p:grpSpPr>
          <p:sp>
            <p:nvSpPr>
              <p:cNvPr id="1194" name="Freeform 1613"/>
              <p:cNvSpPr>
                <a:spLocks/>
              </p:cNvSpPr>
              <p:nvPr/>
            </p:nvSpPr>
            <p:spPr bwMode="auto">
              <a:xfrm>
                <a:off x="6598"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5" name="Freeform 1614"/>
              <p:cNvSpPr>
                <a:spLocks/>
              </p:cNvSpPr>
              <p:nvPr/>
            </p:nvSpPr>
            <p:spPr bwMode="auto">
              <a:xfrm>
                <a:off x="416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6" name="Freeform 1615"/>
              <p:cNvSpPr>
                <a:spLocks/>
              </p:cNvSpPr>
              <p:nvPr/>
            </p:nvSpPr>
            <p:spPr bwMode="auto">
              <a:xfrm>
                <a:off x="4252"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7" name="Freeform 1616"/>
              <p:cNvSpPr>
                <a:spLocks/>
              </p:cNvSpPr>
              <p:nvPr/>
            </p:nvSpPr>
            <p:spPr bwMode="auto">
              <a:xfrm>
                <a:off x="4344"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8" name="Freeform 1617"/>
              <p:cNvSpPr>
                <a:spLocks/>
              </p:cNvSpPr>
              <p:nvPr/>
            </p:nvSpPr>
            <p:spPr bwMode="auto">
              <a:xfrm>
                <a:off x="4662"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9" name="Freeform 1618"/>
              <p:cNvSpPr>
                <a:spLocks/>
              </p:cNvSpPr>
              <p:nvPr/>
            </p:nvSpPr>
            <p:spPr bwMode="auto">
              <a:xfrm>
                <a:off x="4662" y="1162"/>
                <a:ext cx="46" cy="144"/>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0" name="Freeform 1619"/>
              <p:cNvSpPr>
                <a:spLocks/>
              </p:cNvSpPr>
              <p:nvPr/>
            </p:nvSpPr>
            <p:spPr bwMode="auto">
              <a:xfrm>
                <a:off x="4722" y="1162"/>
                <a:ext cx="46" cy="144"/>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1" name="Freeform 1620"/>
              <p:cNvSpPr>
                <a:spLocks/>
              </p:cNvSpPr>
              <p:nvPr/>
            </p:nvSpPr>
            <p:spPr bwMode="auto">
              <a:xfrm>
                <a:off x="4722" y="1162"/>
                <a:ext cx="46" cy="144"/>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2" name="Freeform 1621"/>
              <p:cNvSpPr>
                <a:spLocks/>
              </p:cNvSpPr>
              <p:nvPr/>
            </p:nvSpPr>
            <p:spPr bwMode="auto">
              <a:xfrm>
                <a:off x="480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3" name="Freeform 1622"/>
              <p:cNvSpPr>
                <a:spLocks/>
              </p:cNvSpPr>
              <p:nvPr/>
            </p:nvSpPr>
            <p:spPr bwMode="auto">
              <a:xfrm>
                <a:off x="4900"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4" name="Freeform 1623"/>
              <p:cNvSpPr>
                <a:spLocks/>
              </p:cNvSpPr>
              <p:nvPr/>
            </p:nvSpPr>
            <p:spPr bwMode="auto">
              <a:xfrm>
                <a:off x="4990"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5" name="Freeform 1624"/>
              <p:cNvSpPr>
                <a:spLocks noEditPoints="1"/>
              </p:cNvSpPr>
              <p:nvPr/>
            </p:nvSpPr>
            <p:spPr bwMode="auto">
              <a:xfrm>
                <a:off x="4434" y="1160"/>
                <a:ext cx="188" cy="144"/>
              </a:xfrm>
              <a:custGeom>
                <a:avLst/>
                <a:gdLst>
                  <a:gd name="T0" fmla="*/ 120 w 188"/>
                  <a:gd name="T1" fmla="*/ 126 h 144"/>
                  <a:gd name="T2" fmla="*/ 110 w 188"/>
                  <a:gd name="T3" fmla="*/ 114 h 144"/>
                  <a:gd name="T4" fmla="*/ 6 w 188"/>
                  <a:gd name="T5" fmla="*/ 112 h 144"/>
                  <a:gd name="T6" fmla="*/ 14 w 188"/>
                  <a:gd name="T7" fmla="*/ 100 h 144"/>
                  <a:gd name="T8" fmla="*/ 20 w 188"/>
                  <a:gd name="T9" fmla="*/ 122 h 144"/>
                  <a:gd name="T10" fmla="*/ 6 w 188"/>
                  <a:gd name="T11" fmla="*/ 60 h 144"/>
                  <a:gd name="T12" fmla="*/ 12 w 188"/>
                  <a:gd name="T13" fmla="*/ 68 h 144"/>
                  <a:gd name="T14" fmla="*/ 2 w 188"/>
                  <a:gd name="T15" fmla="*/ 58 h 144"/>
                  <a:gd name="T16" fmla="*/ 8 w 188"/>
                  <a:gd name="T17" fmla="*/ 48 h 144"/>
                  <a:gd name="T18" fmla="*/ 114 w 188"/>
                  <a:gd name="T19" fmla="*/ 4 h 144"/>
                  <a:gd name="T20" fmla="*/ 146 w 188"/>
                  <a:gd name="T21" fmla="*/ 22 h 144"/>
                  <a:gd name="T22" fmla="*/ 154 w 188"/>
                  <a:gd name="T23" fmla="*/ 40 h 144"/>
                  <a:gd name="T24" fmla="*/ 146 w 188"/>
                  <a:gd name="T25" fmla="*/ 52 h 144"/>
                  <a:gd name="T26" fmla="*/ 150 w 188"/>
                  <a:gd name="T27" fmla="*/ 56 h 144"/>
                  <a:gd name="T28" fmla="*/ 158 w 188"/>
                  <a:gd name="T29" fmla="*/ 60 h 144"/>
                  <a:gd name="T30" fmla="*/ 168 w 188"/>
                  <a:gd name="T31" fmla="*/ 34 h 144"/>
                  <a:gd name="T32" fmla="*/ 184 w 188"/>
                  <a:gd name="T33" fmla="*/ 40 h 144"/>
                  <a:gd name="T34" fmla="*/ 158 w 188"/>
                  <a:gd name="T35" fmla="*/ 88 h 144"/>
                  <a:gd name="T36" fmla="*/ 130 w 188"/>
                  <a:gd name="T37" fmla="*/ 94 h 144"/>
                  <a:gd name="T38" fmla="*/ 140 w 188"/>
                  <a:gd name="T39" fmla="*/ 94 h 144"/>
                  <a:gd name="T40" fmla="*/ 136 w 188"/>
                  <a:gd name="T41" fmla="*/ 100 h 144"/>
                  <a:gd name="T42" fmla="*/ 106 w 188"/>
                  <a:gd name="T43" fmla="*/ 86 h 144"/>
                  <a:gd name="T44" fmla="*/ 100 w 188"/>
                  <a:gd name="T45" fmla="*/ 126 h 144"/>
                  <a:gd name="T46" fmla="*/ 80 w 188"/>
                  <a:gd name="T47" fmla="*/ 142 h 144"/>
                  <a:gd name="T48" fmla="*/ 78 w 188"/>
                  <a:gd name="T49" fmla="*/ 118 h 144"/>
                  <a:gd name="T50" fmla="*/ 66 w 188"/>
                  <a:gd name="T51" fmla="*/ 116 h 144"/>
                  <a:gd name="T52" fmla="*/ 52 w 188"/>
                  <a:gd name="T53" fmla="*/ 112 h 144"/>
                  <a:gd name="T54" fmla="*/ 46 w 188"/>
                  <a:gd name="T55" fmla="*/ 136 h 144"/>
                  <a:gd name="T56" fmla="*/ 24 w 188"/>
                  <a:gd name="T57" fmla="*/ 130 h 144"/>
                  <a:gd name="T58" fmla="*/ 20 w 188"/>
                  <a:gd name="T59" fmla="*/ 106 h 144"/>
                  <a:gd name="T60" fmla="*/ 30 w 188"/>
                  <a:gd name="T61" fmla="*/ 46 h 144"/>
                  <a:gd name="T62" fmla="*/ 46 w 188"/>
                  <a:gd name="T63" fmla="*/ 50 h 144"/>
                  <a:gd name="T64" fmla="*/ 48 w 188"/>
                  <a:gd name="T65" fmla="*/ 80 h 144"/>
                  <a:gd name="T66" fmla="*/ 62 w 188"/>
                  <a:gd name="T67" fmla="*/ 98 h 144"/>
                  <a:gd name="T68" fmla="*/ 94 w 188"/>
                  <a:gd name="T69" fmla="*/ 84 h 144"/>
                  <a:gd name="T70" fmla="*/ 92 w 188"/>
                  <a:gd name="T71" fmla="*/ 60 h 144"/>
                  <a:gd name="T72" fmla="*/ 72 w 188"/>
                  <a:gd name="T73" fmla="*/ 92 h 144"/>
                  <a:gd name="T74" fmla="*/ 52 w 188"/>
                  <a:gd name="T75" fmla="*/ 84 h 144"/>
                  <a:gd name="T76" fmla="*/ 44 w 188"/>
                  <a:gd name="T77" fmla="*/ 66 h 144"/>
                  <a:gd name="T78" fmla="*/ 76 w 188"/>
                  <a:gd name="T79" fmla="*/ 24 h 144"/>
                  <a:gd name="T80" fmla="*/ 112 w 188"/>
                  <a:gd name="T81" fmla="*/ 0 h 144"/>
                  <a:gd name="T82" fmla="*/ 72 w 188"/>
                  <a:gd name="T83" fmla="*/ 22 h 144"/>
                  <a:gd name="T84" fmla="*/ 32 w 188"/>
                  <a:gd name="T85" fmla="*/ 40 h 144"/>
                  <a:gd name="T86" fmla="*/ 10 w 188"/>
                  <a:gd name="T87" fmla="*/ 54 h 144"/>
                  <a:gd name="T88" fmla="*/ 2 w 188"/>
                  <a:gd name="T89" fmla="*/ 50 h 144"/>
                  <a:gd name="T90" fmla="*/ 12 w 188"/>
                  <a:gd name="T91" fmla="*/ 72 h 144"/>
                  <a:gd name="T92" fmla="*/ 4 w 188"/>
                  <a:gd name="T93" fmla="*/ 102 h 144"/>
                  <a:gd name="T94" fmla="*/ 22 w 188"/>
                  <a:gd name="T95" fmla="*/ 126 h 144"/>
                  <a:gd name="T96" fmla="*/ 34 w 188"/>
                  <a:gd name="T97" fmla="*/ 140 h 144"/>
                  <a:gd name="T98" fmla="*/ 50 w 188"/>
                  <a:gd name="T99" fmla="*/ 134 h 144"/>
                  <a:gd name="T100" fmla="*/ 64 w 188"/>
                  <a:gd name="T101" fmla="*/ 128 h 144"/>
                  <a:gd name="T102" fmla="*/ 88 w 188"/>
                  <a:gd name="T103" fmla="*/ 140 h 144"/>
                  <a:gd name="T104" fmla="*/ 120 w 188"/>
                  <a:gd name="T105" fmla="*/ 132 h 144"/>
                  <a:gd name="T106" fmla="*/ 120 w 188"/>
                  <a:gd name="T107" fmla="*/ 104 h 144"/>
                  <a:gd name="T108" fmla="*/ 134 w 188"/>
                  <a:gd name="T109" fmla="*/ 104 h 144"/>
                  <a:gd name="T110" fmla="*/ 152 w 188"/>
                  <a:gd name="T111" fmla="*/ 90 h 144"/>
                  <a:gd name="T112" fmla="*/ 184 w 188"/>
                  <a:gd name="T113" fmla="*/ 72 h 144"/>
                  <a:gd name="T114" fmla="*/ 180 w 188"/>
                  <a:gd name="T115" fmla="*/ 24 h 144"/>
                  <a:gd name="T116" fmla="*/ 162 w 188"/>
                  <a:gd name="T117" fmla="*/ 32 h 144"/>
                  <a:gd name="T118" fmla="*/ 138 w 188"/>
                  <a:gd name="T119" fmla="*/ 1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144">
                    <a:moveTo>
                      <a:pt x="116" y="104"/>
                    </a:moveTo>
                    <a:lnTo>
                      <a:pt x="116" y="104"/>
                    </a:lnTo>
                    <a:lnTo>
                      <a:pt x="116" y="104"/>
                    </a:lnTo>
                    <a:lnTo>
                      <a:pt x="116" y="104"/>
                    </a:lnTo>
                    <a:lnTo>
                      <a:pt x="120" y="112"/>
                    </a:lnTo>
                    <a:lnTo>
                      <a:pt x="120" y="112"/>
                    </a:lnTo>
                    <a:lnTo>
                      <a:pt x="120" y="126"/>
                    </a:lnTo>
                    <a:lnTo>
                      <a:pt x="120" y="126"/>
                    </a:lnTo>
                    <a:lnTo>
                      <a:pt x="118" y="130"/>
                    </a:lnTo>
                    <a:lnTo>
                      <a:pt x="118" y="130"/>
                    </a:lnTo>
                    <a:lnTo>
                      <a:pt x="114" y="130"/>
                    </a:lnTo>
                    <a:lnTo>
                      <a:pt x="114" y="130"/>
                    </a:lnTo>
                    <a:lnTo>
                      <a:pt x="104" y="130"/>
                    </a:lnTo>
                    <a:lnTo>
                      <a:pt x="104" y="130"/>
                    </a:lnTo>
                    <a:lnTo>
                      <a:pt x="110" y="114"/>
                    </a:lnTo>
                    <a:lnTo>
                      <a:pt x="110" y="114"/>
                    </a:lnTo>
                    <a:lnTo>
                      <a:pt x="116" y="104"/>
                    </a:lnTo>
                    <a:lnTo>
                      <a:pt x="116" y="104"/>
                    </a:lnTo>
                    <a:lnTo>
                      <a:pt x="116" y="104"/>
                    </a:lnTo>
                    <a:close/>
                    <a:moveTo>
                      <a:pt x="18" y="122"/>
                    </a:moveTo>
                    <a:lnTo>
                      <a:pt x="18" y="122"/>
                    </a:lnTo>
                    <a:lnTo>
                      <a:pt x="14" y="120"/>
                    </a:lnTo>
                    <a:lnTo>
                      <a:pt x="10" y="116"/>
                    </a:lnTo>
                    <a:lnTo>
                      <a:pt x="6" y="112"/>
                    </a:lnTo>
                    <a:lnTo>
                      <a:pt x="4" y="108"/>
                    </a:lnTo>
                    <a:lnTo>
                      <a:pt x="4"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8" y="122"/>
                    </a:lnTo>
                    <a:close/>
                    <a:moveTo>
                      <a:pt x="10" y="48"/>
                    </a:moveTo>
                    <a:lnTo>
                      <a:pt x="10" y="48"/>
                    </a:lnTo>
                    <a:lnTo>
                      <a:pt x="10" y="48"/>
                    </a:lnTo>
                    <a:lnTo>
                      <a:pt x="10" y="48"/>
                    </a:lnTo>
                    <a:lnTo>
                      <a:pt x="6" y="60"/>
                    </a:lnTo>
                    <a:lnTo>
                      <a:pt x="6" y="60"/>
                    </a:lnTo>
                    <a:lnTo>
                      <a:pt x="6" y="64"/>
                    </a:lnTo>
                    <a:lnTo>
                      <a:pt x="6" y="64"/>
                    </a:lnTo>
                    <a:lnTo>
                      <a:pt x="10" y="64"/>
                    </a:lnTo>
                    <a:lnTo>
                      <a:pt x="10" y="64"/>
                    </a:lnTo>
                    <a:lnTo>
                      <a:pt x="14" y="64"/>
                    </a:lnTo>
                    <a:lnTo>
                      <a:pt x="14" y="64"/>
                    </a:lnTo>
                    <a:lnTo>
                      <a:pt x="14" y="66"/>
                    </a:lnTo>
                    <a:lnTo>
                      <a:pt x="12" y="68"/>
                    </a:lnTo>
                    <a:lnTo>
                      <a:pt x="12" y="68"/>
                    </a:lnTo>
                    <a:lnTo>
                      <a:pt x="8" y="68"/>
                    </a:lnTo>
                    <a:lnTo>
                      <a:pt x="8" y="68"/>
                    </a:lnTo>
                    <a:lnTo>
                      <a:pt x="6" y="68"/>
                    </a:lnTo>
                    <a:lnTo>
                      <a:pt x="6" y="68"/>
                    </a:lnTo>
                    <a:lnTo>
                      <a:pt x="4" y="66"/>
                    </a:lnTo>
                    <a:lnTo>
                      <a:pt x="2"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4"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48"/>
                    </a:lnTo>
                    <a:lnTo>
                      <a:pt x="160" y="48"/>
                    </a:lnTo>
                    <a:lnTo>
                      <a:pt x="158" y="60"/>
                    </a:lnTo>
                    <a:lnTo>
                      <a:pt x="158" y="60"/>
                    </a:lnTo>
                    <a:lnTo>
                      <a:pt x="162" y="50"/>
                    </a:lnTo>
                    <a:lnTo>
                      <a:pt x="160" y="42"/>
                    </a:lnTo>
                    <a:lnTo>
                      <a:pt x="160"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08" y="112"/>
                    </a:lnTo>
                    <a:lnTo>
                      <a:pt x="104"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8" y="112"/>
                    </a:lnTo>
                    <a:lnTo>
                      <a:pt x="76"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2"/>
                    </a:lnTo>
                    <a:lnTo>
                      <a:pt x="48" y="86"/>
                    </a:lnTo>
                    <a:lnTo>
                      <a:pt x="48" y="86"/>
                    </a:lnTo>
                    <a:lnTo>
                      <a:pt x="48" y="90"/>
                    </a:lnTo>
                    <a:lnTo>
                      <a:pt x="48" y="90"/>
                    </a:lnTo>
                    <a:lnTo>
                      <a:pt x="56" y="96"/>
                    </a:lnTo>
                    <a:lnTo>
                      <a:pt x="62" y="98"/>
                    </a:lnTo>
                    <a:lnTo>
                      <a:pt x="62" y="98"/>
                    </a:lnTo>
                    <a:lnTo>
                      <a:pt x="68" y="98"/>
                    </a:lnTo>
                    <a:lnTo>
                      <a:pt x="72" y="96"/>
                    </a:lnTo>
                    <a:lnTo>
                      <a:pt x="72" y="96"/>
                    </a:lnTo>
                    <a:lnTo>
                      <a:pt x="82" y="90"/>
                    </a:lnTo>
                    <a:lnTo>
                      <a:pt x="92" y="88"/>
                    </a:lnTo>
                    <a:lnTo>
                      <a:pt x="92" y="88"/>
                    </a:lnTo>
                    <a:lnTo>
                      <a:pt x="94" y="84"/>
                    </a:lnTo>
                    <a:lnTo>
                      <a:pt x="94" y="84"/>
                    </a:lnTo>
                    <a:lnTo>
                      <a:pt x="96" y="78"/>
                    </a:lnTo>
                    <a:lnTo>
                      <a:pt x="96" y="72"/>
                    </a:lnTo>
                    <a:lnTo>
                      <a:pt x="96" y="58"/>
                    </a:lnTo>
                    <a:lnTo>
                      <a:pt x="96"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8"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2"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4" y="140"/>
                    </a:lnTo>
                    <a:lnTo>
                      <a:pt x="42" y="142"/>
                    </a:lnTo>
                    <a:lnTo>
                      <a:pt x="42" y="142"/>
                    </a:lnTo>
                    <a:lnTo>
                      <a:pt x="44" y="142"/>
                    </a:lnTo>
                    <a:lnTo>
                      <a:pt x="44" y="142"/>
                    </a:lnTo>
                    <a:lnTo>
                      <a:pt x="48"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6" name="Freeform 1625"/>
              <p:cNvSpPr>
                <a:spLocks/>
              </p:cNvSpPr>
              <p:nvPr/>
            </p:nvSpPr>
            <p:spPr bwMode="auto">
              <a:xfrm>
                <a:off x="4538" y="1264"/>
                <a:ext cx="16" cy="26"/>
              </a:xfrm>
              <a:custGeom>
                <a:avLst/>
                <a:gdLst>
                  <a:gd name="T0" fmla="*/ 12 w 16"/>
                  <a:gd name="T1" fmla="*/ 0 h 26"/>
                  <a:gd name="T2" fmla="*/ 12 w 16"/>
                  <a:gd name="T3" fmla="*/ 0 h 26"/>
                  <a:gd name="T4" fmla="*/ 12 w 16"/>
                  <a:gd name="T5" fmla="*/ 0 h 26"/>
                  <a:gd name="T6" fmla="*/ 12 w 16"/>
                  <a:gd name="T7" fmla="*/ 0 h 26"/>
                  <a:gd name="T8" fmla="*/ 16 w 16"/>
                  <a:gd name="T9" fmla="*/ 8 h 26"/>
                  <a:gd name="T10" fmla="*/ 16 w 16"/>
                  <a:gd name="T11" fmla="*/ 8 h 26"/>
                  <a:gd name="T12" fmla="*/ 16 w 16"/>
                  <a:gd name="T13" fmla="*/ 22 h 26"/>
                  <a:gd name="T14" fmla="*/ 16 w 16"/>
                  <a:gd name="T15" fmla="*/ 22 h 26"/>
                  <a:gd name="T16" fmla="*/ 14 w 16"/>
                  <a:gd name="T17" fmla="*/ 26 h 26"/>
                  <a:gd name="T18" fmla="*/ 14 w 16"/>
                  <a:gd name="T19" fmla="*/ 26 h 26"/>
                  <a:gd name="T20" fmla="*/ 10 w 16"/>
                  <a:gd name="T21" fmla="*/ 26 h 26"/>
                  <a:gd name="T22" fmla="*/ 10 w 16"/>
                  <a:gd name="T23" fmla="*/ 26 h 26"/>
                  <a:gd name="T24" fmla="*/ 0 w 16"/>
                  <a:gd name="T25" fmla="*/ 26 h 26"/>
                  <a:gd name="T26" fmla="*/ 0 w 16"/>
                  <a:gd name="T27" fmla="*/ 26 h 26"/>
                  <a:gd name="T28" fmla="*/ 6 w 16"/>
                  <a:gd name="T29" fmla="*/ 10 h 26"/>
                  <a:gd name="T30" fmla="*/ 6 w 16"/>
                  <a:gd name="T31" fmla="*/ 10 h 26"/>
                  <a:gd name="T32" fmla="*/ 12 w 16"/>
                  <a:gd name="T33" fmla="*/ 0 h 26"/>
                  <a:gd name="T34" fmla="*/ 12 w 16"/>
                  <a:gd name="T35" fmla="*/ 0 h 26"/>
                  <a:gd name="T36" fmla="*/ 12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2" y="0"/>
                    </a:moveTo>
                    <a:lnTo>
                      <a:pt x="12" y="0"/>
                    </a:lnTo>
                    <a:lnTo>
                      <a:pt x="12" y="0"/>
                    </a:lnTo>
                    <a:lnTo>
                      <a:pt x="12" y="0"/>
                    </a:lnTo>
                    <a:lnTo>
                      <a:pt x="16" y="8"/>
                    </a:lnTo>
                    <a:lnTo>
                      <a:pt x="16" y="8"/>
                    </a:lnTo>
                    <a:lnTo>
                      <a:pt x="16" y="22"/>
                    </a:lnTo>
                    <a:lnTo>
                      <a:pt x="16" y="22"/>
                    </a:lnTo>
                    <a:lnTo>
                      <a:pt x="14" y="26"/>
                    </a:lnTo>
                    <a:lnTo>
                      <a:pt x="14" y="26"/>
                    </a:lnTo>
                    <a:lnTo>
                      <a:pt x="10" y="26"/>
                    </a:lnTo>
                    <a:lnTo>
                      <a:pt x="10" y="26"/>
                    </a:lnTo>
                    <a:lnTo>
                      <a:pt x="0" y="26"/>
                    </a:lnTo>
                    <a:lnTo>
                      <a:pt x="0" y="26"/>
                    </a:lnTo>
                    <a:lnTo>
                      <a:pt x="6" y="10"/>
                    </a:lnTo>
                    <a:lnTo>
                      <a:pt x="6" y="10"/>
                    </a:lnTo>
                    <a:lnTo>
                      <a:pt x="12" y="0"/>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7" name="Freeform 1626"/>
              <p:cNvSpPr>
                <a:spLocks/>
              </p:cNvSpPr>
              <p:nvPr/>
            </p:nvSpPr>
            <p:spPr bwMode="auto">
              <a:xfrm>
                <a:off x="4438" y="1260"/>
                <a:ext cx="20" cy="22"/>
              </a:xfrm>
              <a:custGeom>
                <a:avLst/>
                <a:gdLst>
                  <a:gd name="T0" fmla="*/ 14 w 20"/>
                  <a:gd name="T1" fmla="*/ 22 h 22"/>
                  <a:gd name="T2" fmla="*/ 14 w 20"/>
                  <a:gd name="T3" fmla="*/ 22 h 22"/>
                  <a:gd name="T4" fmla="*/ 10 w 20"/>
                  <a:gd name="T5" fmla="*/ 20 h 22"/>
                  <a:gd name="T6" fmla="*/ 6 w 20"/>
                  <a:gd name="T7" fmla="*/ 16 h 22"/>
                  <a:gd name="T8" fmla="*/ 2 w 20"/>
                  <a:gd name="T9" fmla="*/ 12 h 22"/>
                  <a:gd name="T10" fmla="*/ 0 w 20"/>
                  <a:gd name="T11" fmla="*/ 8 h 22"/>
                  <a:gd name="T12" fmla="*/ 0 w 20"/>
                  <a:gd name="T13" fmla="*/ 8 h 22"/>
                  <a:gd name="T14" fmla="*/ 2 w 20"/>
                  <a:gd name="T15" fmla="*/ 4 h 22"/>
                  <a:gd name="T16" fmla="*/ 2 w 20"/>
                  <a:gd name="T17" fmla="*/ 4 h 22"/>
                  <a:gd name="T18" fmla="*/ 10 w 20"/>
                  <a:gd name="T19" fmla="*/ 0 h 22"/>
                  <a:gd name="T20" fmla="*/ 10 w 20"/>
                  <a:gd name="T21" fmla="*/ 0 h 22"/>
                  <a:gd name="T22" fmla="*/ 10 w 20"/>
                  <a:gd name="T23" fmla="*/ 0 h 22"/>
                  <a:gd name="T24" fmla="*/ 10 w 20"/>
                  <a:gd name="T25" fmla="*/ 0 h 22"/>
                  <a:gd name="T26" fmla="*/ 10 w 20"/>
                  <a:gd name="T27" fmla="*/ 0 h 22"/>
                  <a:gd name="T28" fmla="*/ 10 w 20"/>
                  <a:gd name="T29" fmla="*/ 0 h 22"/>
                  <a:gd name="T30" fmla="*/ 20 w 20"/>
                  <a:gd name="T31" fmla="*/ 16 h 22"/>
                  <a:gd name="T32" fmla="*/ 20 w 20"/>
                  <a:gd name="T33" fmla="*/ 16 h 22"/>
                  <a:gd name="T34" fmla="*/ 20 w 20"/>
                  <a:gd name="T35" fmla="*/ 20 h 22"/>
                  <a:gd name="T36" fmla="*/ 16 w 20"/>
                  <a:gd name="T37" fmla="*/ 22 h 22"/>
                  <a:gd name="T38" fmla="*/ 16 w 20"/>
                  <a:gd name="T39" fmla="*/ 22 h 22"/>
                  <a:gd name="T40" fmla="*/ 16 w 20"/>
                  <a:gd name="T41" fmla="*/ 22 h 22"/>
                  <a:gd name="T42" fmla="*/ 16 w 20"/>
                  <a:gd name="T43" fmla="*/ 22 h 22"/>
                  <a:gd name="T44" fmla="*/ 14 w 20"/>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2">
                    <a:moveTo>
                      <a:pt x="14" y="22"/>
                    </a:moveTo>
                    <a:lnTo>
                      <a:pt x="14" y="22"/>
                    </a:lnTo>
                    <a:lnTo>
                      <a:pt x="10" y="20"/>
                    </a:lnTo>
                    <a:lnTo>
                      <a:pt x="6" y="16"/>
                    </a:lnTo>
                    <a:lnTo>
                      <a:pt x="2" y="12"/>
                    </a:lnTo>
                    <a:lnTo>
                      <a:pt x="0" y="8"/>
                    </a:lnTo>
                    <a:lnTo>
                      <a:pt x="0" y="8"/>
                    </a:lnTo>
                    <a:lnTo>
                      <a:pt x="2" y="4"/>
                    </a:lnTo>
                    <a:lnTo>
                      <a:pt x="2" y="4"/>
                    </a:lnTo>
                    <a:lnTo>
                      <a:pt x="10" y="0"/>
                    </a:lnTo>
                    <a:lnTo>
                      <a:pt x="10" y="0"/>
                    </a:lnTo>
                    <a:lnTo>
                      <a:pt x="10" y="0"/>
                    </a:lnTo>
                    <a:lnTo>
                      <a:pt x="10" y="0"/>
                    </a:lnTo>
                    <a:lnTo>
                      <a:pt x="10" y="0"/>
                    </a:lnTo>
                    <a:lnTo>
                      <a:pt x="10" y="0"/>
                    </a:lnTo>
                    <a:lnTo>
                      <a:pt x="20" y="16"/>
                    </a:lnTo>
                    <a:lnTo>
                      <a:pt x="20" y="16"/>
                    </a:lnTo>
                    <a:lnTo>
                      <a:pt x="20"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8" name="Freeform 1627"/>
              <p:cNvSpPr>
                <a:spLocks/>
              </p:cNvSpPr>
              <p:nvPr/>
            </p:nvSpPr>
            <p:spPr bwMode="auto">
              <a:xfrm>
                <a:off x="4436" y="1208"/>
                <a:ext cx="12" cy="20"/>
              </a:xfrm>
              <a:custGeom>
                <a:avLst/>
                <a:gdLst>
                  <a:gd name="T0" fmla="*/ 8 w 12"/>
                  <a:gd name="T1" fmla="*/ 0 h 20"/>
                  <a:gd name="T2" fmla="*/ 8 w 12"/>
                  <a:gd name="T3" fmla="*/ 0 h 20"/>
                  <a:gd name="T4" fmla="*/ 8 w 12"/>
                  <a:gd name="T5" fmla="*/ 0 h 20"/>
                  <a:gd name="T6" fmla="*/ 8 w 12"/>
                  <a:gd name="T7" fmla="*/ 0 h 20"/>
                  <a:gd name="T8" fmla="*/ 4 w 12"/>
                  <a:gd name="T9" fmla="*/ 12 h 20"/>
                  <a:gd name="T10" fmla="*/ 4 w 12"/>
                  <a:gd name="T11" fmla="*/ 12 h 20"/>
                  <a:gd name="T12" fmla="*/ 4 w 12"/>
                  <a:gd name="T13" fmla="*/ 16 h 20"/>
                  <a:gd name="T14" fmla="*/ 4 w 12"/>
                  <a:gd name="T15" fmla="*/ 16 h 20"/>
                  <a:gd name="T16" fmla="*/ 8 w 12"/>
                  <a:gd name="T17" fmla="*/ 16 h 20"/>
                  <a:gd name="T18" fmla="*/ 8 w 12"/>
                  <a:gd name="T19" fmla="*/ 16 h 20"/>
                  <a:gd name="T20" fmla="*/ 12 w 12"/>
                  <a:gd name="T21" fmla="*/ 16 h 20"/>
                  <a:gd name="T22" fmla="*/ 12 w 12"/>
                  <a:gd name="T23" fmla="*/ 16 h 20"/>
                  <a:gd name="T24" fmla="*/ 12 w 12"/>
                  <a:gd name="T25" fmla="*/ 18 h 20"/>
                  <a:gd name="T26" fmla="*/ 10 w 12"/>
                  <a:gd name="T27" fmla="*/ 20 h 20"/>
                  <a:gd name="T28" fmla="*/ 10 w 12"/>
                  <a:gd name="T29" fmla="*/ 20 h 20"/>
                  <a:gd name="T30" fmla="*/ 6 w 12"/>
                  <a:gd name="T31" fmla="*/ 20 h 20"/>
                  <a:gd name="T32" fmla="*/ 6 w 12"/>
                  <a:gd name="T33" fmla="*/ 20 h 20"/>
                  <a:gd name="T34" fmla="*/ 4 w 12"/>
                  <a:gd name="T35" fmla="*/ 20 h 20"/>
                  <a:gd name="T36" fmla="*/ 4 w 12"/>
                  <a:gd name="T37" fmla="*/ 20 h 20"/>
                  <a:gd name="T38" fmla="*/ 2 w 12"/>
                  <a:gd name="T39" fmla="*/ 18 h 20"/>
                  <a:gd name="T40" fmla="*/ 0 w 12"/>
                  <a:gd name="T41" fmla="*/ 14 h 20"/>
                  <a:gd name="T42" fmla="*/ 0 w 12"/>
                  <a:gd name="T43" fmla="*/ 10 h 20"/>
                  <a:gd name="T44" fmla="*/ 0 w 12"/>
                  <a:gd name="T45" fmla="*/ 6 h 20"/>
                  <a:gd name="T46" fmla="*/ 0 w 12"/>
                  <a:gd name="T47" fmla="*/ 6 h 20"/>
                  <a:gd name="T48" fmla="*/ 0 w 12"/>
                  <a:gd name="T49" fmla="*/ 6 h 20"/>
                  <a:gd name="T50" fmla="*/ 0 w 12"/>
                  <a:gd name="T51" fmla="*/ 6 h 20"/>
                  <a:gd name="T52" fmla="*/ 0 w 12"/>
                  <a:gd name="T53" fmla="*/ 6 h 20"/>
                  <a:gd name="T54" fmla="*/ 0 w 12"/>
                  <a:gd name="T55" fmla="*/ 6 h 20"/>
                  <a:gd name="T56" fmla="*/ 6 w 12"/>
                  <a:gd name="T57" fmla="*/ 0 h 20"/>
                  <a:gd name="T58" fmla="*/ 6 w 12"/>
                  <a:gd name="T59" fmla="*/ 0 h 20"/>
                  <a:gd name="T60" fmla="*/ 8 w 12"/>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20">
                    <a:moveTo>
                      <a:pt x="8" y="0"/>
                    </a:moveTo>
                    <a:lnTo>
                      <a:pt x="8" y="0"/>
                    </a:lnTo>
                    <a:lnTo>
                      <a:pt x="8" y="0"/>
                    </a:lnTo>
                    <a:lnTo>
                      <a:pt x="8" y="0"/>
                    </a:lnTo>
                    <a:lnTo>
                      <a:pt x="4" y="12"/>
                    </a:lnTo>
                    <a:lnTo>
                      <a:pt x="4" y="12"/>
                    </a:lnTo>
                    <a:lnTo>
                      <a:pt x="4" y="16"/>
                    </a:lnTo>
                    <a:lnTo>
                      <a:pt x="4" y="16"/>
                    </a:lnTo>
                    <a:lnTo>
                      <a:pt x="8" y="16"/>
                    </a:lnTo>
                    <a:lnTo>
                      <a:pt x="8" y="16"/>
                    </a:lnTo>
                    <a:lnTo>
                      <a:pt x="12" y="16"/>
                    </a:lnTo>
                    <a:lnTo>
                      <a:pt x="12" y="16"/>
                    </a:lnTo>
                    <a:lnTo>
                      <a:pt x="12" y="18"/>
                    </a:lnTo>
                    <a:lnTo>
                      <a:pt x="10" y="20"/>
                    </a:lnTo>
                    <a:lnTo>
                      <a:pt x="10" y="20"/>
                    </a:lnTo>
                    <a:lnTo>
                      <a:pt x="6" y="20"/>
                    </a:lnTo>
                    <a:lnTo>
                      <a:pt x="6" y="20"/>
                    </a:lnTo>
                    <a:lnTo>
                      <a:pt x="4" y="20"/>
                    </a:lnTo>
                    <a:lnTo>
                      <a:pt x="4" y="20"/>
                    </a:lnTo>
                    <a:lnTo>
                      <a:pt x="2" y="18"/>
                    </a:lnTo>
                    <a:lnTo>
                      <a:pt x="0"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09" name="Freeform 1628"/>
              <p:cNvSpPr>
                <a:spLocks/>
              </p:cNvSpPr>
              <p:nvPr/>
            </p:nvSpPr>
            <p:spPr bwMode="auto">
              <a:xfrm>
                <a:off x="4448" y="1164"/>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4"/>
                    </a:lnTo>
                    <a:lnTo>
                      <a:pt x="146" y="44"/>
                    </a:lnTo>
                    <a:lnTo>
                      <a:pt x="144" y="56"/>
                    </a:lnTo>
                    <a:lnTo>
                      <a:pt x="144" y="56"/>
                    </a:lnTo>
                    <a:lnTo>
                      <a:pt x="148" y="46"/>
                    </a:lnTo>
                    <a:lnTo>
                      <a:pt x="146" y="38"/>
                    </a:lnTo>
                    <a:lnTo>
                      <a:pt x="146"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4" y="108"/>
                    </a:lnTo>
                    <a:lnTo>
                      <a:pt x="90"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4" y="108"/>
                    </a:lnTo>
                    <a:lnTo>
                      <a:pt x="62"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78"/>
                    </a:lnTo>
                    <a:lnTo>
                      <a:pt x="34" y="82"/>
                    </a:lnTo>
                    <a:lnTo>
                      <a:pt x="34" y="82"/>
                    </a:lnTo>
                    <a:lnTo>
                      <a:pt x="34" y="86"/>
                    </a:lnTo>
                    <a:lnTo>
                      <a:pt x="34" y="86"/>
                    </a:lnTo>
                    <a:lnTo>
                      <a:pt x="42" y="92"/>
                    </a:lnTo>
                    <a:lnTo>
                      <a:pt x="48" y="94"/>
                    </a:lnTo>
                    <a:lnTo>
                      <a:pt x="48" y="94"/>
                    </a:lnTo>
                    <a:lnTo>
                      <a:pt x="54" y="94"/>
                    </a:lnTo>
                    <a:lnTo>
                      <a:pt x="58" y="92"/>
                    </a:lnTo>
                    <a:lnTo>
                      <a:pt x="58" y="92"/>
                    </a:lnTo>
                    <a:lnTo>
                      <a:pt x="68" y="86"/>
                    </a:lnTo>
                    <a:lnTo>
                      <a:pt x="78" y="84"/>
                    </a:lnTo>
                    <a:lnTo>
                      <a:pt x="78" y="84"/>
                    </a:lnTo>
                    <a:lnTo>
                      <a:pt x="80" y="80"/>
                    </a:lnTo>
                    <a:lnTo>
                      <a:pt x="80" y="80"/>
                    </a:lnTo>
                    <a:lnTo>
                      <a:pt x="82" y="74"/>
                    </a:lnTo>
                    <a:lnTo>
                      <a:pt x="82" y="68"/>
                    </a:lnTo>
                    <a:lnTo>
                      <a:pt x="82" y="54"/>
                    </a:lnTo>
                    <a:lnTo>
                      <a:pt x="82"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4"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0" name="Freeform 1629"/>
              <p:cNvSpPr>
                <a:spLocks/>
              </p:cNvSpPr>
              <p:nvPr/>
            </p:nvSpPr>
            <p:spPr bwMode="auto">
              <a:xfrm>
                <a:off x="4434" y="1160"/>
                <a:ext cx="188" cy="144"/>
              </a:xfrm>
              <a:custGeom>
                <a:avLst/>
                <a:gdLst>
                  <a:gd name="T0" fmla="*/ 104 w 188"/>
                  <a:gd name="T1" fmla="*/ 2 h 144"/>
                  <a:gd name="T2" fmla="*/ 84 w 188"/>
                  <a:gd name="T3" fmla="*/ 12 h 144"/>
                  <a:gd name="T4" fmla="*/ 76 w 188"/>
                  <a:gd name="T5" fmla="*/ 20 h 144"/>
                  <a:gd name="T6" fmla="*/ 70 w 188"/>
                  <a:gd name="T7" fmla="*/ 22 h 144"/>
                  <a:gd name="T8" fmla="*/ 52 w 188"/>
                  <a:gd name="T9" fmla="*/ 32 h 144"/>
                  <a:gd name="T10" fmla="*/ 32 w 188"/>
                  <a:gd name="T11" fmla="*/ 40 h 144"/>
                  <a:gd name="T12" fmla="*/ 18 w 188"/>
                  <a:gd name="T13" fmla="*/ 56 h 144"/>
                  <a:gd name="T14" fmla="*/ 8 w 188"/>
                  <a:gd name="T15" fmla="*/ 62 h 144"/>
                  <a:gd name="T16" fmla="*/ 10 w 188"/>
                  <a:gd name="T17" fmla="*/ 54 h 144"/>
                  <a:gd name="T18" fmla="*/ 12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8 w 188"/>
                  <a:gd name="T31" fmla="*/ 98 h 144"/>
                  <a:gd name="T32" fmla="*/ 2 w 188"/>
                  <a:gd name="T33" fmla="*/ 106 h 144"/>
                  <a:gd name="T34" fmla="*/ 6 w 188"/>
                  <a:gd name="T35" fmla="*/ 116 h 144"/>
                  <a:gd name="T36" fmla="*/ 16 w 188"/>
                  <a:gd name="T37" fmla="*/ 124 h 144"/>
                  <a:gd name="T38" fmla="*/ 20 w 188"/>
                  <a:gd name="T39" fmla="*/ 130 h 144"/>
                  <a:gd name="T40" fmla="*/ 22 w 188"/>
                  <a:gd name="T41" fmla="*/ 136 h 144"/>
                  <a:gd name="T42" fmla="*/ 34 w 188"/>
                  <a:gd name="T43" fmla="*/ 140 h 144"/>
                  <a:gd name="T44" fmla="*/ 44 w 188"/>
                  <a:gd name="T45" fmla="*/ 142 h 144"/>
                  <a:gd name="T46" fmla="*/ 48 w 188"/>
                  <a:gd name="T47" fmla="*/ 140 h 144"/>
                  <a:gd name="T48" fmla="*/ 52 w 188"/>
                  <a:gd name="T49" fmla="*/ 130 h 144"/>
                  <a:gd name="T50" fmla="*/ 56 w 188"/>
                  <a:gd name="T51" fmla="*/ 118 h 144"/>
                  <a:gd name="T52" fmla="*/ 64 w 188"/>
                  <a:gd name="T53" fmla="*/ 124 h 144"/>
                  <a:gd name="T54" fmla="*/ 74 w 188"/>
                  <a:gd name="T55" fmla="*/ 142 h 144"/>
                  <a:gd name="T56" fmla="*/ 80 w 188"/>
                  <a:gd name="T57" fmla="*/ 144 h 144"/>
                  <a:gd name="T58" fmla="*/ 88 w 188"/>
                  <a:gd name="T59" fmla="*/ 140 h 144"/>
                  <a:gd name="T60" fmla="*/ 96 w 188"/>
                  <a:gd name="T61" fmla="*/ 132 h 144"/>
                  <a:gd name="T62" fmla="*/ 116 w 188"/>
                  <a:gd name="T63" fmla="*/ 132 h 144"/>
                  <a:gd name="T64" fmla="*/ 122 w 188"/>
                  <a:gd name="T65" fmla="*/ 130 h 144"/>
                  <a:gd name="T66" fmla="*/ 124 w 188"/>
                  <a:gd name="T67" fmla="*/ 124 h 144"/>
                  <a:gd name="T68" fmla="*/ 120 w 188"/>
                  <a:gd name="T69" fmla="*/ 104 h 144"/>
                  <a:gd name="T70" fmla="*/ 116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2"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4" y="140"/>
                    </a:lnTo>
                    <a:lnTo>
                      <a:pt x="42" y="142"/>
                    </a:lnTo>
                    <a:lnTo>
                      <a:pt x="42" y="142"/>
                    </a:lnTo>
                    <a:lnTo>
                      <a:pt x="44" y="142"/>
                    </a:lnTo>
                    <a:lnTo>
                      <a:pt x="44" y="142"/>
                    </a:lnTo>
                    <a:lnTo>
                      <a:pt x="48"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6"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1" name="Freeform 1630"/>
              <p:cNvSpPr>
                <a:spLocks/>
              </p:cNvSpPr>
              <p:nvPr/>
            </p:nvSpPr>
            <p:spPr bwMode="auto">
              <a:xfrm>
                <a:off x="4440" y="1260"/>
                <a:ext cx="18" cy="22"/>
              </a:xfrm>
              <a:custGeom>
                <a:avLst/>
                <a:gdLst>
                  <a:gd name="T0" fmla="*/ 8 w 18"/>
                  <a:gd name="T1" fmla="*/ 0 h 22"/>
                  <a:gd name="T2" fmla="*/ 8 w 18"/>
                  <a:gd name="T3" fmla="*/ 0 h 22"/>
                  <a:gd name="T4" fmla="*/ 0 w 18"/>
                  <a:gd name="T5" fmla="*/ 4 h 22"/>
                  <a:gd name="T6" fmla="*/ 0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4"/>
                    </a:lnTo>
                    <a:lnTo>
                      <a:pt x="0" y="4"/>
                    </a:lnTo>
                    <a:lnTo>
                      <a:pt x="0" y="8"/>
                    </a:lnTo>
                    <a:lnTo>
                      <a:pt x="0" y="8"/>
                    </a:lnTo>
                    <a:lnTo>
                      <a:pt x="0" y="12"/>
                    </a:lnTo>
                    <a:lnTo>
                      <a:pt x="4" y="16"/>
                    </a:lnTo>
                    <a:lnTo>
                      <a:pt x="8" y="20"/>
                    </a:lnTo>
                    <a:lnTo>
                      <a:pt x="14" y="22"/>
                    </a:lnTo>
                    <a:lnTo>
                      <a:pt x="14" y="22"/>
                    </a:lnTo>
                    <a:lnTo>
                      <a:pt x="14" y="22"/>
                    </a:lnTo>
                    <a:lnTo>
                      <a:pt x="14" y="22"/>
                    </a:lnTo>
                    <a:lnTo>
                      <a:pt x="14" y="22"/>
                    </a:lnTo>
                    <a:lnTo>
                      <a:pt x="14" y="22"/>
                    </a:lnTo>
                    <a:lnTo>
                      <a:pt x="18"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2" name="Freeform 1631"/>
              <p:cNvSpPr>
                <a:spLocks/>
              </p:cNvSpPr>
              <p:nvPr/>
            </p:nvSpPr>
            <p:spPr bwMode="auto">
              <a:xfrm>
                <a:off x="4440" y="1260"/>
                <a:ext cx="18" cy="22"/>
              </a:xfrm>
              <a:custGeom>
                <a:avLst/>
                <a:gdLst>
                  <a:gd name="T0" fmla="*/ 8 w 18"/>
                  <a:gd name="T1" fmla="*/ 0 h 22"/>
                  <a:gd name="T2" fmla="*/ 8 w 18"/>
                  <a:gd name="T3" fmla="*/ 0 h 22"/>
                  <a:gd name="T4" fmla="*/ 0 w 18"/>
                  <a:gd name="T5" fmla="*/ 4 h 22"/>
                  <a:gd name="T6" fmla="*/ 0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0" y="4"/>
                    </a:lnTo>
                    <a:lnTo>
                      <a:pt x="0" y="4"/>
                    </a:lnTo>
                    <a:lnTo>
                      <a:pt x="0" y="8"/>
                    </a:lnTo>
                    <a:lnTo>
                      <a:pt x="0" y="8"/>
                    </a:lnTo>
                    <a:lnTo>
                      <a:pt x="0" y="12"/>
                    </a:lnTo>
                    <a:lnTo>
                      <a:pt x="4" y="16"/>
                    </a:lnTo>
                    <a:lnTo>
                      <a:pt x="8" y="20"/>
                    </a:lnTo>
                    <a:lnTo>
                      <a:pt x="14" y="22"/>
                    </a:lnTo>
                    <a:lnTo>
                      <a:pt x="14"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3" name="Freeform 1632"/>
              <p:cNvSpPr>
                <a:spLocks/>
              </p:cNvSpPr>
              <p:nvPr/>
            </p:nvSpPr>
            <p:spPr bwMode="auto">
              <a:xfrm>
                <a:off x="4448" y="1260"/>
                <a:ext cx="10" cy="22"/>
              </a:xfrm>
              <a:custGeom>
                <a:avLst/>
                <a:gdLst>
                  <a:gd name="T0" fmla="*/ 0 w 10"/>
                  <a:gd name="T1" fmla="*/ 0 h 22"/>
                  <a:gd name="T2" fmla="*/ 0 w 10"/>
                  <a:gd name="T3" fmla="*/ 0 h 22"/>
                  <a:gd name="T4" fmla="*/ 0 w 10"/>
                  <a:gd name="T5" fmla="*/ 0 h 22"/>
                  <a:gd name="T6" fmla="*/ 0 w 10"/>
                  <a:gd name="T7" fmla="*/ 0 h 22"/>
                  <a:gd name="T8" fmla="*/ 8 w 10"/>
                  <a:gd name="T9" fmla="*/ 16 h 22"/>
                  <a:gd name="T10" fmla="*/ 8 w 10"/>
                  <a:gd name="T11" fmla="*/ 16 h 22"/>
                  <a:gd name="T12" fmla="*/ 10 w 10"/>
                  <a:gd name="T13" fmla="*/ 20 h 22"/>
                  <a:gd name="T14" fmla="*/ 6 w 10"/>
                  <a:gd name="T15" fmla="*/ 22 h 22"/>
                  <a:gd name="T16" fmla="*/ 6 w 10"/>
                  <a:gd name="T17" fmla="*/ 22 h 22"/>
                  <a:gd name="T18" fmla="*/ 10 w 10"/>
                  <a:gd name="T19" fmla="*/ 20 h 22"/>
                  <a:gd name="T20" fmla="*/ 10 w 10"/>
                  <a:gd name="T21" fmla="*/ 16 h 22"/>
                  <a:gd name="T22" fmla="*/ 10 w 10"/>
                  <a:gd name="T23" fmla="*/ 16 h 22"/>
                  <a:gd name="T24" fmla="*/ 0 w 10"/>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2">
                    <a:moveTo>
                      <a:pt x="0" y="0"/>
                    </a:moveTo>
                    <a:lnTo>
                      <a:pt x="0" y="0"/>
                    </a:lnTo>
                    <a:lnTo>
                      <a:pt x="0" y="0"/>
                    </a:lnTo>
                    <a:lnTo>
                      <a:pt x="0" y="0"/>
                    </a:lnTo>
                    <a:lnTo>
                      <a:pt x="8" y="16"/>
                    </a:lnTo>
                    <a:lnTo>
                      <a:pt x="8" y="16"/>
                    </a:lnTo>
                    <a:lnTo>
                      <a:pt x="10" y="20"/>
                    </a:lnTo>
                    <a:lnTo>
                      <a:pt x="6" y="22"/>
                    </a:lnTo>
                    <a:lnTo>
                      <a:pt x="6" y="22"/>
                    </a:lnTo>
                    <a:lnTo>
                      <a:pt x="10" y="20"/>
                    </a:lnTo>
                    <a:lnTo>
                      <a:pt x="10" y="16"/>
                    </a:lnTo>
                    <a:lnTo>
                      <a:pt x="10" y="16"/>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4" name="Freeform 1633"/>
              <p:cNvSpPr>
                <a:spLocks/>
              </p:cNvSpPr>
              <p:nvPr/>
            </p:nvSpPr>
            <p:spPr bwMode="auto">
              <a:xfrm>
                <a:off x="4448" y="1260"/>
                <a:ext cx="10" cy="22"/>
              </a:xfrm>
              <a:custGeom>
                <a:avLst/>
                <a:gdLst>
                  <a:gd name="T0" fmla="*/ 0 w 10"/>
                  <a:gd name="T1" fmla="*/ 0 h 22"/>
                  <a:gd name="T2" fmla="*/ 0 w 10"/>
                  <a:gd name="T3" fmla="*/ 0 h 22"/>
                  <a:gd name="T4" fmla="*/ 0 w 10"/>
                  <a:gd name="T5" fmla="*/ 0 h 22"/>
                  <a:gd name="T6" fmla="*/ 0 w 10"/>
                  <a:gd name="T7" fmla="*/ 0 h 22"/>
                  <a:gd name="T8" fmla="*/ 8 w 10"/>
                  <a:gd name="T9" fmla="*/ 16 h 22"/>
                  <a:gd name="T10" fmla="*/ 8 w 10"/>
                  <a:gd name="T11" fmla="*/ 16 h 22"/>
                  <a:gd name="T12" fmla="*/ 10 w 10"/>
                  <a:gd name="T13" fmla="*/ 20 h 22"/>
                  <a:gd name="T14" fmla="*/ 6 w 10"/>
                  <a:gd name="T15" fmla="*/ 22 h 22"/>
                  <a:gd name="T16" fmla="*/ 6 w 10"/>
                  <a:gd name="T17" fmla="*/ 22 h 22"/>
                  <a:gd name="T18" fmla="*/ 10 w 10"/>
                  <a:gd name="T19" fmla="*/ 20 h 22"/>
                  <a:gd name="T20" fmla="*/ 10 w 10"/>
                  <a:gd name="T21" fmla="*/ 16 h 22"/>
                  <a:gd name="T22" fmla="*/ 10 w 10"/>
                  <a:gd name="T23" fmla="*/ 16 h 22"/>
                  <a:gd name="T24" fmla="*/ 0 w 10"/>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2">
                    <a:moveTo>
                      <a:pt x="0" y="0"/>
                    </a:moveTo>
                    <a:lnTo>
                      <a:pt x="0" y="0"/>
                    </a:lnTo>
                    <a:lnTo>
                      <a:pt x="0" y="0"/>
                    </a:lnTo>
                    <a:lnTo>
                      <a:pt x="0" y="0"/>
                    </a:lnTo>
                    <a:lnTo>
                      <a:pt x="8" y="16"/>
                    </a:lnTo>
                    <a:lnTo>
                      <a:pt x="8" y="16"/>
                    </a:lnTo>
                    <a:lnTo>
                      <a:pt x="10" y="20"/>
                    </a:lnTo>
                    <a:lnTo>
                      <a:pt x="6" y="22"/>
                    </a:lnTo>
                    <a:lnTo>
                      <a:pt x="6" y="22"/>
                    </a:lnTo>
                    <a:lnTo>
                      <a:pt x="10" y="20"/>
                    </a:lnTo>
                    <a:lnTo>
                      <a:pt x="10" y="16"/>
                    </a:lnTo>
                    <a:lnTo>
                      <a:pt x="1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5" name="Freeform 1634"/>
              <p:cNvSpPr>
                <a:spLocks/>
              </p:cNvSpPr>
              <p:nvPr/>
            </p:nvSpPr>
            <p:spPr bwMode="auto">
              <a:xfrm>
                <a:off x="4538" y="1264"/>
                <a:ext cx="16" cy="26"/>
              </a:xfrm>
              <a:custGeom>
                <a:avLst/>
                <a:gdLst>
                  <a:gd name="T0" fmla="*/ 12 w 16"/>
                  <a:gd name="T1" fmla="*/ 0 h 26"/>
                  <a:gd name="T2" fmla="*/ 12 w 16"/>
                  <a:gd name="T3" fmla="*/ 0 h 26"/>
                  <a:gd name="T4" fmla="*/ 6 w 16"/>
                  <a:gd name="T5" fmla="*/ 10 h 26"/>
                  <a:gd name="T6" fmla="*/ 6 w 16"/>
                  <a:gd name="T7" fmla="*/ 10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6" y="10"/>
                    </a:lnTo>
                    <a:lnTo>
                      <a:pt x="6" y="10"/>
                    </a:lnTo>
                    <a:lnTo>
                      <a:pt x="0" y="26"/>
                    </a:lnTo>
                    <a:lnTo>
                      <a:pt x="0" y="26"/>
                    </a:lnTo>
                    <a:lnTo>
                      <a:pt x="10" y="26"/>
                    </a:lnTo>
                    <a:lnTo>
                      <a:pt x="10" y="26"/>
                    </a:lnTo>
                    <a:lnTo>
                      <a:pt x="14" y="26"/>
                    </a:lnTo>
                    <a:lnTo>
                      <a:pt x="14" y="26"/>
                    </a:lnTo>
                    <a:lnTo>
                      <a:pt x="16" y="22"/>
                    </a:lnTo>
                    <a:lnTo>
                      <a:pt x="16" y="22"/>
                    </a:lnTo>
                    <a:lnTo>
                      <a:pt x="14" y="8"/>
                    </a:lnTo>
                    <a:lnTo>
                      <a:pt x="14" y="8"/>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6" name="Freeform 1635"/>
              <p:cNvSpPr>
                <a:spLocks/>
              </p:cNvSpPr>
              <p:nvPr/>
            </p:nvSpPr>
            <p:spPr bwMode="auto">
              <a:xfrm>
                <a:off x="4538" y="1264"/>
                <a:ext cx="16" cy="26"/>
              </a:xfrm>
              <a:custGeom>
                <a:avLst/>
                <a:gdLst>
                  <a:gd name="T0" fmla="*/ 12 w 16"/>
                  <a:gd name="T1" fmla="*/ 0 h 26"/>
                  <a:gd name="T2" fmla="*/ 12 w 16"/>
                  <a:gd name="T3" fmla="*/ 0 h 26"/>
                  <a:gd name="T4" fmla="*/ 6 w 16"/>
                  <a:gd name="T5" fmla="*/ 10 h 26"/>
                  <a:gd name="T6" fmla="*/ 6 w 16"/>
                  <a:gd name="T7" fmla="*/ 10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2 h 26"/>
                  <a:gd name="T22" fmla="*/ 16 w 16"/>
                  <a:gd name="T23" fmla="*/ 22 h 26"/>
                  <a:gd name="T24" fmla="*/ 14 w 16"/>
                  <a:gd name="T25" fmla="*/ 8 h 26"/>
                  <a:gd name="T26" fmla="*/ 14 w 16"/>
                  <a:gd name="T27" fmla="*/ 8 h 26"/>
                  <a:gd name="T28" fmla="*/ 12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2" y="0"/>
                    </a:moveTo>
                    <a:lnTo>
                      <a:pt x="12" y="0"/>
                    </a:lnTo>
                    <a:lnTo>
                      <a:pt x="6" y="10"/>
                    </a:lnTo>
                    <a:lnTo>
                      <a:pt x="6" y="10"/>
                    </a:lnTo>
                    <a:lnTo>
                      <a:pt x="0" y="26"/>
                    </a:lnTo>
                    <a:lnTo>
                      <a:pt x="0" y="26"/>
                    </a:lnTo>
                    <a:lnTo>
                      <a:pt x="10" y="26"/>
                    </a:lnTo>
                    <a:lnTo>
                      <a:pt x="10" y="26"/>
                    </a:lnTo>
                    <a:lnTo>
                      <a:pt x="14" y="26"/>
                    </a:lnTo>
                    <a:lnTo>
                      <a:pt x="14" y="26"/>
                    </a:lnTo>
                    <a:lnTo>
                      <a:pt x="16" y="22"/>
                    </a:lnTo>
                    <a:lnTo>
                      <a:pt x="16" y="22"/>
                    </a:lnTo>
                    <a:lnTo>
                      <a:pt x="14" y="8"/>
                    </a:lnTo>
                    <a:lnTo>
                      <a:pt x="14"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7" name="Freeform 1636"/>
              <p:cNvSpPr>
                <a:spLocks/>
              </p:cNvSpPr>
              <p:nvPr/>
            </p:nvSpPr>
            <p:spPr bwMode="auto">
              <a:xfrm>
                <a:off x="4544" y="1264"/>
                <a:ext cx="6" cy="10"/>
              </a:xfrm>
              <a:custGeom>
                <a:avLst/>
                <a:gdLst>
                  <a:gd name="T0" fmla="*/ 6 w 6"/>
                  <a:gd name="T1" fmla="*/ 0 h 10"/>
                  <a:gd name="T2" fmla="*/ 6 w 6"/>
                  <a:gd name="T3" fmla="*/ 0 h 10"/>
                  <a:gd name="T4" fmla="*/ 0 w 6"/>
                  <a:gd name="T5" fmla="*/ 10 h 10"/>
                  <a:gd name="T6" fmla="*/ 0 w 6"/>
                  <a:gd name="T7" fmla="*/ 10 h 10"/>
                  <a:gd name="T8" fmla="*/ 6 w 6"/>
                  <a:gd name="T9" fmla="*/ 0 h 10"/>
                  <a:gd name="T10" fmla="*/ 6 w 6"/>
                  <a:gd name="T11" fmla="*/ 0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0" y="10"/>
                    </a:lnTo>
                    <a:lnTo>
                      <a:pt x="0" y="1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8" name="Freeform 1637"/>
              <p:cNvSpPr>
                <a:spLocks/>
              </p:cNvSpPr>
              <p:nvPr/>
            </p:nvSpPr>
            <p:spPr bwMode="auto">
              <a:xfrm>
                <a:off x="4544" y="1264"/>
                <a:ext cx="6" cy="10"/>
              </a:xfrm>
              <a:custGeom>
                <a:avLst/>
                <a:gdLst>
                  <a:gd name="T0" fmla="*/ 6 w 6"/>
                  <a:gd name="T1" fmla="*/ 0 h 10"/>
                  <a:gd name="T2" fmla="*/ 6 w 6"/>
                  <a:gd name="T3" fmla="*/ 0 h 10"/>
                  <a:gd name="T4" fmla="*/ 0 w 6"/>
                  <a:gd name="T5" fmla="*/ 10 h 10"/>
                  <a:gd name="T6" fmla="*/ 0 w 6"/>
                  <a:gd name="T7" fmla="*/ 10 h 10"/>
                  <a:gd name="T8" fmla="*/ 6 w 6"/>
                  <a:gd name="T9" fmla="*/ 0 h 10"/>
                  <a:gd name="T10" fmla="*/ 6 w 6"/>
                  <a:gd name="T11" fmla="*/ 0 h 10"/>
                  <a:gd name="T12" fmla="*/ 6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0"/>
                    </a:moveTo>
                    <a:lnTo>
                      <a:pt x="6" y="0"/>
                    </a:lnTo>
                    <a:lnTo>
                      <a:pt x="0" y="10"/>
                    </a:lnTo>
                    <a:lnTo>
                      <a:pt x="0"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19" name="Freeform 1638"/>
              <p:cNvSpPr>
                <a:spLocks/>
              </p:cNvSpPr>
              <p:nvPr/>
            </p:nvSpPr>
            <p:spPr bwMode="auto">
              <a:xfrm>
                <a:off x="4436"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4 h 20"/>
                  <a:gd name="T16" fmla="*/ 2 w 12"/>
                  <a:gd name="T17" fmla="*/ 18 h 20"/>
                  <a:gd name="T18" fmla="*/ 4 w 12"/>
                  <a:gd name="T19" fmla="*/ 20 h 20"/>
                  <a:gd name="T20" fmla="*/ 4 w 12"/>
                  <a:gd name="T21" fmla="*/ 20 h 20"/>
                  <a:gd name="T22" fmla="*/ 8 w 12"/>
                  <a:gd name="T23" fmla="*/ 20 h 20"/>
                  <a:gd name="T24" fmla="*/ 8 w 12"/>
                  <a:gd name="T25" fmla="*/ 20 h 20"/>
                  <a:gd name="T26" fmla="*/ 10 w 12"/>
                  <a:gd name="T27" fmla="*/ 20 h 20"/>
                  <a:gd name="T28" fmla="*/ 10 w 12"/>
                  <a:gd name="T29" fmla="*/ 20 h 20"/>
                  <a:gd name="T30" fmla="*/ 12 w 12"/>
                  <a:gd name="T31" fmla="*/ 16 h 20"/>
                  <a:gd name="T32" fmla="*/ 12 w 12"/>
                  <a:gd name="T33" fmla="*/ 16 h 20"/>
                  <a:gd name="T34" fmla="*/ 8 w 12"/>
                  <a:gd name="T35" fmla="*/ 18 h 20"/>
                  <a:gd name="T36" fmla="*/ 8 w 12"/>
                  <a:gd name="T37" fmla="*/ 18 h 20"/>
                  <a:gd name="T38" fmla="*/ 4 w 12"/>
                  <a:gd name="T39" fmla="*/ 16 h 20"/>
                  <a:gd name="T40" fmla="*/ 4 w 12"/>
                  <a:gd name="T41" fmla="*/ 16 h 20"/>
                  <a:gd name="T42" fmla="*/ 2 w 12"/>
                  <a:gd name="T43" fmla="*/ 12 h 20"/>
                  <a:gd name="T44" fmla="*/ 2 w 12"/>
                  <a:gd name="T45" fmla="*/ 12 h 20"/>
                  <a:gd name="T46" fmla="*/ 6 w 12"/>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0">
                    <a:moveTo>
                      <a:pt x="6" y="0"/>
                    </a:moveTo>
                    <a:lnTo>
                      <a:pt x="6" y="0"/>
                    </a:lnTo>
                    <a:lnTo>
                      <a:pt x="6" y="0"/>
                    </a:lnTo>
                    <a:lnTo>
                      <a:pt x="6" y="0"/>
                    </a:lnTo>
                    <a:lnTo>
                      <a:pt x="0" y="6"/>
                    </a:lnTo>
                    <a:lnTo>
                      <a:pt x="0" y="6"/>
                    </a:lnTo>
                    <a:lnTo>
                      <a:pt x="0" y="8"/>
                    </a:lnTo>
                    <a:lnTo>
                      <a:pt x="0" y="14"/>
                    </a:lnTo>
                    <a:lnTo>
                      <a:pt x="2" y="18"/>
                    </a:lnTo>
                    <a:lnTo>
                      <a:pt x="4" y="20"/>
                    </a:lnTo>
                    <a:lnTo>
                      <a:pt x="4" y="20"/>
                    </a:lnTo>
                    <a:lnTo>
                      <a:pt x="8" y="20"/>
                    </a:lnTo>
                    <a:lnTo>
                      <a:pt x="8" y="20"/>
                    </a:lnTo>
                    <a:lnTo>
                      <a:pt x="10" y="20"/>
                    </a:lnTo>
                    <a:lnTo>
                      <a:pt x="10" y="20"/>
                    </a:lnTo>
                    <a:lnTo>
                      <a:pt x="12" y="16"/>
                    </a:lnTo>
                    <a:lnTo>
                      <a:pt x="12" y="16"/>
                    </a:lnTo>
                    <a:lnTo>
                      <a:pt x="8" y="18"/>
                    </a:lnTo>
                    <a:lnTo>
                      <a:pt x="8" y="18"/>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0" name="Freeform 1639"/>
              <p:cNvSpPr>
                <a:spLocks/>
              </p:cNvSpPr>
              <p:nvPr/>
            </p:nvSpPr>
            <p:spPr bwMode="auto">
              <a:xfrm>
                <a:off x="4436" y="1208"/>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4 h 20"/>
                  <a:gd name="T16" fmla="*/ 2 w 12"/>
                  <a:gd name="T17" fmla="*/ 18 h 20"/>
                  <a:gd name="T18" fmla="*/ 4 w 12"/>
                  <a:gd name="T19" fmla="*/ 20 h 20"/>
                  <a:gd name="T20" fmla="*/ 4 w 12"/>
                  <a:gd name="T21" fmla="*/ 20 h 20"/>
                  <a:gd name="T22" fmla="*/ 8 w 12"/>
                  <a:gd name="T23" fmla="*/ 20 h 20"/>
                  <a:gd name="T24" fmla="*/ 8 w 12"/>
                  <a:gd name="T25" fmla="*/ 20 h 20"/>
                  <a:gd name="T26" fmla="*/ 10 w 12"/>
                  <a:gd name="T27" fmla="*/ 20 h 20"/>
                  <a:gd name="T28" fmla="*/ 10 w 12"/>
                  <a:gd name="T29" fmla="*/ 20 h 20"/>
                  <a:gd name="T30" fmla="*/ 12 w 12"/>
                  <a:gd name="T31" fmla="*/ 16 h 20"/>
                  <a:gd name="T32" fmla="*/ 12 w 12"/>
                  <a:gd name="T33" fmla="*/ 16 h 20"/>
                  <a:gd name="T34" fmla="*/ 8 w 12"/>
                  <a:gd name="T35" fmla="*/ 18 h 20"/>
                  <a:gd name="T36" fmla="*/ 8 w 12"/>
                  <a:gd name="T37" fmla="*/ 18 h 20"/>
                  <a:gd name="T38" fmla="*/ 4 w 12"/>
                  <a:gd name="T39" fmla="*/ 16 h 20"/>
                  <a:gd name="T40" fmla="*/ 4 w 12"/>
                  <a:gd name="T41" fmla="*/ 16 h 20"/>
                  <a:gd name="T42" fmla="*/ 2 w 12"/>
                  <a:gd name="T43" fmla="*/ 12 h 20"/>
                  <a:gd name="T44" fmla="*/ 2 w 12"/>
                  <a:gd name="T45" fmla="*/ 12 h 20"/>
                  <a:gd name="T46" fmla="*/ 6 w 12"/>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0">
                    <a:moveTo>
                      <a:pt x="6" y="0"/>
                    </a:moveTo>
                    <a:lnTo>
                      <a:pt x="6" y="0"/>
                    </a:lnTo>
                    <a:lnTo>
                      <a:pt x="6" y="0"/>
                    </a:lnTo>
                    <a:lnTo>
                      <a:pt x="6" y="0"/>
                    </a:lnTo>
                    <a:lnTo>
                      <a:pt x="0" y="6"/>
                    </a:lnTo>
                    <a:lnTo>
                      <a:pt x="0" y="6"/>
                    </a:lnTo>
                    <a:lnTo>
                      <a:pt x="0" y="8"/>
                    </a:lnTo>
                    <a:lnTo>
                      <a:pt x="0" y="14"/>
                    </a:lnTo>
                    <a:lnTo>
                      <a:pt x="2" y="18"/>
                    </a:lnTo>
                    <a:lnTo>
                      <a:pt x="4" y="20"/>
                    </a:lnTo>
                    <a:lnTo>
                      <a:pt x="4" y="20"/>
                    </a:lnTo>
                    <a:lnTo>
                      <a:pt x="8" y="20"/>
                    </a:lnTo>
                    <a:lnTo>
                      <a:pt x="8" y="20"/>
                    </a:lnTo>
                    <a:lnTo>
                      <a:pt x="10" y="20"/>
                    </a:lnTo>
                    <a:lnTo>
                      <a:pt x="10" y="20"/>
                    </a:lnTo>
                    <a:lnTo>
                      <a:pt x="12" y="16"/>
                    </a:lnTo>
                    <a:lnTo>
                      <a:pt x="12" y="16"/>
                    </a:lnTo>
                    <a:lnTo>
                      <a:pt x="8" y="18"/>
                    </a:lnTo>
                    <a:lnTo>
                      <a:pt x="8" y="18"/>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1" name="Freeform 1640"/>
              <p:cNvSpPr>
                <a:spLocks/>
              </p:cNvSpPr>
              <p:nvPr/>
            </p:nvSpPr>
            <p:spPr bwMode="auto">
              <a:xfrm>
                <a:off x="4436"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0 w 12"/>
                  <a:gd name="T13" fmla="*/ 6 h 20"/>
                  <a:gd name="T14" fmla="*/ 0 w 12"/>
                  <a:gd name="T15" fmla="*/ 6 h 20"/>
                  <a:gd name="T16" fmla="*/ 6 w 12"/>
                  <a:gd name="T17" fmla="*/ 0 h 20"/>
                  <a:gd name="T18" fmla="*/ 6 w 12"/>
                  <a:gd name="T19" fmla="*/ 0 h 20"/>
                  <a:gd name="T20" fmla="*/ 6 w 12"/>
                  <a:gd name="T21" fmla="*/ 0 h 20"/>
                  <a:gd name="T22" fmla="*/ 6 w 12"/>
                  <a:gd name="T23" fmla="*/ 0 h 20"/>
                  <a:gd name="T24" fmla="*/ 6 w 12"/>
                  <a:gd name="T25" fmla="*/ 0 h 20"/>
                  <a:gd name="T26" fmla="*/ 6 w 12"/>
                  <a:gd name="T27" fmla="*/ 0 h 20"/>
                  <a:gd name="T28" fmla="*/ 2 w 12"/>
                  <a:gd name="T29" fmla="*/ 12 h 20"/>
                  <a:gd name="T30" fmla="*/ 2 w 12"/>
                  <a:gd name="T31" fmla="*/ 12 h 20"/>
                  <a:gd name="T32" fmla="*/ 4 w 12"/>
                  <a:gd name="T33" fmla="*/ 16 h 20"/>
                  <a:gd name="T34" fmla="*/ 4 w 12"/>
                  <a:gd name="T35" fmla="*/ 16 h 20"/>
                  <a:gd name="T36" fmla="*/ 8 w 12"/>
                  <a:gd name="T37" fmla="*/ 18 h 20"/>
                  <a:gd name="T38" fmla="*/ 8 w 12"/>
                  <a:gd name="T39" fmla="*/ 18 h 20"/>
                  <a:gd name="T40" fmla="*/ 12 w 12"/>
                  <a:gd name="T41" fmla="*/ 16 h 20"/>
                  <a:gd name="T42" fmla="*/ 12 w 12"/>
                  <a:gd name="T43" fmla="*/ 16 h 20"/>
                  <a:gd name="T44" fmla="*/ 10 w 12"/>
                  <a:gd name="T45" fmla="*/ 20 h 20"/>
                  <a:gd name="T46" fmla="*/ 10 w 12"/>
                  <a:gd name="T47" fmla="*/ 20 h 20"/>
                  <a:gd name="T48" fmla="*/ 12 w 12"/>
                  <a:gd name="T49" fmla="*/ 18 h 20"/>
                  <a:gd name="T50" fmla="*/ 12 w 12"/>
                  <a:gd name="T51" fmla="*/ 16 h 20"/>
                  <a:gd name="T52" fmla="*/ 12 w 12"/>
                  <a:gd name="T53" fmla="*/ 16 h 20"/>
                  <a:gd name="T54" fmla="*/ 8 w 12"/>
                  <a:gd name="T55" fmla="*/ 16 h 20"/>
                  <a:gd name="T56" fmla="*/ 8 w 12"/>
                  <a:gd name="T57" fmla="*/ 16 h 20"/>
                  <a:gd name="T58" fmla="*/ 4 w 12"/>
                  <a:gd name="T59" fmla="*/ 16 h 20"/>
                  <a:gd name="T60" fmla="*/ 4 w 12"/>
                  <a:gd name="T61" fmla="*/ 16 h 20"/>
                  <a:gd name="T62" fmla="*/ 4 w 12"/>
                  <a:gd name="T63" fmla="*/ 12 h 20"/>
                  <a:gd name="T64" fmla="*/ 4 w 12"/>
                  <a:gd name="T65" fmla="*/ 12 h 20"/>
                  <a:gd name="T66" fmla="*/ 8 w 12"/>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0">
                    <a:moveTo>
                      <a:pt x="8" y="0"/>
                    </a:moveTo>
                    <a:lnTo>
                      <a:pt x="8" y="0"/>
                    </a:lnTo>
                    <a:lnTo>
                      <a:pt x="6" y="0"/>
                    </a:lnTo>
                    <a:lnTo>
                      <a:pt x="6" y="0"/>
                    </a:lnTo>
                    <a:lnTo>
                      <a:pt x="0" y="6"/>
                    </a:lnTo>
                    <a:lnTo>
                      <a:pt x="0" y="6"/>
                    </a:lnTo>
                    <a:lnTo>
                      <a:pt x="0" y="6"/>
                    </a:lnTo>
                    <a:lnTo>
                      <a:pt x="0" y="6"/>
                    </a:lnTo>
                    <a:lnTo>
                      <a:pt x="6" y="0"/>
                    </a:lnTo>
                    <a:lnTo>
                      <a:pt x="6" y="0"/>
                    </a:lnTo>
                    <a:lnTo>
                      <a:pt x="6" y="0"/>
                    </a:lnTo>
                    <a:lnTo>
                      <a:pt x="6" y="0"/>
                    </a:lnTo>
                    <a:lnTo>
                      <a:pt x="6" y="0"/>
                    </a:lnTo>
                    <a:lnTo>
                      <a:pt x="6" y="0"/>
                    </a:lnTo>
                    <a:lnTo>
                      <a:pt x="2" y="12"/>
                    </a:lnTo>
                    <a:lnTo>
                      <a:pt x="2" y="12"/>
                    </a:lnTo>
                    <a:lnTo>
                      <a:pt x="4" y="16"/>
                    </a:lnTo>
                    <a:lnTo>
                      <a:pt x="4" y="16"/>
                    </a:lnTo>
                    <a:lnTo>
                      <a:pt x="8" y="18"/>
                    </a:lnTo>
                    <a:lnTo>
                      <a:pt x="8" y="18"/>
                    </a:lnTo>
                    <a:lnTo>
                      <a:pt x="12" y="16"/>
                    </a:lnTo>
                    <a:lnTo>
                      <a:pt x="12" y="16"/>
                    </a:lnTo>
                    <a:lnTo>
                      <a:pt x="10" y="20"/>
                    </a:lnTo>
                    <a:lnTo>
                      <a:pt x="10" y="20"/>
                    </a:lnTo>
                    <a:lnTo>
                      <a:pt x="12" y="18"/>
                    </a:lnTo>
                    <a:lnTo>
                      <a:pt x="12" y="16"/>
                    </a:lnTo>
                    <a:lnTo>
                      <a:pt x="12" y="16"/>
                    </a:lnTo>
                    <a:lnTo>
                      <a:pt x="8" y="16"/>
                    </a:lnTo>
                    <a:lnTo>
                      <a:pt x="8" y="16"/>
                    </a:lnTo>
                    <a:lnTo>
                      <a:pt x="4" y="16"/>
                    </a:lnTo>
                    <a:lnTo>
                      <a:pt x="4" y="16"/>
                    </a:lnTo>
                    <a:lnTo>
                      <a:pt x="4" y="12"/>
                    </a:lnTo>
                    <a:lnTo>
                      <a:pt x="4" y="12"/>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2" name="Freeform 1641"/>
              <p:cNvSpPr>
                <a:spLocks/>
              </p:cNvSpPr>
              <p:nvPr/>
            </p:nvSpPr>
            <p:spPr bwMode="auto">
              <a:xfrm>
                <a:off x="4436" y="1208"/>
                <a:ext cx="12" cy="2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0 w 12"/>
                  <a:gd name="T13" fmla="*/ 6 h 20"/>
                  <a:gd name="T14" fmla="*/ 0 w 12"/>
                  <a:gd name="T15" fmla="*/ 6 h 20"/>
                  <a:gd name="T16" fmla="*/ 6 w 12"/>
                  <a:gd name="T17" fmla="*/ 0 h 20"/>
                  <a:gd name="T18" fmla="*/ 6 w 12"/>
                  <a:gd name="T19" fmla="*/ 0 h 20"/>
                  <a:gd name="T20" fmla="*/ 6 w 12"/>
                  <a:gd name="T21" fmla="*/ 0 h 20"/>
                  <a:gd name="T22" fmla="*/ 6 w 12"/>
                  <a:gd name="T23" fmla="*/ 0 h 20"/>
                  <a:gd name="T24" fmla="*/ 6 w 12"/>
                  <a:gd name="T25" fmla="*/ 0 h 20"/>
                  <a:gd name="T26" fmla="*/ 6 w 12"/>
                  <a:gd name="T27" fmla="*/ 0 h 20"/>
                  <a:gd name="T28" fmla="*/ 2 w 12"/>
                  <a:gd name="T29" fmla="*/ 12 h 20"/>
                  <a:gd name="T30" fmla="*/ 2 w 12"/>
                  <a:gd name="T31" fmla="*/ 12 h 20"/>
                  <a:gd name="T32" fmla="*/ 4 w 12"/>
                  <a:gd name="T33" fmla="*/ 16 h 20"/>
                  <a:gd name="T34" fmla="*/ 4 w 12"/>
                  <a:gd name="T35" fmla="*/ 16 h 20"/>
                  <a:gd name="T36" fmla="*/ 8 w 12"/>
                  <a:gd name="T37" fmla="*/ 18 h 20"/>
                  <a:gd name="T38" fmla="*/ 8 w 12"/>
                  <a:gd name="T39" fmla="*/ 18 h 20"/>
                  <a:gd name="T40" fmla="*/ 12 w 12"/>
                  <a:gd name="T41" fmla="*/ 16 h 20"/>
                  <a:gd name="T42" fmla="*/ 12 w 12"/>
                  <a:gd name="T43" fmla="*/ 16 h 20"/>
                  <a:gd name="T44" fmla="*/ 10 w 12"/>
                  <a:gd name="T45" fmla="*/ 20 h 20"/>
                  <a:gd name="T46" fmla="*/ 10 w 12"/>
                  <a:gd name="T47" fmla="*/ 20 h 20"/>
                  <a:gd name="T48" fmla="*/ 12 w 12"/>
                  <a:gd name="T49" fmla="*/ 18 h 20"/>
                  <a:gd name="T50" fmla="*/ 12 w 12"/>
                  <a:gd name="T51" fmla="*/ 16 h 20"/>
                  <a:gd name="T52" fmla="*/ 12 w 12"/>
                  <a:gd name="T53" fmla="*/ 16 h 20"/>
                  <a:gd name="T54" fmla="*/ 8 w 12"/>
                  <a:gd name="T55" fmla="*/ 16 h 20"/>
                  <a:gd name="T56" fmla="*/ 8 w 12"/>
                  <a:gd name="T57" fmla="*/ 16 h 20"/>
                  <a:gd name="T58" fmla="*/ 4 w 12"/>
                  <a:gd name="T59" fmla="*/ 16 h 20"/>
                  <a:gd name="T60" fmla="*/ 4 w 12"/>
                  <a:gd name="T61" fmla="*/ 16 h 20"/>
                  <a:gd name="T62" fmla="*/ 4 w 12"/>
                  <a:gd name="T63" fmla="*/ 12 h 20"/>
                  <a:gd name="T64" fmla="*/ 4 w 12"/>
                  <a:gd name="T65" fmla="*/ 12 h 20"/>
                  <a:gd name="T66" fmla="*/ 8 w 12"/>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0">
                    <a:moveTo>
                      <a:pt x="8" y="0"/>
                    </a:moveTo>
                    <a:lnTo>
                      <a:pt x="8" y="0"/>
                    </a:lnTo>
                    <a:lnTo>
                      <a:pt x="6" y="0"/>
                    </a:lnTo>
                    <a:lnTo>
                      <a:pt x="6" y="0"/>
                    </a:lnTo>
                    <a:lnTo>
                      <a:pt x="0" y="6"/>
                    </a:lnTo>
                    <a:lnTo>
                      <a:pt x="0" y="6"/>
                    </a:lnTo>
                    <a:lnTo>
                      <a:pt x="0" y="6"/>
                    </a:lnTo>
                    <a:lnTo>
                      <a:pt x="0" y="6"/>
                    </a:lnTo>
                    <a:lnTo>
                      <a:pt x="6" y="0"/>
                    </a:lnTo>
                    <a:lnTo>
                      <a:pt x="6" y="0"/>
                    </a:lnTo>
                    <a:lnTo>
                      <a:pt x="6" y="0"/>
                    </a:lnTo>
                    <a:lnTo>
                      <a:pt x="6" y="0"/>
                    </a:lnTo>
                    <a:lnTo>
                      <a:pt x="6" y="0"/>
                    </a:lnTo>
                    <a:lnTo>
                      <a:pt x="6" y="0"/>
                    </a:lnTo>
                    <a:lnTo>
                      <a:pt x="2" y="12"/>
                    </a:lnTo>
                    <a:lnTo>
                      <a:pt x="2" y="12"/>
                    </a:lnTo>
                    <a:lnTo>
                      <a:pt x="4" y="16"/>
                    </a:lnTo>
                    <a:lnTo>
                      <a:pt x="4" y="16"/>
                    </a:lnTo>
                    <a:lnTo>
                      <a:pt x="8" y="18"/>
                    </a:lnTo>
                    <a:lnTo>
                      <a:pt x="8" y="18"/>
                    </a:lnTo>
                    <a:lnTo>
                      <a:pt x="12" y="16"/>
                    </a:lnTo>
                    <a:lnTo>
                      <a:pt x="12" y="16"/>
                    </a:lnTo>
                    <a:lnTo>
                      <a:pt x="10" y="20"/>
                    </a:lnTo>
                    <a:lnTo>
                      <a:pt x="10" y="20"/>
                    </a:lnTo>
                    <a:lnTo>
                      <a:pt x="12" y="18"/>
                    </a:lnTo>
                    <a:lnTo>
                      <a:pt x="12" y="16"/>
                    </a:lnTo>
                    <a:lnTo>
                      <a:pt x="12" y="16"/>
                    </a:lnTo>
                    <a:lnTo>
                      <a:pt x="8" y="16"/>
                    </a:lnTo>
                    <a:lnTo>
                      <a:pt x="8" y="16"/>
                    </a:lnTo>
                    <a:lnTo>
                      <a:pt x="4" y="16"/>
                    </a:lnTo>
                    <a:lnTo>
                      <a:pt x="4"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3" name="Freeform 1642"/>
              <p:cNvSpPr>
                <a:spLocks noEditPoints="1"/>
              </p:cNvSpPr>
              <p:nvPr/>
            </p:nvSpPr>
            <p:spPr bwMode="auto">
              <a:xfrm>
                <a:off x="4550" y="1198"/>
                <a:ext cx="20" cy="14"/>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0 w 20"/>
                  <a:gd name="T13" fmla="*/ 8 h 14"/>
                  <a:gd name="T14" fmla="*/ 10 w 20"/>
                  <a:gd name="T15" fmla="*/ 8 h 14"/>
                  <a:gd name="T16" fmla="*/ 12 w 20"/>
                  <a:gd name="T17" fmla="*/ 8 h 14"/>
                  <a:gd name="T18" fmla="*/ 12 w 20"/>
                  <a:gd name="T19" fmla="*/ 8 h 14"/>
                  <a:gd name="T20" fmla="*/ 6 w 20"/>
                  <a:gd name="T21" fmla="*/ 12 h 14"/>
                  <a:gd name="T22" fmla="*/ 6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0" y="8"/>
                    </a:lnTo>
                    <a:lnTo>
                      <a:pt x="10" y="8"/>
                    </a:lnTo>
                    <a:lnTo>
                      <a:pt x="12" y="8"/>
                    </a:lnTo>
                    <a:lnTo>
                      <a:pt x="12" y="8"/>
                    </a:lnTo>
                    <a:lnTo>
                      <a:pt x="6" y="12"/>
                    </a:lnTo>
                    <a:lnTo>
                      <a:pt x="6" y="12"/>
                    </a:lnTo>
                    <a:lnTo>
                      <a:pt x="6" y="10"/>
                    </a:lnTo>
                    <a:lnTo>
                      <a:pt x="6"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4" name="Freeform 1643"/>
              <p:cNvSpPr>
                <a:spLocks/>
              </p:cNvSpPr>
              <p:nvPr/>
            </p:nvSpPr>
            <p:spPr bwMode="auto">
              <a:xfrm>
                <a:off x="4556" y="1204"/>
                <a:ext cx="6" cy="6"/>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4 w 6"/>
                  <a:gd name="T13" fmla="*/ 2 h 6"/>
                  <a:gd name="T14" fmla="*/ 4 w 6"/>
                  <a:gd name="T15" fmla="*/ 2 h 6"/>
                  <a:gd name="T16" fmla="*/ 6 w 6"/>
                  <a:gd name="T17" fmla="*/ 2 h 6"/>
                  <a:gd name="T18" fmla="*/ 6 w 6"/>
                  <a:gd name="T19" fmla="*/ 2 h 6"/>
                  <a:gd name="T20" fmla="*/ 0 w 6"/>
                  <a:gd name="T21" fmla="*/ 6 h 6"/>
                  <a:gd name="T22" fmla="*/ 0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4" y="2"/>
                    </a:lnTo>
                    <a:lnTo>
                      <a:pt x="4" y="2"/>
                    </a:lnTo>
                    <a:lnTo>
                      <a:pt x="6" y="2"/>
                    </a:lnTo>
                    <a:lnTo>
                      <a:pt x="6" y="2"/>
                    </a:lnTo>
                    <a:lnTo>
                      <a:pt x="0" y="6"/>
                    </a:lnTo>
                    <a:lnTo>
                      <a:pt x="0"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5" name="Freeform 1644"/>
              <p:cNvSpPr>
                <a:spLocks/>
              </p:cNvSpPr>
              <p:nvPr/>
            </p:nvSpPr>
            <p:spPr bwMode="auto">
              <a:xfrm>
                <a:off x="4550" y="1198"/>
                <a:ext cx="20" cy="14"/>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6" name="Freeform 1645"/>
              <p:cNvSpPr>
                <a:spLocks/>
              </p:cNvSpPr>
              <p:nvPr/>
            </p:nvSpPr>
            <p:spPr bwMode="auto">
              <a:xfrm>
                <a:off x="4504"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7" name="Freeform 1646"/>
              <p:cNvSpPr>
                <a:spLocks/>
              </p:cNvSpPr>
              <p:nvPr/>
            </p:nvSpPr>
            <p:spPr bwMode="auto">
              <a:xfrm>
                <a:off x="4504" y="1188"/>
                <a:ext cx="20" cy="18"/>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6 w 20"/>
                  <a:gd name="T15" fmla="*/ 6 h 18"/>
                  <a:gd name="T16" fmla="*/ 8 w 20"/>
                  <a:gd name="T17" fmla="*/ 6 h 18"/>
                  <a:gd name="T18" fmla="*/ 8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6" y="6"/>
                    </a:lnTo>
                    <a:lnTo>
                      <a:pt x="8" y="6"/>
                    </a:lnTo>
                    <a:lnTo>
                      <a:pt x="8"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8" name="Freeform 1647"/>
              <p:cNvSpPr>
                <a:spLocks/>
              </p:cNvSpPr>
              <p:nvPr/>
            </p:nvSpPr>
            <p:spPr bwMode="auto">
              <a:xfrm>
                <a:off x="4600" y="1192"/>
                <a:ext cx="10" cy="8"/>
              </a:xfrm>
              <a:custGeom>
                <a:avLst/>
                <a:gdLst>
                  <a:gd name="T0" fmla="*/ 10 w 10"/>
                  <a:gd name="T1" fmla="*/ 0 h 8"/>
                  <a:gd name="T2" fmla="*/ 10 w 10"/>
                  <a:gd name="T3" fmla="*/ 0 h 8"/>
                  <a:gd name="T4" fmla="*/ 0 w 10"/>
                  <a:gd name="T5" fmla="*/ 6 h 8"/>
                  <a:gd name="T6" fmla="*/ 0 w 10"/>
                  <a:gd name="T7" fmla="*/ 6 h 8"/>
                  <a:gd name="T8" fmla="*/ 0 w 10"/>
                  <a:gd name="T9" fmla="*/ 8 h 8"/>
                  <a:gd name="T10" fmla="*/ 0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0" y="8"/>
                    </a:lnTo>
                    <a:lnTo>
                      <a:pt x="0" y="8"/>
                    </a:lnTo>
                    <a:lnTo>
                      <a:pt x="6" y="4"/>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29" name="Freeform 1648"/>
              <p:cNvSpPr>
                <a:spLocks/>
              </p:cNvSpPr>
              <p:nvPr/>
            </p:nvSpPr>
            <p:spPr bwMode="auto">
              <a:xfrm>
                <a:off x="4600" y="1192"/>
                <a:ext cx="10" cy="8"/>
              </a:xfrm>
              <a:custGeom>
                <a:avLst/>
                <a:gdLst>
                  <a:gd name="T0" fmla="*/ 10 w 10"/>
                  <a:gd name="T1" fmla="*/ 0 h 8"/>
                  <a:gd name="T2" fmla="*/ 10 w 10"/>
                  <a:gd name="T3" fmla="*/ 0 h 8"/>
                  <a:gd name="T4" fmla="*/ 0 w 10"/>
                  <a:gd name="T5" fmla="*/ 6 h 8"/>
                  <a:gd name="T6" fmla="*/ 0 w 10"/>
                  <a:gd name="T7" fmla="*/ 6 h 8"/>
                  <a:gd name="T8" fmla="*/ 0 w 10"/>
                  <a:gd name="T9" fmla="*/ 8 h 8"/>
                  <a:gd name="T10" fmla="*/ 0 w 10"/>
                  <a:gd name="T11" fmla="*/ 8 h 8"/>
                  <a:gd name="T12" fmla="*/ 6 w 10"/>
                  <a:gd name="T13" fmla="*/ 4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6"/>
                    </a:lnTo>
                    <a:lnTo>
                      <a:pt x="0" y="6"/>
                    </a:lnTo>
                    <a:lnTo>
                      <a:pt x="0" y="8"/>
                    </a:lnTo>
                    <a:lnTo>
                      <a:pt x="0" y="8"/>
                    </a:lnTo>
                    <a:lnTo>
                      <a:pt x="6" y="4"/>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0" name="Freeform 1649"/>
              <p:cNvSpPr>
                <a:spLocks/>
              </p:cNvSpPr>
              <p:nvPr/>
            </p:nvSpPr>
            <p:spPr bwMode="auto">
              <a:xfrm>
                <a:off x="4544"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1" name="Freeform 1650"/>
              <p:cNvSpPr>
                <a:spLocks/>
              </p:cNvSpPr>
              <p:nvPr/>
            </p:nvSpPr>
            <p:spPr bwMode="auto">
              <a:xfrm>
                <a:off x="4544" y="1188"/>
                <a:ext cx="8" cy="6"/>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2" name="Freeform 1651"/>
              <p:cNvSpPr>
                <a:spLocks/>
              </p:cNvSpPr>
              <p:nvPr/>
            </p:nvSpPr>
            <p:spPr bwMode="auto">
              <a:xfrm>
                <a:off x="4560"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3" name="Freeform 1652"/>
              <p:cNvSpPr>
                <a:spLocks/>
              </p:cNvSpPr>
              <p:nvPr/>
            </p:nvSpPr>
            <p:spPr bwMode="auto">
              <a:xfrm>
                <a:off x="4560" y="1238"/>
                <a:ext cx="4" cy="2"/>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4" name="Freeform 1653"/>
              <p:cNvSpPr>
                <a:spLocks/>
              </p:cNvSpPr>
              <p:nvPr/>
            </p:nvSpPr>
            <p:spPr bwMode="auto">
              <a:xfrm>
                <a:off x="4556" y="1204"/>
                <a:ext cx="4" cy="6"/>
              </a:xfrm>
              <a:custGeom>
                <a:avLst/>
                <a:gdLst>
                  <a:gd name="T0" fmla="*/ 2 w 4"/>
                  <a:gd name="T1" fmla="*/ 0 h 6"/>
                  <a:gd name="T2" fmla="*/ 2 w 4"/>
                  <a:gd name="T3" fmla="*/ 0 h 6"/>
                  <a:gd name="T4" fmla="*/ 0 w 4"/>
                  <a:gd name="T5" fmla="*/ 2 h 6"/>
                  <a:gd name="T6" fmla="*/ 0 w 4"/>
                  <a:gd name="T7" fmla="*/ 2 h 6"/>
                  <a:gd name="T8" fmla="*/ 0 w 4"/>
                  <a:gd name="T9" fmla="*/ 2 h 6"/>
                  <a:gd name="T10" fmla="*/ 0 w 4"/>
                  <a:gd name="T11" fmla="*/ 2 h 6"/>
                  <a:gd name="T12" fmla="*/ 2 w 4"/>
                  <a:gd name="T13" fmla="*/ 6 h 6"/>
                  <a:gd name="T14" fmla="*/ 2 w 4"/>
                  <a:gd name="T15" fmla="*/ 6 h 6"/>
                  <a:gd name="T16" fmla="*/ 4 w 4"/>
                  <a:gd name="T17" fmla="*/ 2 h 6"/>
                  <a:gd name="T18" fmla="*/ 4 w 4"/>
                  <a:gd name="T19" fmla="*/ 2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lnTo>
                      <a:pt x="2" y="0"/>
                    </a:lnTo>
                    <a:lnTo>
                      <a:pt x="0" y="2"/>
                    </a:lnTo>
                    <a:lnTo>
                      <a:pt x="0" y="2"/>
                    </a:lnTo>
                    <a:lnTo>
                      <a:pt x="0" y="2"/>
                    </a:lnTo>
                    <a:lnTo>
                      <a:pt x="0" y="2"/>
                    </a:lnTo>
                    <a:lnTo>
                      <a:pt x="2" y="6"/>
                    </a:lnTo>
                    <a:lnTo>
                      <a:pt x="2" y="6"/>
                    </a:lnTo>
                    <a:lnTo>
                      <a:pt x="4" y="2"/>
                    </a:lnTo>
                    <a:lnTo>
                      <a:pt x="4"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5" name="Freeform 1654"/>
              <p:cNvSpPr>
                <a:spLocks/>
              </p:cNvSpPr>
              <p:nvPr/>
            </p:nvSpPr>
            <p:spPr bwMode="auto">
              <a:xfrm>
                <a:off x="4556" y="1204"/>
                <a:ext cx="4" cy="6"/>
              </a:xfrm>
              <a:custGeom>
                <a:avLst/>
                <a:gdLst>
                  <a:gd name="T0" fmla="*/ 2 w 4"/>
                  <a:gd name="T1" fmla="*/ 0 h 6"/>
                  <a:gd name="T2" fmla="*/ 2 w 4"/>
                  <a:gd name="T3" fmla="*/ 0 h 6"/>
                  <a:gd name="T4" fmla="*/ 0 w 4"/>
                  <a:gd name="T5" fmla="*/ 2 h 6"/>
                  <a:gd name="T6" fmla="*/ 0 w 4"/>
                  <a:gd name="T7" fmla="*/ 2 h 6"/>
                  <a:gd name="T8" fmla="*/ 0 w 4"/>
                  <a:gd name="T9" fmla="*/ 2 h 6"/>
                  <a:gd name="T10" fmla="*/ 0 w 4"/>
                  <a:gd name="T11" fmla="*/ 2 h 6"/>
                  <a:gd name="T12" fmla="*/ 2 w 4"/>
                  <a:gd name="T13" fmla="*/ 6 h 6"/>
                  <a:gd name="T14" fmla="*/ 2 w 4"/>
                  <a:gd name="T15" fmla="*/ 6 h 6"/>
                  <a:gd name="T16" fmla="*/ 4 w 4"/>
                  <a:gd name="T17" fmla="*/ 2 h 6"/>
                  <a:gd name="T18" fmla="*/ 4 w 4"/>
                  <a:gd name="T19" fmla="*/ 2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lnTo>
                      <a:pt x="2" y="0"/>
                    </a:lnTo>
                    <a:lnTo>
                      <a:pt x="0" y="2"/>
                    </a:lnTo>
                    <a:lnTo>
                      <a:pt x="0" y="2"/>
                    </a:lnTo>
                    <a:lnTo>
                      <a:pt x="0" y="2"/>
                    </a:lnTo>
                    <a:lnTo>
                      <a:pt x="0" y="2"/>
                    </a:lnTo>
                    <a:lnTo>
                      <a:pt x="2" y="6"/>
                    </a:lnTo>
                    <a:lnTo>
                      <a:pt x="2" y="6"/>
                    </a:lnTo>
                    <a:lnTo>
                      <a:pt x="4" y="2"/>
                    </a:lnTo>
                    <a:lnTo>
                      <a:pt x="4"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6" name="Freeform 1655"/>
              <p:cNvSpPr>
                <a:spLocks/>
              </p:cNvSpPr>
              <p:nvPr/>
            </p:nvSpPr>
            <p:spPr bwMode="auto">
              <a:xfrm>
                <a:off x="4556"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4 w 6"/>
                  <a:gd name="T13" fmla="*/ 2 h 2"/>
                  <a:gd name="T14" fmla="*/ 4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4" y="2"/>
                    </a:lnTo>
                    <a:lnTo>
                      <a:pt x="4" y="2"/>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7" name="Freeform 1656"/>
              <p:cNvSpPr>
                <a:spLocks/>
              </p:cNvSpPr>
              <p:nvPr/>
            </p:nvSpPr>
            <p:spPr bwMode="auto">
              <a:xfrm>
                <a:off x="4556" y="1204"/>
                <a:ext cx="6" cy="2"/>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4 w 6"/>
                  <a:gd name="T13" fmla="*/ 2 h 2"/>
                  <a:gd name="T14" fmla="*/ 4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4" y="2"/>
                    </a:lnTo>
                    <a:lnTo>
                      <a:pt x="4"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8" name="Freeform 1657"/>
              <p:cNvSpPr>
                <a:spLocks/>
              </p:cNvSpPr>
              <p:nvPr/>
            </p:nvSpPr>
            <p:spPr bwMode="auto">
              <a:xfrm>
                <a:off x="5080" y="116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39" name="Freeform 1658"/>
              <p:cNvSpPr>
                <a:spLocks/>
              </p:cNvSpPr>
              <p:nvPr/>
            </p:nvSpPr>
            <p:spPr bwMode="auto">
              <a:xfrm>
                <a:off x="5316" y="116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0" name="Freeform 1659"/>
              <p:cNvSpPr>
                <a:spLocks/>
              </p:cNvSpPr>
              <p:nvPr/>
            </p:nvSpPr>
            <p:spPr bwMode="auto">
              <a:xfrm>
                <a:off x="540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1" name="Freeform 1660"/>
              <p:cNvSpPr>
                <a:spLocks/>
              </p:cNvSpPr>
              <p:nvPr/>
            </p:nvSpPr>
            <p:spPr bwMode="auto">
              <a:xfrm>
                <a:off x="5500"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2" name="Freeform 1661"/>
              <p:cNvSpPr>
                <a:spLocks/>
              </p:cNvSpPr>
              <p:nvPr/>
            </p:nvSpPr>
            <p:spPr bwMode="auto">
              <a:xfrm>
                <a:off x="5170"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3" name="Freeform 1662"/>
              <p:cNvSpPr>
                <a:spLocks/>
              </p:cNvSpPr>
              <p:nvPr/>
            </p:nvSpPr>
            <p:spPr bwMode="auto">
              <a:xfrm>
                <a:off x="5170" y="1162"/>
                <a:ext cx="48" cy="144"/>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4" name="Freeform 1663"/>
              <p:cNvSpPr>
                <a:spLocks/>
              </p:cNvSpPr>
              <p:nvPr/>
            </p:nvSpPr>
            <p:spPr bwMode="auto">
              <a:xfrm>
                <a:off x="5230"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5" name="Freeform 1664"/>
              <p:cNvSpPr>
                <a:spLocks/>
              </p:cNvSpPr>
              <p:nvPr/>
            </p:nvSpPr>
            <p:spPr bwMode="auto">
              <a:xfrm>
                <a:off x="5230" y="1162"/>
                <a:ext cx="48" cy="144"/>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6" name="Freeform 1665"/>
              <p:cNvSpPr>
                <a:spLocks noEditPoints="1"/>
              </p:cNvSpPr>
              <p:nvPr/>
            </p:nvSpPr>
            <p:spPr bwMode="auto">
              <a:xfrm>
                <a:off x="5590" y="1158"/>
                <a:ext cx="98" cy="148"/>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7" name="Freeform 1666"/>
              <p:cNvSpPr>
                <a:spLocks noEditPoints="1"/>
              </p:cNvSpPr>
              <p:nvPr/>
            </p:nvSpPr>
            <p:spPr bwMode="auto">
              <a:xfrm>
                <a:off x="5726" y="1158"/>
                <a:ext cx="100" cy="148"/>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8" name="Freeform 1667"/>
              <p:cNvSpPr>
                <a:spLocks/>
              </p:cNvSpPr>
              <p:nvPr/>
            </p:nvSpPr>
            <p:spPr bwMode="auto">
              <a:xfrm>
                <a:off x="5866"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49" name="Freeform 1668"/>
              <p:cNvSpPr>
                <a:spLocks/>
              </p:cNvSpPr>
              <p:nvPr/>
            </p:nvSpPr>
            <p:spPr bwMode="auto">
              <a:xfrm>
                <a:off x="5958" y="116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0" name="Freeform 1669"/>
              <p:cNvSpPr>
                <a:spLocks/>
              </p:cNvSpPr>
              <p:nvPr/>
            </p:nvSpPr>
            <p:spPr bwMode="auto">
              <a:xfrm>
                <a:off x="604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1" name="Freeform 1670"/>
              <p:cNvSpPr>
                <a:spLocks noEditPoints="1"/>
              </p:cNvSpPr>
              <p:nvPr/>
            </p:nvSpPr>
            <p:spPr bwMode="auto">
              <a:xfrm>
                <a:off x="5678" y="964"/>
                <a:ext cx="98" cy="150"/>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2" name="Freeform 1671"/>
              <p:cNvSpPr>
                <a:spLocks/>
              </p:cNvSpPr>
              <p:nvPr/>
            </p:nvSpPr>
            <p:spPr bwMode="auto">
              <a:xfrm>
                <a:off x="5818"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3" name="Freeform 1672"/>
              <p:cNvSpPr>
                <a:spLocks/>
              </p:cNvSpPr>
              <p:nvPr/>
            </p:nvSpPr>
            <p:spPr bwMode="auto">
              <a:xfrm>
                <a:off x="591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4" name="Freeform 1673"/>
              <p:cNvSpPr>
                <a:spLocks/>
              </p:cNvSpPr>
              <p:nvPr/>
            </p:nvSpPr>
            <p:spPr bwMode="auto">
              <a:xfrm>
                <a:off x="600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5" name="Freeform 1674"/>
              <p:cNvSpPr>
                <a:spLocks/>
              </p:cNvSpPr>
              <p:nvPr/>
            </p:nvSpPr>
            <p:spPr bwMode="auto">
              <a:xfrm>
                <a:off x="609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6" name="Freeform 1675"/>
              <p:cNvSpPr>
                <a:spLocks/>
              </p:cNvSpPr>
              <p:nvPr/>
            </p:nvSpPr>
            <p:spPr bwMode="auto">
              <a:xfrm>
                <a:off x="6336"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7" name="Freeform 1676"/>
              <p:cNvSpPr>
                <a:spLocks/>
              </p:cNvSpPr>
              <p:nvPr/>
            </p:nvSpPr>
            <p:spPr bwMode="auto">
              <a:xfrm>
                <a:off x="642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8" name="Freeform 1677"/>
              <p:cNvSpPr>
                <a:spLocks/>
              </p:cNvSpPr>
              <p:nvPr/>
            </p:nvSpPr>
            <p:spPr bwMode="auto">
              <a:xfrm>
                <a:off x="6522"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59" name="Freeform 1678"/>
              <p:cNvSpPr>
                <a:spLocks/>
              </p:cNvSpPr>
              <p:nvPr/>
            </p:nvSpPr>
            <p:spPr bwMode="auto">
              <a:xfrm>
                <a:off x="6614"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0" name="Freeform 1679"/>
              <p:cNvSpPr>
                <a:spLocks/>
              </p:cNvSpPr>
              <p:nvPr/>
            </p:nvSpPr>
            <p:spPr bwMode="auto">
              <a:xfrm>
                <a:off x="6188" y="968"/>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1" name="Freeform 1680"/>
              <p:cNvSpPr>
                <a:spLocks/>
              </p:cNvSpPr>
              <p:nvPr/>
            </p:nvSpPr>
            <p:spPr bwMode="auto">
              <a:xfrm>
                <a:off x="6188" y="968"/>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2" name="Freeform 1681"/>
              <p:cNvSpPr>
                <a:spLocks/>
              </p:cNvSpPr>
              <p:nvPr/>
            </p:nvSpPr>
            <p:spPr bwMode="auto">
              <a:xfrm>
                <a:off x="6248"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3" name="Freeform 1682"/>
              <p:cNvSpPr>
                <a:spLocks/>
              </p:cNvSpPr>
              <p:nvPr/>
            </p:nvSpPr>
            <p:spPr bwMode="auto">
              <a:xfrm>
                <a:off x="6248" y="968"/>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4" name="Freeform 1683"/>
              <p:cNvSpPr>
                <a:spLocks/>
              </p:cNvSpPr>
              <p:nvPr/>
            </p:nvSpPr>
            <p:spPr bwMode="auto">
              <a:xfrm>
                <a:off x="6936"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5" name="Freeform 1684"/>
              <p:cNvSpPr>
                <a:spLocks/>
              </p:cNvSpPr>
              <p:nvPr/>
            </p:nvSpPr>
            <p:spPr bwMode="auto">
              <a:xfrm>
                <a:off x="6936" y="968"/>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6" name="Freeform 1685"/>
              <p:cNvSpPr>
                <a:spLocks/>
              </p:cNvSpPr>
              <p:nvPr/>
            </p:nvSpPr>
            <p:spPr bwMode="auto">
              <a:xfrm>
                <a:off x="6996"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7" name="Freeform 1686"/>
              <p:cNvSpPr>
                <a:spLocks/>
              </p:cNvSpPr>
              <p:nvPr/>
            </p:nvSpPr>
            <p:spPr bwMode="auto">
              <a:xfrm>
                <a:off x="6996" y="968"/>
                <a:ext cx="48" cy="146"/>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8" name="Freeform 1687"/>
              <p:cNvSpPr>
                <a:spLocks/>
              </p:cNvSpPr>
              <p:nvPr/>
            </p:nvSpPr>
            <p:spPr bwMode="auto">
              <a:xfrm>
                <a:off x="708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69" name="Freeform 1688"/>
              <p:cNvSpPr>
                <a:spLocks/>
              </p:cNvSpPr>
              <p:nvPr/>
            </p:nvSpPr>
            <p:spPr bwMode="auto">
              <a:xfrm>
                <a:off x="717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0" name="Freeform 1689"/>
              <p:cNvSpPr>
                <a:spLocks/>
              </p:cNvSpPr>
              <p:nvPr/>
            </p:nvSpPr>
            <p:spPr bwMode="auto">
              <a:xfrm>
                <a:off x="7270"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1" name="Freeform 1690"/>
              <p:cNvSpPr>
                <a:spLocks/>
              </p:cNvSpPr>
              <p:nvPr/>
            </p:nvSpPr>
            <p:spPr bwMode="auto">
              <a:xfrm>
                <a:off x="7510"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2" name="Freeform 1691"/>
              <p:cNvSpPr>
                <a:spLocks/>
              </p:cNvSpPr>
              <p:nvPr/>
            </p:nvSpPr>
            <p:spPr bwMode="auto">
              <a:xfrm>
                <a:off x="7360"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3" name="Freeform 1692"/>
              <p:cNvSpPr>
                <a:spLocks/>
              </p:cNvSpPr>
              <p:nvPr/>
            </p:nvSpPr>
            <p:spPr bwMode="auto">
              <a:xfrm>
                <a:off x="7360" y="968"/>
                <a:ext cx="48" cy="146"/>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4" name="Freeform 1693"/>
              <p:cNvSpPr>
                <a:spLocks/>
              </p:cNvSpPr>
              <p:nvPr/>
            </p:nvSpPr>
            <p:spPr bwMode="auto">
              <a:xfrm>
                <a:off x="7422" y="968"/>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5" name="Freeform 1694"/>
              <p:cNvSpPr>
                <a:spLocks/>
              </p:cNvSpPr>
              <p:nvPr/>
            </p:nvSpPr>
            <p:spPr bwMode="auto">
              <a:xfrm>
                <a:off x="7422" y="968"/>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6" name="Freeform 1695"/>
              <p:cNvSpPr>
                <a:spLocks noEditPoints="1"/>
              </p:cNvSpPr>
              <p:nvPr/>
            </p:nvSpPr>
            <p:spPr bwMode="auto">
              <a:xfrm>
                <a:off x="5668" y="778"/>
                <a:ext cx="188" cy="146"/>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7" name="Freeform 1696"/>
              <p:cNvSpPr>
                <a:spLocks/>
              </p:cNvSpPr>
              <p:nvPr/>
            </p:nvSpPr>
            <p:spPr bwMode="auto">
              <a:xfrm>
                <a:off x="5772" y="882"/>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8" name="Freeform 1697"/>
              <p:cNvSpPr>
                <a:spLocks/>
              </p:cNvSpPr>
              <p:nvPr/>
            </p:nvSpPr>
            <p:spPr bwMode="auto">
              <a:xfrm>
                <a:off x="5674" y="878"/>
                <a:ext cx="18" cy="22"/>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79" name="Freeform 1698"/>
              <p:cNvSpPr>
                <a:spLocks/>
              </p:cNvSpPr>
              <p:nvPr/>
            </p:nvSpPr>
            <p:spPr bwMode="auto">
              <a:xfrm>
                <a:off x="5670" y="828"/>
                <a:ext cx="12" cy="2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0" name="Freeform 1699"/>
              <p:cNvSpPr>
                <a:spLocks/>
              </p:cNvSpPr>
              <p:nvPr/>
            </p:nvSpPr>
            <p:spPr bwMode="auto">
              <a:xfrm>
                <a:off x="5682" y="782"/>
                <a:ext cx="172" cy="138"/>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1" name="Freeform 1700"/>
              <p:cNvSpPr>
                <a:spLocks/>
              </p:cNvSpPr>
              <p:nvPr/>
            </p:nvSpPr>
            <p:spPr bwMode="auto">
              <a:xfrm>
                <a:off x="5668" y="778"/>
                <a:ext cx="188" cy="146"/>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2" name="Freeform 1701"/>
              <p:cNvSpPr>
                <a:spLocks/>
              </p:cNvSpPr>
              <p:nvPr/>
            </p:nvSpPr>
            <p:spPr bwMode="auto">
              <a:xfrm>
                <a:off x="5674" y="878"/>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3" name="Freeform 1702"/>
              <p:cNvSpPr>
                <a:spLocks/>
              </p:cNvSpPr>
              <p:nvPr/>
            </p:nvSpPr>
            <p:spPr bwMode="auto">
              <a:xfrm>
                <a:off x="5674" y="878"/>
                <a:ext cx="18" cy="22"/>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4" name="Freeform 1703"/>
              <p:cNvSpPr>
                <a:spLocks/>
              </p:cNvSpPr>
              <p:nvPr/>
            </p:nvSpPr>
            <p:spPr bwMode="auto">
              <a:xfrm>
                <a:off x="5676"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5" name="Freeform 1704"/>
              <p:cNvSpPr>
                <a:spLocks/>
              </p:cNvSpPr>
              <p:nvPr/>
            </p:nvSpPr>
            <p:spPr bwMode="auto">
              <a:xfrm>
                <a:off x="5676" y="878"/>
                <a:ext cx="16" cy="22"/>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6" name="Freeform 1705"/>
              <p:cNvSpPr>
                <a:spLocks/>
              </p:cNvSpPr>
              <p:nvPr/>
            </p:nvSpPr>
            <p:spPr bwMode="auto">
              <a:xfrm>
                <a:off x="5772" y="882"/>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7" name="Freeform 1706"/>
              <p:cNvSpPr>
                <a:spLocks/>
              </p:cNvSpPr>
              <p:nvPr/>
            </p:nvSpPr>
            <p:spPr bwMode="auto">
              <a:xfrm>
                <a:off x="5772" y="882"/>
                <a:ext cx="16" cy="26"/>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8" name="Freeform 1707"/>
              <p:cNvSpPr>
                <a:spLocks noEditPoints="1"/>
              </p:cNvSpPr>
              <p:nvPr/>
            </p:nvSpPr>
            <p:spPr bwMode="auto">
              <a:xfrm>
                <a:off x="5772" y="882"/>
                <a:ext cx="14" cy="26"/>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89" name="Freeform 1708"/>
              <p:cNvSpPr>
                <a:spLocks/>
              </p:cNvSpPr>
              <p:nvPr/>
            </p:nvSpPr>
            <p:spPr bwMode="auto">
              <a:xfrm>
                <a:off x="5780" y="908"/>
                <a:ext cx="2"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0" name="Freeform 1709"/>
              <p:cNvSpPr>
                <a:spLocks/>
              </p:cNvSpPr>
              <p:nvPr/>
            </p:nvSpPr>
            <p:spPr bwMode="auto">
              <a:xfrm>
                <a:off x="5772" y="90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1" name="Freeform 1710"/>
              <p:cNvSpPr>
                <a:spLocks/>
              </p:cNvSpPr>
              <p:nvPr/>
            </p:nvSpPr>
            <p:spPr bwMode="auto">
              <a:xfrm>
                <a:off x="5782" y="882"/>
                <a:ext cx="4" cy="4"/>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2" name="Freeform 1711"/>
              <p:cNvSpPr>
                <a:spLocks/>
              </p:cNvSpPr>
              <p:nvPr/>
            </p:nvSpPr>
            <p:spPr bwMode="auto">
              <a:xfrm>
                <a:off x="5670" y="8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3" name="Freeform 1712"/>
              <p:cNvSpPr>
                <a:spLocks/>
              </p:cNvSpPr>
              <p:nvPr/>
            </p:nvSpPr>
            <p:spPr bwMode="auto">
              <a:xfrm>
                <a:off x="5670" y="828"/>
                <a:ext cx="12" cy="2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4" name="Freeform 1713"/>
              <p:cNvSpPr>
                <a:spLocks noEditPoints="1"/>
              </p:cNvSpPr>
              <p:nvPr/>
            </p:nvSpPr>
            <p:spPr bwMode="auto">
              <a:xfrm>
                <a:off x="5674" y="828"/>
                <a:ext cx="8" cy="2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5" name="Freeform 1714"/>
              <p:cNvSpPr>
                <a:spLocks/>
              </p:cNvSpPr>
              <p:nvPr/>
            </p:nvSpPr>
            <p:spPr bwMode="auto">
              <a:xfrm>
                <a:off x="5676" y="842"/>
                <a:ext cx="6" cy="6"/>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6" name="Freeform 1715"/>
              <p:cNvSpPr>
                <a:spLocks/>
              </p:cNvSpPr>
              <p:nvPr/>
            </p:nvSpPr>
            <p:spPr bwMode="auto">
              <a:xfrm>
                <a:off x="5674" y="828"/>
                <a:ext cx="4" cy="16"/>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7" name="Freeform 1716"/>
              <p:cNvSpPr>
                <a:spLocks noEditPoints="1"/>
              </p:cNvSpPr>
              <p:nvPr/>
            </p:nvSpPr>
            <p:spPr bwMode="auto">
              <a:xfrm>
                <a:off x="5784" y="816"/>
                <a:ext cx="20" cy="14"/>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8" name="Freeform 1717"/>
              <p:cNvSpPr>
                <a:spLocks/>
              </p:cNvSpPr>
              <p:nvPr/>
            </p:nvSpPr>
            <p:spPr bwMode="auto">
              <a:xfrm>
                <a:off x="5790" y="824"/>
                <a:ext cx="6" cy="4"/>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299" name="Freeform 1718"/>
              <p:cNvSpPr>
                <a:spLocks/>
              </p:cNvSpPr>
              <p:nvPr/>
            </p:nvSpPr>
            <p:spPr bwMode="auto">
              <a:xfrm>
                <a:off x="5784" y="816"/>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0" name="Freeform 1719"/>
              <p:cNvSpPr>
                <a:spLocks/>
              </p:cNvSpPr>
              <p:nvPr/>
            </p:nvSpPr>
            <p:spPr bwMode="auto">
              <a:xfrm>
                <a:off x="5738" y="806"/>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1" name="Freeform 1720"/>
              <p:cNvSpPr>
                <a:spLocks/>
              </p:cNvSpPr>
              <p:nvPr/>
            </p:nvSpPr>
            <p:spPr bwMode="auto">
              <a:xfrm>
                <a:off x="5738" y="806"/>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2" name="Freeform 1721"/>
              <p:cNvSpPr>
                <a:spLocks/>
              </p:cNvSpPr>
              <p:nvPr/>
            </p:nvSpPr>
            <p:spPr bwMode="auto">
              <a:xfrm>
                <a:off x="5834"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3" name="Freeform 1722"/>
              <p:cNvSpPr>
                <a:spLocks/>
              </p:cNvSpPr>
              <p:nvPr/>
            </p:nvSpPr>
            <p:spPr bwMode="auto">
              <a:xfrm>
                <a:off x="5834"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4" name="Freeform 1723"/>
              <p:cNvSpPr>
                <a:spLocks/>
              </p:cNvSpPr>
              <p:nvPr/>
            </p:nvSpPr>
            <p:spPr bwMode="auto">
              <a:xfrm>
                <a:off x="5780"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5" name="Freeform 1724"/>
              <p:cNvSpPr>
                <a:spLocks/>
              </p:cNvSpPr>
              <p:nvPr/>
            </p:nvSpPr>
            <p:spPr bwMode="auto">
              <a:xfrm>
                <a:off x="5780"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6" name="Freeform 1725"/>
              <p:cNvSpPr>
                <a:spLocks/>
              </p:cNvSpPr>
              <p:nvPr/>
            </p:nvSpPr>
            <p:spPr bwMode="auto">
              <a:xfrm>
                <a:off x="5794"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7" name="Freeform 1726"/>
              <p:cNvSpPr>
                <a:spLocks/>
              </p:cNvSpPr>
              <p:nvPr/>
            </p:nvSpPr>
            <p:spPr bwMode="auto">
              <a:xfrm>
                <a:off x="5794"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8" name="Freeform 1727"/>
              <p:cNvSpPr>
                <a:spLocks/>
              </p:cNvSpPr>
              <p:nvPr/>
            </p:nvSpPr>
            <p:spPr bwMode="auto">
              <a:xfrm>
                <a:off x="5790"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09" name="Freeform 1728"/>
              <p:cNvSpPr>
                <a:spLocks/>
              </p:cNvSpPr>
              <p:nvPr/>
            </p:nvSpPr>
            <p:spPr bwMode="auto">
              <a:xfrm>
                <a:off x="5790"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0" name="Freeform 1729"/>
              <p:cNvSpPr>
                <a:spLocks/>
              </p:cNvSpPr>
              <p:nvPr/>
            </p:nvSpPr>
            <p:spPr bwMode="auto">
              <a:xfrm>
                <a:off x="5792"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1" name="Freeform 1730"/>
              <p:cNvSpPr>
                <a:spLocks/>
              </p:cNvSpPr>
              <p:nvPr/>
            </p:nvSpPr>
            <p:spPr bwMode="auto">
              <a:xfrm>
                <a:off x="5792"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2" name="Freeform 1731"/>
              <p:cNvSpPr>
                <a:spLocks noEditPoints="1"/>
              </p:cNvSpPr>
              <p:nvPr/>
            </p:nvSpPr>
            <p:spPr bwMode="auto">
              <a:xfrm>
                <a:off x="6708" y="966"/>
                <a:ext cx="188" cy="146"/>
              </a:xfrm>
              <a:custGeom>
                <a:avLst/>
                <a:gdLst>
                  <a:gd name="T0" fmla="*/ 120 w 188"/>
                  <a:gd name="T1" fmla="*/ 128 h 146"/>
                  <a:gd name="T2" fmla="*/ 112 w 188"/>
                  <a:gd name="T3" fmla="*/ 130 h 146"/>
                  <a:gd name="T4" fmla="*/ 14 w 188"/>
                  <a:gd name="T5" fmla="*/ 122 h 146"/>
                  <a:gd name="T6" fmla="*/ 14 w 188"/>
                  <a:gd name="T7" fmla="*/ 100 h 146"/>
                  <a:gd name="T8" fmla="*/ 20 w 188"/>
                  <a:gd name="T9" fmla="*/ 122 h 146"/>
                  <a:gd name="T10" fmla="*/ 8 w 188"/>
                  <a:gd name="T11" fmla="*/ 50 h 146"/>
                  <a:gd name="T12" fmla="*/ 6 w 188"/>
                  <a:gd name="T13" fmla="*/ 62 h 146"/>
                  <a:gd name="T14" fmla="*/ 14 w 188"/>
                  <a:gd name="T15" fmla="*/ 64 h 146"/>
                  <a:gd name="T16" fmla="*/ 8 w 188"/>
                  <a:gd name="T17" fmla="*/ 70 h 146"/>
                  <a:gd name="T18" fmla="*/ 2 w 188"/>
                  <a:gd name="T19" fmla="*/ 54 h 146"/>
                  <a:gd name="T20" fmla="*/ 96 w 188"/>
                  <a:gd name="T21" fmla="*/ 8 h 146"/>
                  <a:gd name="T22" fmla="*/ 144 w 188"/>
                  <a:gd name="T23" fmla="*/ 20 h 146"/>
                  <a:gd name="T24" fmla="*/ 148 w 188"/>
                  <a:gd name="T25" fmla="*/ 34 h 146"/>
                  <a:gd name="T26" fmla="*/ 148 w 188"/>
                  <a:gd name="T27" fmla="*/ 46 h 146"/>
                  <a:gd name="T28" fmla="*/ 150 w 188"/>
                  <a:gd name="T29" fmla="*/ 56 h 146"/>
                  <a:gd name="T30" fmla="*/ 158 w 188"/>
                  <a:gd name="T31" fmla="*/ 50 h 146"/>
                  <a:gd name="T32" fmla="*/ 162 w 188"/>
                  <a:gd name="T33" fmla="*/ 36 h 146"/>
                  <a:gd name="T34" fmla="*/ 178 w 188"/>
                  <a:gd name="T35" fmla="*/ 30 h 146"/>
                  <a:gd name="T36" fmla="*/ 172 w 188"/>
                  <a:gd name="T37" fmla="*/ 84 h 146"/>
                  <a:gd name="T38" fmla="*/ 130 w 188"/>
                  <a:gd name="T39" fmla="*/ 82 h 146"/>
                  <a:gd name="T40" fmla="*/ 138 w 188"/>
                  <a:gd name="T41" fmla="*/ 98 h 146"/>
                  <a:gd name="T42" fmla="*/ 142 w 188"/>
                  <a:gd name="T43" fmla="*/ 98 h 146"/>
                  <a:gd name="T44" fmla="*/ 126 w 188"/>
                  <a:gd name="T45" fmla="*/ 98 h 146"/>
                  <a:gd name="T46" fmla="*/ 108 w 188"/>
                  <a:gd name="T47" fmla="*/ 114 h 146"/>
                  <a:gd name="T48" fmla="*/ 82 w 188"/>
                  <a:gd name="T49" fmla="*/ 142 h 146"/>
                  <a:gd name="T50" fmla="*/ 70 w 188"/>
                  <a:gd name="T51" fmla="*/ 122 h 146"/>
                  <a:gd name="T52" fmla="*/ 70 w 188"/>
                  <a:gd name="T53" fmla="*/ 116 h 146"/>
                  <a:gd name="T54" fmla="*/ 52 w 188"/>
                  <a:gd name="T55" fmla="*/ 110 h 146"/>
                  <a:gd name="T56" fmla="*/ 48 w 188"/>
                  <a:gd name="T57" fmla="*/ 130 h 146"/>
                  <a:gd name="T58" fmla="*/ 26 w 188"/>
                  <a:gd name="T59" fmla="*/ 136 h 146"/>
                  <a:gd name="T60" fmla="*/ 26 w 188"/>
                  <a:gd name="T61" fmla="*/ 114 h 146"/>
                  <a:gd name="T62" fmla="*/ 18 w 188"/>
                  <a:gd name="T63" fmla="*/ 60 h 146"/>
                  <a:gd name="T64" fmla="*/ 58 w 188"/>
                  <a:gd name="T65" fmla="*/ 34 h 146"/>
                  <a:gd name="T66" fmla="*/ 46 w 188"/>
                  <a:gd name="T67" fmla="*/ 74 h 146"/>
                  <a:gd name="T68" fmla="*/ 56 w 188"/>
                  <a:gd name="T69" fmla="*/ 96 h 146"/>
                  <a:gd name="T70" fmla="*/ 92 w 188"/>
                  <a:gd name="T71" fmla="*/ 88 h 146"/>
                  <a:gd name="T72" fmla="*/ 92 w 188"/>
                  <a:gd name="T73" fmla="*/ 44 h 146"/>
                  <a:gd name="T74" fmla="*/ 86 w 188"/>
                  <a:gd name="T75" fmla="*/ 86 h 146"/>
                  <a:gd name="T76" fmla="*/ 52 w 188"/>
                  <a:gd name="T77" fmla="*/ 90 h 146"/>
                  <a:gd name="T78" fmla="*/ 52 w 188"/>
                  <a:gd name="T79" fmla="*/ 78 h 146"/>
                  <a:gd name="T80" fmla="*/ 50 w 188"/>
                  <a:gd name="T81" fmla="*/ 50 h 146"/>
                  <a:gd name="T82" fmla="*/ 90 w 188"/>
                  <a:gd name="T83" fmla="*/ 20 h 146"/>
                  <a:gd name="T84" fmla="*/ 84 w 188"/>
                  <a:gd name="T85" fmla="*/ 12 h 146"/>
                  <a:gd name="T86" fmla="*/ 52 w 188"/>
                  <a:gd name="T87" fmla="*/ 32 h 146"/>
                  <a:gd name="T88" fmla="*/ 12 w 188"/>
                  <a:gd name="T89" fmla="*/ 62 h 146"/>
                  <a:gd name="T90" fmla="*/ 12 w 188"/>
                  <a:gd name="T91" fmla="*/ 50 h 146"/>
                  <a:gd name="T92" fmla="*/ 4 w 188"/>
                  <a:gd name="T93" fmla="*/ 68 h 146"/>
                  <a:gd name="T94" fmla="*/ 12 w 188"/>
                  <a:gd name="T95" fmla="*/ 94 h 146"/>
                  <a:gd name="T96" fmla="*/ 8 w 188"/>
                  <a:gd name="T97" fmla="*/ 120 h 146"/>
                  <a:gd name="T98" fmla="*/ 22 w 188"/>
                  <a:gd name="T99" fmla="*/ 138 h 146"/>
                  <a:gd name="T100" fmla="*/ 48 w 188"/>
                  <a:gd name="T101" fmla="*/ 144 h 146"/>
                  <a:gd name="T102" fmla="*/ 68 w 188"/>
                  <a:gd name="T103" fmla="*/ 120 h 146"/>
                  <a:gd name="T104" fmla="*/ 80 w 188"/>
                  <a:gd name="T105" fmla="*/ 146 h 146"/>
                  <a:gd name="T106" fmla="*/ 100 w 188"/>
                  <a:gd name="T107" fmla="*/ 132 h 146"/>
                  <a:gd name="T108" fmla="*/ 122 w 188"/>
                  <a:gd name="T109" fmla="*/ 114 h 146"/>
                  <a:gd name="T110" fmla="*/ 124 w 188"/>
                  <a:gd name="T111" fmla="*/ 102 h 146"/>
                  <a:gd name="T112" fmla="*/ 146 w 188"/>
                  <a:gd name="T113" fmla="*/ 96 h 146"/>
                  <a:gd name="T114" fmla="*/ 166 w 188"/>
                  <a:gd name="T115" fmla="*/ 90 h 146"/>
                  <a:gd name="T116" fmla="*/ 184 w 188"/>
                  <a:gd name="T117" fmla="*/ 38 h 146"/>
                  <a:gd name="T118" fmla="*/ 170 w 188"/>
                  <a:gd name="T119" fmla="*/ 28 h 146"/>
                  <a:gd name="T120" fmla="*/ 152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2" y="130"/>
                    </a:lnTo>
                    <a:lnTo>
                      <a:pt x="112" y="130"/>
                    </a:lnTo>
                    <a:lnTo>
                      <a:pt x="112" y="130"/>
                    </a:lnTo>
                    <a:lnTo>
                      <a:pt x="112" y="130"/>
                    </a:lnTo>
                    <a:lnTo>
                      <a:pt x="112" y="130"/>
                    </a:lnTo>
                    <a:lnTo>
                      <a:pt x="112" y="130"/>
                    </a:lnTo>
                    <a:lnTo>
                      <a:pt x="102" y="130"/>
                    </a:lnTo>
                    <a:lnTo>
                      <a:pt x="102" y="130"/>
                    </a:lnTo>
                    <a:lnTo>
                      <a:pt x="116" y="104"/>
                    </a:lnTo>
                    <a:lnTo>
                      <a:pt x="116" y="104"/>
                    </a:lnTo>
                    <a:lnTo>
                      <a:pt x="116" y="104"/>
                    </a:lnTo>
                    <a:close/>
                    <a:moveTo>
                      <a:pt x="18" y="122"/>
                    </a:moveTo>
                    <a:lnTo>
                      <a:pt x="18" y="122"/>
                    </a:lnTo>
                    <a:lnTo>
                      <a:pt x="14" y="122"/>
                    </a:lnTo>
                    <a:lnTo>
                      <a:pt x="10" y="118"/>
                    </a:lnTo>
                    <a:lnTo>
                      <a:pt x="6" y="114"/>
                    </a:lnTo>
                    <a:lnTo>
                      <a:pt x="4" y="108"/>
                    </a:lnTo>
                    <a:lnTo>
                      <a:pt x="4" y="108"/>
                    </a:lnTo>
                    <a:lnTo>
                      <a:pt x="6" y="104"/>
                    </a:lnTo>
                    <a:lnTo>
                      <a:pt x="6" y="104"/>
                    </a:lnTo>
                    <a:lnTo>
                      <a:pt x="14" y="100"/>
                    </a:lnTo>
                    <a:lnTo>
                      <a:pt x="14" y="100"/>
                    </a:lnTo>
                    <a:lnTo>
                      <a:pt x="14" y="100"/>
                    </a:lnTo>
                    <a:lnTo>
                      <a:pt x="14" y="100"/>
                    </a:lnTo>
                    <a:lnTo>
                      <a:pt x="14" y="100"/>
                    </a:lnTo>
                    <a:lnTo>
                      <a:pt x="14" y="100"/>
                    </a:lnTo>
                    <a:lnTo>
                      <a:pt x="22" y="116"/>
                    </a:lnTo>
                    <a:lnTo>
                      <a:pt x="22" y="116"/>
                    </a:lnTo>
                    <a:lnTo>
                      <a:pt x="24" y="120"/>
                    </a:lnTo>
                    <a:lnTo>
                      <a:pt x="20" y="122"/>
                    </a:lnTo>
                    <a:lnTo>
                      <a:pt x="20" y="122"/>
                    </a:lnTo>
                    <a:lnTo>
                      <a:pt x="20" y="122"/>
                    </a:lnTo>
                    <a:lnTo>
                      <a:pt x="20"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6" y="62"/>
                    </a:lnTo>
                    <a:lnTo>
                      <a:pt x="6" y="62"/>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0"/>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2"/>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6" y="114"/>
                    </a:lnTo>
                    <a:lnTo>
                      <a:pt x="26" y="114"/>
                    </a:lnTo>
                    <a:lnTo>
                      <a:pt x="20" y="106"/>
                    </a:lnTo>
                    <a:lnTo>
                      <a:pt x="16" y="96"/>
                    </a:lnTo>
                    <a:lnTo>
                      <a:pt x="14" y="88"/>
                    </a:lnTo>
                    <a:lnTo>
                      <a:pt x="14" y="78"/>
                    </a:lnTo>
                    <a:lnTo>
                      <a:pt x="14" y="78"/>
                    </a:lnTo>
                    <a:lnTo>
                      <a:pt x="16" y="68"/>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4" y="54"/>
                    </a:lnTo>
                    <a:lnTo>
                      <a:pt x="42" y="60"/>
                    </a:lnTo>
                    <a:lnTo>
                      <a:pt x="42" y="60"/>
                    </a:lnTo>
                    <a:lnTo>
                      <a:pt x="40" y="64"/>
                    </a:lnTo>
                    <a:lnTo>
                      <a:pt x="42" y="68"/>
                    </a:lnTo>
                    <a:lnTo>
                      <a:pt x="46" y="74"/>
                    </a:lnTo>
                    <a:lnTo>
                      <a:pt x="46" y="74"/>
                    </a:lnTo>
                    <a:lnTo>
                      <a:pt x="48" y="80"/>
                    </a:lnTo>
                    <a:lnTo>
                      <a:pt x="50" y="84"/>
                    </a:lnTo>
                    <a:lnTo>
                      <a:pt x="48" y="86"/>
                    </a:lnTo>
                    <a:lnTo>
                      <a:pt x="48" y="86"/>
                    </a:lnTo>
                    <a:lnTo>
                      <a:pt x="48" y="90"/>
                    </a:lnTo>
                    <a:lnTo>
                      <a:pt x="48" y="90"/>
                    </a:lnTo>
                    <a:lnTo>
                      <a:pt x="56" y="96"/>
                    </a:lnTo>
                    <a:lnTo>
                      <a:pt x="58" y="98"/>
                    </a:lnTo>
                    <a:lnTo>
                      <a:pt x="62" y="100"/>
                    </a:lnTo>
                    <a:lnTo>
                      <a:pt x="62" y="100"/>
                    </a:lnTo>
                    <a:lnTo>
                      <a:pt x="68" y="98"/>
                    </a:lnTo>
                    <a:lnTo>
                      <a:pt x="72" y="96"/>
                    </a:lnTo>
                    <a:lnTo>
                      <a:pt x="72" y="96"/>
                    </a:lnTo>
                    <a:lnTo>
                      <a:pt x="82" y="92"/>
                    </a:lnTo>
                    <a:lnTo>
                      <a:pt x="92" y="88"/>
                    </a:lnTo>
                    <a:lnTo>
                      <a:pt x="92" y="88"/>
                    </a:lnTo>
                    <a:lnTo>
                      <a:pt x="94" y="86"/>
                    </a:lnTo>
                    <a:lnTo>
                      <a:pt x="94" y="86"/>
                    </a:lnTo>
                    <a:lnTo>
                      <a:pt x="96" y="78"/>
                    </a:lnTo>
                    <a:lnTo>
                      <a:pt x="96" y="72"/>
                    </a:lnTo>
                    <a:lnTo>
                      <a:pt x="96" y="58"/>
                    </a:lnTo>
                    <a:lnTo>
                      <a:pt x="96" y="58"/>
                    </a:lnTo>
                    <a:lnTo>
                      <a:pt x="92" y="44"/>
                    </a:lnTo>
                    <a:lnTo>
                      <a:pt x="92" y="44"/>
                    </a:lnTo>
                    <a:lnTo>
                      <a:pt x="92" y="62"/>
                    </a:lnTo>
                    <a:lnTo>
                      <a:pt x="92" y="62"/>
                    </a:lnTo>
                    <a:lnTo>
                      <a:pt x="92" y="80"/>
                    </a:lnTo>
                    <a:lnTo>
                      <a:pt x="92" y="80"/>
                    </a:lnTo>
                    <a:lnTo>
                      <a:pt x="90" y="84"/>
                    </a:lnTo>
                    <a:lnTo>
                      <a:pt x="86" y="86"/>
                    </a:lnTo>
                    <a:lnTo>
                      <a:pt x="86" y="86"/>
                    </a:lnTo>
                    <a:lnTo>
                      <a:pt x="78" y="88"/>
                    </a:lnTo>
                    <a:lnTo>
                      <a:pt x="72" y="92"/>
                    </a:lnTo>
                    <a:lnTo>
                      <a:pt x="72" y="92"/>
                    </a:lnTo>
                    <a:lnTo>
                      <a:pt x="62" y="96"/>
                    </a:lnTo>
                    <a:lnTo>
                      <a:pt x="62" y="96"/>
                    </a:lnTo>
                    <a:lnTo>
                      <a:pt x="58"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6"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2"/>
                    </a:lnTo>
                    <a:lnTo>
                      <a:pt x="70" y="22"/>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4"/>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4"/>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3" name="Freeform 1732"/>
              <p:cNvSpPr>
                <a:spLocks/>
              </p:cNvSpPr>
              <p:nvPr/>
            </p:nvSpPr>
            <p:spPr bwMode="auto">
              <a:xfrm>
                <a:off x="6810" y="1070"/>
                <a:ext cx="18" cy="26"/>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0 w 18"/>
                  <a:gd name="T21" fmla="*/ 26 h 26"/>
                  <a:gd name="T22" fmla="*/ 10 w 18"/>
                  <a:gd name="T23" fmla="*/ 26 h 26"/>
                  <a:gd name="T24" fmla="*/ 10 w 18"/>
                  <a:gd name="T25" fmla="*/ 26 h 26"/>
                  <a:gd name="T26" fmla="*/ 10 w 18"/>
                  <a:gd name="T27" fmla="*/ 26 h 26"/>
                  <a:gd name="T28" fmla="*/ 10 w 18"/>
                  <a:gd name="T29" fmla="*/ 26 h 26"/>
                  <a:gd name="T30" fmla="*/ 10 w 18"/>
                  <a:gd name="T31" fmla="*/ 26 h 26"/>
                  <a:gd name="T32" fmla="*/ 0 w 18"/>
                  <a:gd name="T33" fmla="*/ 26 h 26"/>
                  <a:gd name="T34" fmla="*/ 0 w 18"/>
                  <a:gd name="T35" fmla="*/ 26 h 26"/>
                  <a:gd name="T36" fmla="*/ 14 w 18"/>
                  <a:gd name="T37" fmla="*/ 0 h 26"/>
                  <a:gd name="T38" fmla="*/ 14 w 18"/>
                  <a:gd name="T39" fmla="*/ 0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4" name="Freeform 1733"/>
              <p:cNvSpPr>
                <a:spLocks/>
              </p:cNvSpPr>
              <p:nvPr/>
            </p:nvSpPr>
            <p:spPr bwMode="auto">
              <a:xfrm>
                <a:off x="6712" y="1066"/>
                <a:ext cx="20" cy="22"/>
              </a:xfrm>
              <a:custGeom>
                <a:avLst/>
                <a:gdLst>
                  <a:gd name="T0" fmla="*/ 14 w 20"/>
                  <a:gd name="T1" fmla="*/ 22 h 22"/>
                  <a:gd name="T2" fmla="*/ 14 w 20"/>
                  <a:gd name="T3" fmla="*/ 22 h 22"/>
                  <a:gd name="T4" fmla="*/ 10 w 20"/>
                  <a:gd name="T5" fmla="*/ 22 h 22"/>
                  <a:gd name="T6" fmla="*/ 6 w 20"/>
                  <a:gd name="T7" fmla="*/ 18 h 22"/>
                  <a:gd name="T8" fmla="*/ 2 w 20"/>
                  <a:gd name="T9" fmla="*/ 14 h 22"/>
                  <a:gd name="T10" fmla="*/ 0 w 20"/>
                  <a:gd name="T11" fmla="*/ 8 h 22"/>
                  <a:gd name="T12" fmla="*/ 0 w 20"/>
                  <a:gd name="T13" fmla="*/ 8 h 22"/>
                  <a:gd name="T14" fmla="*/ 2 w 20"/>
                  <a:gd name="T15" fmla="*/ 4 h 22"/>
                  <a:gd name="T16" fmla="*/ 2 w 20"/>
                  <a:gd name="T17" fmla="*/ 4 h 22"/>
                  <a:gd name="T18" fmla="*/ 10 w 20"/>
                  <a:gd name="T19" fmla="*/ 0 h 22"/>
                  <a:gd name="T20" fmla="*/ 10 w 20"/>
                  <a:gd name="T21" fmla="*/ 0 h 22"/>
                  <a:gd name="T22" fmla="*/ 10 w 20"/>
                  <a:gd name="T23" fmla="*/ 0 h 22"/>
                  <a:gd name="T24" fmla="*/ 10 w 20"/>
                  <a:gd name="T25" fmla="*/ 0 h 22"/>
                  <a:gd name="T26" fmla="*/ 10 w 20"/>
                  <a:gd name="T27" fmla="*/ 0 h 22"/>
                  <a:gd name="T28" fmla="*/ 10 w 20"/>
                  <a:gd name="T29" fmla="*/ 0 h 22"/>
                  <a:gd name="T30" fmla="*/ 18 w 20"/>
                  <a:gd name="T31" fmla="*/ 16 h 22"/>
                  <a:gd name="T32" fmla="*/ 18 w 20"/>
                  <a:gd name="T33" fmla="*/ 16 h 22"/>
                  <a:gd name="T34" fmla="*/ 20 w 20"/>
                  <a:gd name="T35" fmla="*/ 20 h 22"/>
                  <a:gd name="T36" fmla="*/ 16 w 20"/>
                  <a:gd name="T37" fmla="*/ 22 h 22"/>
                  <a:gd name="T38" fmla="*/ 16 w 20"/>
                  <a:gd name="T39" fmla="*/ 22 h 22"/>
                  <a:gd name="T40" fmla="*/ 16 w 20"/>
                  <a:gd name="T41" fmla="*/ 22 h 22"/>
                  <a:gd name="T42" fmla="*/ 16 w 20"/>
                  <a:gd name="T43" fmla="*/ 22 h 22"/>
                  <a:gd name="T44" fmla="*/ 14 w 20"/>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2">
                    <a:moveTo>
                      <a:pt x="14" y="22"/>
                    </a:moveTo>
                    <a:lnTo>
                      <a:pt x="14" y="22"/>
                    </a:lnTo>
                    <a:lnTo>
                      <a:pt x="10" y="22"/>
                    </a:lnTo>
                    <a:lnTo>
                      <a:pt x="6" y="18"/>
                    </a:lnTo>
                    <a:lnTo>
                      <a:pt x="2" y="14"/>
                    </a:lnTo>
                    <a:lnTo>
                      <a:pt x="0" y="8"/>
                    </a:lnTo>
                    <a:lnTo>
                      <a:pt x="0" y="8"/>
                    </a:lnTo>
                    <a:lnTo>
                      <a:pt x="2" y="4"/>
                    </a:lnTo>
                    <a:lnTo>
                      <a:pt x="2" y="4"/>
                    </a:lnTo>
                    <a:lnTo>
                      <a:pt x="10" y="0"/>
                    </a:lnTo>
                    <a:lnTo>
                      <a:pt x="10" y="0"/>
                    </a:lnTo>
                    <a:lnTo>
                      <a:pt x="10" y="0"/>
                    </a:lnTo>
                    <a:lnTo>
                      <a:pt x="10" y="0"/>
                    </a:lnTo>
                    <a:lnTo>
                      <a:pt x="10" y="0"/>
                    </a:lnTo>
                    <a:lnTo>
                      <a:pt x="10" y="0"/>
                    </a:lnTo>
                    <a:lnTo>
                      <a:pt x="18" y="16"/>
                    </a:lnTo>
                    <a:lnTo>
                      <a:pt x="18" y="16"/>
                    </a:lnTo>
                    <a:lnTo>
                      <a:pt x="20"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5" name="Freeform 1734"/>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4 w 12"/>
                  <a:gd name="T21" fmla="*/ 12 h 20"/>
                  <a:gd name="T22" fmla="*/ 4 w 12"/>
                  <a:gd name="T23" fmla="*/ 12 h 20"/>
                  <a:gd name="T24" fmla="*/ 4 w 12"/>
                  <a:gd name="T25" fmla="*/ 14 h 20"/>
                  <a:gd name="T26" fmla="*/ 4 w 12"/>
                  <a:gd name="T27" fmla="*/ 14 h 20"/>
                  <a:gd name="T28" fmla="*/ 8 w 12"/>
                  <a:gd name="T29" fmla="*/ 16 h 20"/>
                  <a:gd name="T30" fmla="*/ 8 w 12"/>
                  <a:gd name="T31" fmla="*/ 16 h 20"/>
                  <a:gd name="T32" fmla="*/ 8 w 12"/>
                  <a:gd name="T33" fmla="*/ 16 h 20"/>
                  <a:gd name="T34" fmla="*/ 8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0 w 12"/>
                  <a:gd name="T49" fmla="*/ 18 h 20"/>
                  <a:gd name="T50" fmla="*/ 8 w 12"/>
                  <a:gd name="T51" fmla="*/ 20 h 20"/>
                  <a:gd name="T52" fmla="*/ 8 w 12"/>
                  <a:gd name="T53" fmla="*/ 20 h 20"/>
                  <a:gd name="T54" fmla="*/ 6 w 12"/>
                  <a:gd name="T55" fmla="*/ 20 h 20"/>
                  <a:gd name="T56" fmla="*/ 6 w 12"/>
                  <a:gd name="T57" fmla="*/ 20 h 20"/>
                  <a:gd name="T58" fmla="*/ 4 w 12"/>
                  <a:gd name="T59" fmla="*/ 18 h 20"/>
                  <a:gd name="T60" fmla="*/ 4 w 12"/>
                  <a:gd name="T61" fmla="*/ 18 h 20"/>
                  <a:gd name="T62" fmla="*/ 2 w 12"/>
                  <a:gd name="T63" fmla="*/ 16 h 20"/>
                  <a:gd name="T64" fmla="*/ 0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6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4" y="12"/>
                    </a:lnTo>
                    <a:lnTo>
                      <a:pt x="4" y="12"/>
                    </a:lnTo>
                    <a:lnTo>
                      <a:pt x="4" y="14"/>
                    </a:lnTo>
                    <a:lnTo>
                      <a:pt x="4" y="14"/>
                    </a:lnTo>
                    <a:lnTo>
                      <a:pt x="8" y="16"/>
                    </a:lnTo>
                    <a:lnTo>
                      <a:pt x="8" y="16"/>
                    </a:lnTo>
                    <a:lnTo>
                      <a:pt x="8" y="16"/>
                    </a:lnTo>
                    <a:lnTo>
                      <a:pt x="8" y="16"/>
                    </a:lnTo>
                    <a:lnTo>
                      <a:pt x="12" y="14"/>
                    </a:lnTo>
                    <a:lnTo>
                      <a:pt x="12" y="14"/>
                    </a:lnTo>
                    <a:lnTo>
                      <a:pt x="12" y="14"/>
                    </a:lnTo>
                    <a:lnTo>
                      <a:pt x="12" y="14"/>
                    </a:lnTo>
                    <a:lnTo>
                      <a:pt x="12" y="14"/>
                    </a:lnTo>
                    <a:lnTo>
                      <a:pt x="12" y="14"/>
                    </a:lnTo>
                    <a:lnTo>
                      <a:pt x="10"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6" name="Freeform 1735"/>
              <p:cNvSpPr>
                <a:spLocks/>
              </p:cNvSpPr>
              <p:nvPr/>
            </p:nvSpPr>
            <p:spPr bwMode="auto">
              <a:xfrm>
                <a:off x="6722" y="970"/>
                <a:ext cx="170" cy="138"/>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48 w 170"/>
                  <a:gd name="T99" fmla="*/ 96 h 138"/>
                  <a:gd name="T100" fmla="*/ 68 w 170"/>
                  <a:gd name="T101" fmla="*/ 88 h 138"/>
                  <a:gd name="T102" fmla="*/ 80 w 170"/>
                  <a:gd name="T103" fmla="*/ 82 h 138"/>
                  <a:gd name="T104" fmla="*/ 82 w 170"/>
                  <a:gd name="T105" fmla="*/ 54 h 138"/>
                  <a:gd name="T106" fmla="*/ 78 w 170"/>
                  <a:gd name="T107" fmla="*/ 58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6"/>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08"/>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2" y="110"/>
                    </a:lnTo>
                    <a:lnTo>
                      <a:pt x="12" y="110"/>
                    </a:lnTo>
                    <a:lnTo>
                      <a:pt x="6" y="102"/>
                    </a:lnTo>
                    <a:lnTo>
                      <a:pt x="2" y="92"/>
                    </a:lnTo>
                    <a:lnTo>
                      <a:pt x="0" y="84"/>
                    </a:lnTo>
                    <a:lnTo>
                      <a:pt x="0" y="74"/>
                    </a:lnTo>
                    <a:lnTo>
                      <a:pt x="0" y="74"/>
                    </a:lnTo>
                    <a:lnTo>
                      <a:pt x="2" y="64"/>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30" y="50"/>
                    </a:lnTo>
                    <a:lnTo>
                      <a:pt x="28" y="56"/>
                    </a:lnTo>
                    <a:lnTo>
                      <a:pt x="28" y="56"/>
                    </a:lnTo>
                    <a:lnTo>
                      <a:pt x="26" y="60"/>
                    </a:lnTo>
                    <a:lnTo>
                      <a:pt x="28" y="64"/>
                    </a:lnTo>
                    <a:lnTo>
                      <a:pt x="32" y="70"/>
                    </a:lnTo>
                    <a:lnTo>
                      <a:pt x="32" y="70"/>
                    </a:lnTo>
                    <a:lnTo>
                      <a:pt x="34" y="76"/>
                    </a:lnTo>
                    <a:lnTo>
                      <a:pt x="36" y="80"/>
                    </a:lnTo>
                    <a:lnTo>
                      <a:pt x="34" y="82"/>
                    </a:lnTo>
                    <a:lnTo>
                      <a:pt x="34" y="82"/>
                    </a:lnTo>
                    <a:lnTo>
                      <a:pt x="34" y="86"/>
                    </a:lnTo>
                    <a:lnTo>
                      <a:pt x="34" y="86"/>
                    </a:lnTo>
                    <a:lnTo>
                      <a:pt x="42" y="92"/>
                    </a:lnTo>
                    <a:lnTo>
                      <a:pt x="44" y="94"/>
                    </a:lnTo>
                    <a:lnTo>
                      <a:pt x="48" y="96"/>
                    </a:lnTo>
                    <a:lnTo>
                      <a:pt x="48" y="96"/>
                    </a:lnTo>
                    <a:lnTo>
                      <a:pt x="54" y="94"/>
                    </a:lnTo>
                    <a:lnTo>
                      <a:pt x="58" y="92"/>
                    </a:lnTo>
                    <a:lnTo>
                      <a:pt x="58" y="92"/>
                    </a:lnTo>
                    <a:lnTo>
                      <a:pt x="68" y="88"/>
                    </a:lnTo>
                    <a:lnTo>
                      <a:pt x="78" y="84"/>
                    </a:lnTo>
                    <a:lnTo>
                      <a:pt x="78" y="84"/>
                    </a:lnTo>
                    <a:lnTo>
                      <a:pt x="80" y="82"/>
                    </a:lnTo>
                    <a:lnTo>
                      <a:pt x="80" y="82"/>
                    </a:lnTo>
                    <a:lnTo>
                      <a:pt x="82" y="74"/>
                    </a:lnTo>
                    <a:lnTo>
                      <a:pt x="82" y="68"/>
                    </a:lnTo>
                    <a:lnTo>
                      <a:pt x="82" y="54"/>
                    </a:lnTo>
                    <a:lnTo>
                      <a:pt x="82" y="54"/>
                    </a:lnTo>
                    <a:lnTo>
                      <a:pt x="78" y="40"/>
                    </a:lnTo>
                    <a:lnTo>
                      <a:pt x="78" y="40"/>
                    </a:lnTo>
                    <a:lnTo>
                      <a:pt x="78" y="58"/>
                    </a:lnTo>
                    <a:lnTo>
                      <a:pt x="78" y="58"/>
                    </a:lnTo>
                    <a:lnTo>
                      <a:pt x="78" y="76"/>
                    </a:lnTo>
                    <a:lnTo>
                      <a:pt x="78" y="76"/>
                    </a:lnTo>
                    <a:lnTo>
                      <a:pt x="76" y="80"/>
                    </a:lnTo>
                    <a:lnTo>
                      <a:pt x="72" y="82"/>
                    </a:lnTo>
                    <a:lnTo>
                      <a:pt x="72" y="82"/>
                    </a:lnTo>
                    <a:lnTo>
                      <a:pt x="64" y="84"/>
                    </a:lnTo>
                    <a:lnTo>
                      <a:pt x="58" y="88"/>
                    </a:lnTo>
                    <a:lnTo>
                      <a:pt x="58" y="88"/>
                    </a:lnTo>
                    <a:lnTo>
                      <a:pt x="48" y="92"/>
                    </a:lnTo>
                    <a:lnTo>
                      <a:pt x="48" y="92"/>
                    </a:lnTo>
                    <a:lnTo>
                      <a:pt x="44"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2"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7" name="Freeform 1736"/>
              <p:cNvSpPr>
                <a:spLocks/>
              </p:cNvSpPr>
              <p:nvPr/>
            </p:nvSpPr>
            <p:spPr bwMode="auto">
              <a:xfrm>
                <a:off x="6708" y="966"/>
                <a:ext cx="188" cy="146"/>
              </a:xfrm>
              <a:custGeom>
                <a:avLst/>
                <a:gdLst>
                  <a:gd name="T0" fmla="*/ 104 w 188"/>
                  <a:gd name="T1" fmla="*/ 2 h 146"/>
                  <a:gd name="T2" fmla="*/ 84 w 188"/>
                  <a:gd name="T3" fmla="*/ 12 h 146"/>
                  <a:gd name="T4" fmla="*/ 76 w 188"/>
                  <a:gd name="T5" fmla="*/ 20 h 146"/>
                  <a:gd name="T6" fmla="*/ 70 w 188"/>
                  <a:gd name="T7" fmla="*/ 22 h 146"/>
                  <a:gd name="T8" fmla="*/ 52 w 188"/>
                  <a:gd name="T9" fmla="*/ 32 h 146"/>
                  <a:gd name="T10" fmla="*/ 32 w 188"/>
                  <a:gd name="T11" fmla="*/ 40 h 146"/>
                  <a:gd name="T12" fmla="*/ 18 w 188"/>
                  <a:gd name="T13" fmla="*/ 56 h 146"/>
                  <a:gd name="T14" fmla="*/ 8 w 188"/>
                  <a:gd name="T15" fmla="*/ 64 h 146"/>
                  <a:gd name="T16" fmla="*/ 10 w 188"/>
                  <a:gd name="T17" fmla="*/ 54 h 146"/>
                  <a:gd name="T18" fmla="*/ 12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8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48 w 188"/>
                  <a:gd name="T47" fmla="*/ 142 h 146"/>
                  <a:gd name="T48" fmla="*/ 52 w 188"/>
                  <a:gd name="T49" fmla="*/ 130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0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2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4 w 188"/>
                  <a:gd name="T89" fmla="*/ 38 h 146"/>
                  <a:gd name="T90" fmla="*/ 180 w 188"/>
                  <a:gd name="T91" fmla="*/ 24 h 146"/>
                  <a:gd name="T92" fmla="*/ 172 w 188"/>
                  <a:gd name="T93" fmla="*/ 24 h 146"/>
                  <a:gd name="T94" fmla="*/ 164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2"/>
                    </a:lnTo>
                    <a:lnTo>
                      <a:pt x="70" y="22"/>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4"/>
                    </a:lnTo>
                    <a:lnTo>
                      <a:pt x="0" y="58"/>
                    </a:lnTo>
                    <a:lnTo>
                      <a:pt x="0" y="58"/>
                    </a:lnTo>
                    <a:lnTo>
                      <a:pt x="0" y="62"/>
                    </a:lnTo>
                    <a:lnTo>
                      <a:pt x="4" y="68"/>
                    </a:lnTo>
                    <a:lnTo>
                      <a:pt x="4" y="68"/>
                    </a:lnTo>
                    <a:lnTo>
                      <a:pt x="8" y="70"/>
                    </a:lnTo>
                    <a:lnTo>
                      <a:pt x="12" y="72"/>
                    </a:lnTo>
                    <a:lnTo>
                      <a:pt x="12" y="72"/>
                    </a:lnTo>
                    <a:lnTo>
                      <a:pt x="12" y="84"/>
                    </a:lnTo>
                    <a:lnTo>
                      <a:pt x="12" y="84"/>
                    </a:lnTo>
                    <a:lnTo>
                      <a:pt x="12" y="90"/>
                    </a:lnTo>
                    <a:lnTo>
                      <a:pt x="12" y="94"/>
                    </a:lnTo>
                    <a:lnTo>
                      <a:pt x="8" y="98"/>
                    </a:lnTo>
                    <a:lnTo>
                      <a:pt x="6" y="102"/>
                    </a:lnTo>
                    <a:lnTo>
                      <a:pt x="6"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4" y="142"/>
                    </a:lnTo>
                    <a:lnTo>
                      <a:pt x="42" y="144"/>
                    </a:lnTo>
                    <a:lnTo>
                      <a:pt x="42" y="144"/>
                    </a:lnTo>
                    <a:lnTo>
                      <a:pt x="44" y="144"/>
                    </a:lnTo>
                    <a:lnTo>
                      <a:pt x="44" y="144"/>
                    </a:lnTo>
                    <a:lnTo>
                      <a:pt x="48" y="144"/>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8" name="Freeform 1737"/>
              <p:cNvSpPr>
                <a:spLocks/>
              </p:cNvSpPr>
              <p:nvPr/>
            </p:nvSpPr>
            <p:spPr bwMode="auto">
              <a:xfrm>
                <a:off x="6714" y="1066"/>
                <a:ext cx="16" cy="22"/>
              </a:xfrm>
              <a:custGeom>
                <a:avLst/>
                <a:gdLst>
                  <a:gd name="T0" fmla="*/ 8 w 16"/>
                  <a:gd name="T1" fmla="*/ 0 h 22"/>
                  <a:gd name="T2" fmla="*/ 8 w 16"/>
                  <a:gd name="T3" fmla="*/ 0 h 22"/>
                  <a:gd name="T4" fmla="*/ 0 w 16"/>
                  <a:gd name="T5" fmla="*/ 6 h 22"/>
                  <a:gd name="T6" fmla="*/ 0 w 16"/>
                  <a:gd name="T7" fmla="*/ 6 h 22"/>
                  <a:gd name="T8" fmla="*/ 0 w 16"/>
                  <a:gd name="T9" fmla="*/ 10 h 22"/>
                  <a:gd name="T10" fmla="*/ 0 w 16"/>
                  <a:gd name="T11" fmla="*/ 10 h 22"/>
                  <a:gd name="T12" fmla="*/ 0 w 16"/>
                  <a:gd name="T13" fmla="*/ 14 h 22"/>
                  <a:gd name="T14" fmla="*/ 4 w 16"/>
                  <a:gd name="T15" fmla="*/ 18 h 22"/>
                  <a:gd name="T16" fmla="*/ 8 w 16"/>
                  <a:gd name="T17" fmla="*/ 22 h 22"/>
                  <a:gd name="T18" fmla="*/ 12 w 16"/>
                  <a:gd name="T19" fmla="*/ 22 h 22"/>
                  <a:gd name="T20" fmla="*/ 12 w 16"/>
                  <a:gd name="T21" fmla="*/ 22 h 22"/>
                  <a:gd name="T22" fmla="*/ 14 w 16"/>
                  <a:gd name="T23" fmla="*/ 22 h 22"/>
                  <a:gd name="T24" fmla="*/ 14 w 16"/>
                  <a:gd name="T25" fmla="*/ 22 h 22"/>
                  <a:gd name="T26" fmla="*/ 14 w 16"/>
                  <a:gd name="T27" fmla="*/ 22 h 22"/>
                  <a:gd name="T28" fmla="*/ 14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0" y="6"/>
                    </a:lnTo>
                    <a:lnTo>
                      <a:pt x="0" y="6"/>
                    </a:lnTo>
                    <a:lnTo>
                      <a:pt x="0" y="10"/>
                    </a:lnTo>
                    <a:lnTo>
                      <a:pt x="0" y="10"/>
                    </a:lnTo>
                    <a:lnTo>
                      <a:pt x="0" y="14"/>
                    </a:lnTo>
                    <a:lnTo>
                      <a:pt x="4" y="18"/>
                    </a:lnTo>
                    <a:lnTo>
                      <a:pt x="8" y="22"/>
                    </a:lnTo>
                    <a:lnTo>
                      <a:pt x="12" y="22"/>
                    </a:lnTo>
                    <a:lnTo>
                      <a:pt x="12" y="22"/>
                    </a:lnTo>
                    <a:lnTo>
                      <a:pt x="14" y="22"/>
                    </a:lnTo>
                    <a:lnTo>
                      <a:pt x="14" y="22"/>
                    </a:lnTo>
                    <a:lnTo>
                      <a:pt x="14" y="22"/>
                    </a:lnTo>
                    <a:lnTo>
                      <a:pt x="14" y="22"/>
                    </a:lnTo>
                    <a:lnTo>
                      <a:pt x="16" y="20"/>
                    </a:lnTo>
                    <a:lnTo>
                      <a:pt x="16" y="16"/>
                    </a:lnTo>
                    <a:lnTo>
                      <a:pt x="16"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19" name="Freeform 1738"/>
              <p:cNvSpPr>
                <a:spLocks/>
              </p:cNvSpPr>
              <p:nvPr/>
            </p:nvSpPr>
            <p:spPr bwMode="auto">
              <a:xfrm>
                <a:off x="6714" y="1066"/>
                <a:ext cx="16" cy="22"/>
              </a:xfrm>
              <a:custGeom>
                <a:avLst/>
                <a:gdLst>
                  <a:gd name="T0" fmla="*/ 8 w 16"/>
                  <a:gd name="T1" fmla="*/ 0 h 22"/>
                  <a:gd name="T2" fmla="*/ 8 w 16"/>
                  <a:gd name="T3" fmla="*/ 0 h 22"/>
                  <a:gd name="T4" fmla="*/ 0 w 16"/>
                  <a:gd name="T5" fmla="*/ 6 h 22"/>
                  <a:gd name="T6" fmla="*/ 0 w 16"/>
                  <a:gd name="T7" fmla="*/ 6 h 22"/>
                  <a:gd name="T8" fmla="*/ 0 w 16"/>
                  <a:gd name="T9" fmla="*/ 10 h 22"/>
                  <a:gd name="T10" fmla="*/ 0 w 16"/>
                  <a:gd name="T11" fmla="*/ 10 h 22"/>
                  <a:gd name="T12" fmla="*/ 0 w 16"/>
                  <a:gd name="T13" fmla="*/ 14 h 22"/>
                  <a:gd name="T14" fmla="*/ 4 w 16"/>
                  <a:gd name="T15" fmla="*/ 18 h 22"/>
                  <a:gd name="T16" fmla="*/ 8 w 16"/>
                  <a:gd name="T17" fmla="*/ 22 h 22"/>
                  <a:gd name="T18" fmla="*/ 12 w 16"/>
                  <a:gd name="T19" fmla="*/ 22 h 22"/>
                  <a:gd name="T20" fmla="*/ 12 w 16"/>
                  <a:gd name="T21" fmla="*/ 22 h 22"/>
                  <a:gd name="T22" fmla="*/ 14 w 16"/>
                  <a:gd name="T23" fmla="*/ 22 h 22"/>
                  <a:gd name="T24" fmla="*/ 14 w 16"/>
                  <a:gd name="T25" fmla="*/ 22 h 22"/>
                  <a:gd name="T26" fmla="*/ 14 w 16"/>
                  <a:gd name="T27" fmla="*/ 22 h 22"/>
                  <a:gd name="T28" fmla="*/ 14 w 16"/>
                  <a:gd name="T29" fmla="*/ 22 h 22"/>
                  <a:gd name="T30" fmla="*/ 16 w 16"/>
                  <a:gd name="T31" fmla="*/ 20 h 22"/>
                  <a:gd name="T32" fmla="*/ 16 w 16"/>
                  <a:gd name="T33" fmla="*/ 16 h 22"/>
                  <a:gd name="T34" fmla="*/ 16 w 16"/>
                  <a:gd name="T35" fmla="*/ 16 h 22"/>
                  <a:gd name="T36" fmla="*/ 8 w 16"/>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8" y="0"/>
                    </a:moveTo>
                    <a:lnTo>
                      <a:pt x="8" y="0"/>
                    </a:lnTo>
                    <a:lnTo>
                      <a:pt x="0" y="6"/>
                    </a:lnTo>
                    <a:lnTo>
                      <a:pt x="0" y="6"/>
                    </a:lnTo>
                    <a:lnTo>
                      <a:pt x="0" y="10"/>
                    </a:lnTo>
                    <a:lnTo>
                      <a:pt x="0" y="10"/>
                    </a:lnTo>
                    <a:lnTo>
                      <a:pt x="0" y="14"/>
                    </a:lnTo>
                    <a:lnTo>
                      <a:pt x="4" y="18"/>
                    </a:lnTo>
                    <a:lnTo>
                      <a:pt x="8" y="22"/>
                    </a:lnTo>
                    <a:lnTo>
                      <a:pt x="12" y="22"/>
                    </a:lnTo>
                    <a:lnTo>
                      <a:pt x="12" y="22"/>
                    </a:lnTo>
                    <a:lnTo>
                      <a:pt x="14" y="22"/>
                    </a:lnTo>
                    <a:lnTo>
                      <a:pt x="14"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0" name="Freeform 1739"/>
              <p:cNvSpPr>
                <a:spLocks/>
              </p:cNvSpPr>
              <p:nvPr/>
            </p:nvSpPr>
            <p:spPr bwMode="auto">
              <a:xfrm>
                <a:off x="6712" y="1066"/>
                <a:ext cx="16" cy="22"/>
              </a:xfrm>
              <a:custGeom>
                <a:avLst/>
                <a:gdLst>
                  <a:gd name="T0" fmla="*/ 10 w 16"/>
                  <a:gd name="T1" fmla="*/ 0 h 22"/>
                  <a:gd name="T2" fmla="*/ 10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2 w 16"/>
                  <a:gd name="T45" fmla="*/ 10 h 22"/>
                  <a:gd name="T46" fmla="*/ 2 w 16"/>
                  <a:gd name="T47" fmla="*/ 10 h 22"/>
                  <a:gd name="T48" fmla="*/ 2 w 16"/>
                  <a:gd name="T49" fmla="*/ 6 h 22"/>
                  <a:gd name="T50" fmla="*/ 2 w 16"/>
                  <a:gd name="T51" fmla="*/ 6 h 22"/>
                  <a:gd name="T52" fmla="*/ 10 w 16"/>
                  <a:gd name="T53" fmla="*/ 0 h 22"/>
                  <a:gd name="T54" fmla="*/ 10 w 16"/>
                  <a:gd name="T55" fmla="*/ 0 h 22"/>
                  <a:gd name="T56" fmla="*/ 10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10" y="0"/>
                    </a:moveTo>
                    <a:lnTo>
                      <a:pt x="10" y="0"/>
                    </a:lnTo>
                    <a:lnTo>
                      <a:pt x="2" y="4"/>
                    </a:lnTo>
                    <a:lnTo>
                      <a:pt x="2" y="4"/>
                    </a:lnTo>
                    <a:lnTo>
                      <a:pt x="0" y="8"/>
                    </a:lnTo>
                    <a:lnTo>
                      <a:pt x="0" y="8"/>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2" y="10"/>
                    </a:lnTo>
                    <a:lnTo>
                      <a:pt x="2" y="10"/>
                    </a:lnTo>
                    <a:lnTo>
                      <a:pt x="2" y="6"/>
                    </a:lnTo>
                    <a:lnTo>
                      <a:pt x="2" y="6"/>
                    </a:lnTo>
                    <a:lnTo>
                      <a:pt x="10" y="0"/>
                    </a:lnTo>
                    <a:lnTo>
                      <a:pt x="10" y="0"/>
                    </a:lnTo>
                    <a:lnTo>
                      <a:pt x="1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1" name="Freeform 1740"/>
              <p:cNvSpPr>
                <a:spLocks/>
              </p:cNvSpPr>
              <p:nvPr/>
            </p:nvSpPr>
            <p:spPr bwMode="auto">
              <a:xfrm>
                <a:off x="6712" y="1066"/>
                <a:ext cx="16" cy="22"/>
              </a:xfrm>
              <a:custGeom>
                <a:avLst/>
                <a:gdLst>
                  <a:gd name="T0" fmla="*/ 10 w 16"/>
                  <a:gd name="T1" fmla="*/ 0 h 22"/>
                  <a:gd name="T2" fmla="*/ 10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2 w 16"/>
                  <a:gd name="T45" fmla="*/ 10 h 22"/>
                  <a:gd name="T46" fmla="*/ 2 w 16"/>
                  <a:gd name="T47" fmla="*/ 10 h 22"/>
                  <a:gd name="T48" fmla="*/ 2 w 16"/>
                  <a:gd name="T49" fmla="*/ 6 h 22"/>
                  <a:gd name="T50" fmla="*/ 2 w 16"/>
                  <a:gd name="T51" fmla="*/ 6 h 22"/>
                  <a:gd name="T52" fmla="*/ 10 w 16"/>
                  <a:gd name="T53" fmla="*/ 0 h 22"/>
                  <a:gd name="T54" fmla="*/ 10 w 16"/>
                  <a:gd name="T55" fmla="*/ 0 h 22"/>
                  <a:gd name="T56" fmla="*/ 10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10" y="0"/>
                    </a:moveTo>
                    <a:lnTo>
                      <a:pt x="10" y="0"/>
                    </a:lnTo>
                    <a:lnTo>
                      <a:pt x="2" y="4"/>
                    </a:lnTo>
                    <a:lnTo>
                      <a:pt x="2" y="4"/>
                    </a:lnTo>
                    <a:lnTo>
                      <a:pt x="0" y="8"/>
                    </a:lnTo>
                    <a:lnTo>
                      <a:pt x="0" y="8"/>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2" y="10"/>
                    </a:lnTo>
                    <a:lnTo>
                      <a:pt x="2" y="10"/>
                    </a:lnTo>
                    <a:lnTo>
                      <a:pt x="2" y="6"/>
                    </a:lnTo>
                    <a:lnTo>
                      <a:pt x="2" y="6"/>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2" name="Freeform 1741"/>
              <p:cNvSpPr>
                <a:spLocks/>
              </p:cNvSpPr>
              <p:nvPr/>
            </p:nvSpPr>
            <p:spPr bwMode="auto">
              <a:xfrm>
                <a:off x="6810" y="1070"/>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6 w 16"/>
                  <a:gd name="T13" fmla="*/ 26 h 26"/>
                  <a:gd name="T14" fmla="*/ 16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3" name="Freeform 1742"/>
              <p:cNvSpPr>
                <a:spLocks/>
              </p:cNvSpPr>
              <p:nvPr/>
            </p:nvSpPr>
            <p:spPr bwMode="auto">
              <a:xfrm>
                <a:off x="6810" y="1070"/>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6 w 16"/>
                  <a:gd name="T13" fmla="*/ 26 h 26"/>
                  <a:gd name="T14" fmla="*/ 16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4" name="Freeform 1743"/>
              <p:cNvSpPr>
                <a:spLocks/>
              </p:cNvSpPr>
              <p:nvPr/>
            </p:nvSpPr>
            <p:spPr bwMode="auto">
              <a:xfrm>
                <a:off x="6810" y="1070"/>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5" name="Freeform 1744"/>
              <p:cNvSpPr>
                <a:spLocks/>
              </p:cNvSpPr>
              <p:nvPr/>
            </p:nvSpPr>
            <p:spPr bwMode="auto">
              <a:xfrm>
                <a:off x="6810" y="1070"/>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6" name="Freeform 1745"/>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7" name="Freeform 1746"/>
              <p:cNvSpPr>
                <a:spLocks/>
              </p:cNvSpPr>
              <p:nvPr/>
            </p:nvSpPr>
            <p:spPr bwMode="auto">
              <a:xfrm>
                <a:off x="6710" y="1016"/>
                <a:ext cx="12" cy="2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8" name="Freeform 1747"/>
              <p:cNvSpPr>
                <a:spLocks noEditPoints="1"/>
              </p:cNvSpPr>
              <p:nvPr/>
            </p:nvSpPr>
            <p:spPr bwMode="auto">
              <a:xfrm>
                <a:off x="6710" y="1016"/>
                <a:ext cx="12" cy="20"/>
              </a:xfrm>
              <a:custGeom>
                <a:avLst/>
                <a:gdLst>
                  <a:gd name="T0" fmla="*/ 12 w 12"/>
                  <a:gd name="T1" fmla="*/ 14 h 20"/>
                  <a:gd name="T2" fmla="*/ 12 w 12"/>
                  <a:gd name="T3" fmla="*/ 14 h 20"/>
                  <a:gd name="T4" fmla="*/ 8 w 12"/>
                  <a:gd name="T5" fmla="*/ 16 h 20"/>
                  <a:gd name="T6" fmla="*/ 8 w 12"/>
                  <a:gd name="T7" fmla="*/ 16 h 20"/>
                  <a:gd name="T8" fmla="*/ 12 w 12"/>
                  <a:gd name="T9" fmla="*/ 14 h 20"/>
                  <a:gd name="T10" fmla="*/ 12 w 12"/>
                  <a:gd name="T11" fmla="*/ 14 h 20"/>
                  <a:gd name="T12" fmla="*/ 12 w 12"/>
                  <a:gd name="T13" fmla="*/ 14 h 20"/>
                  <a:gd name="T14" fmla="*/ 6 w 12"/>
                  <a:gd name="T15" fmla="*/ 0 h 20"/>
                  <a:gd name="T16" fmla="*/ 6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0 w 12"/>
                  <a:gd name="T29" fmla="*/ 12 h 20"/>
                  <a:gd name="T30" fmla="*/ 2 w 12"/>
                  <a:gd name="T31" fmla="*/ 16 h 20"/>
                  <a:gd name="T32" fmla="*/ 4 w 12"/>
                  <a:gd name="T33" fmla="*/ 18 h 20"/>
                  <a:gd name="T34" fmla="*/ 4 w 12"/>
                  <a:gd name="T35" fmla="*/ 18 h 20"/>
                  <a:gd name="T36" fmla="*/ 6 w 12"/>
                  <a:gd name="T37" fmla="*/ 20 h 20"/>
                  <a:gd name="T38" fmla="*/ 6 w 12"/>
                  <a:gd name="T39" fmla="*/ 20 h 20"/>
                  <a:gd name="T40" fmla="*/ 8 w 12"/>
                  <a:gd name="T41" fmla="*/ 20 h 20"/>
                  <a:gd name="T42" fmla="*/ 8 w 12"/>
                  <a:gd name="T43" fmla="*/ 20 h 20"/>
                  <a:gd name="T44" fmla="*/ 6 w 12"/>
                  <a:gd name="T45" fmla="*/ 20 h 20"/>
                  <a:gd name="T46" fmla="*/ 6 w 12"/>
                  <a:gd name="T47" fmla="*/ 20 h 20"/>
                  <a:gd name="T48" fmla="*/ 4 w 12"/>
                  <a:gd name="T49" fmla="*/ 18 h 20"/>
                  <a:gd name="T50" fmla="*/ 4 w 12"/>
                  <a:gd name="T51" fmla="*/ 18 h 20"/>
                  <a:gd name="T52" fmla="*/ 2 w 12"/>
                  <a:gd name="T53" fmla="*/ 16 h 20"/>
                  <a:gd name="T54" fmla="*/ 0 w 12"/>
                  <a:gd name="T55" fmla="*/ 12 h 20"/>
                  <a:gd name="T56" fmla="*/ 0 w 12"/>
                  <a:gd name="T57" fmla="*/ 8 h 20"/>
                  <a:gd name="T58" fmla="*/ 0 w 12"/>
                  <a:gd name="T59" fmla="*/ 4 h 20"/>
                  <a:gd name="T60" fmla="*/ 0 w 12"/>
                  <a:gd name="T61" fmla="*/ 4 h 20"/>
                  <a:gd name="T62" fmla="*/ 6 w 12"/>
                  <a:gd name="T63" fmla="*/ 0 h 20"/>
                  <a:gd name="T64" fmla="*/ 6 w 12"/>
                  <a:gd name="T65" fmla="*/ 0 h 20"/>
                  <a:gd name="T66" fmla="*/ 6 w 12"/>
                  <a:gd name="T67" fmla="*/ 0 h 20"/>
                  <a:gd name="T68" fmla="*/ 6 w 12"/>
                  <a:gd name="T69" fmla="*/ 0 h 20"/>
                  <a:gd name="T70" fmla="*/ 6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8" y="16"/>
                    </a:lnTo>
                    <a:lnTo>
                      <a:pt x="8" y="16"/>
                    </a:lnTo>
                    <a:lnTo>
                      <a:pt x="12" y="14"/>
                    </a:lnTo>
                    <a:lnTo>
                      <a:pt x="12" y="14"/>
                    </a:lnTo>
                    <a:lnTo>
                      <a:pt x="12" y="14"/>
                    </a:lnTo>
                    <a:close/>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29" name="Freeform 1748"/>
              <p:cNvSpPr>
                <a:spLocks/>
              </p:cNvSpPr>
              <p:nvPr/>
            </p:nvSpPr>
            <p:spPr bwMode="auto">
              <a:xfrm>
                <a:off x="6718" y="1030"/>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0" name="Freeform 1749"/>
              <p:cNvSpPr>
                <a:spLocks/>
              </p:cNvSpPr>
              <p:nvPr/>
            </p:nvSpPr>
            <p:spPr bwMode="auto">
              <a:xfrm>
                <a:off x="6710" y="1016"/>
                <a:ext cx="8" cy="20"/>
              </a:xfrm>
              <a:custGeom>
                <a:avLst/>
                <a:gdLst>
                  <a:gd name="T0" fmla="*/ 6 w 8"/>
                  <a:gd name="T1" fmla="*/ 0 h 20"/>
                  <a:gd name="T2" fmla="*/ 6 w 8"/>
                  <a:gd name="T3" fmla="*/ 0 h 20"/>
                  <a:gd name="T4" fmla="*/ 6 w 8"/>
                  <a:gd name="T5" fmla="*/ 0 h 20"/>
                  <a:gd name="T6" fmla="*/ 6 w 8"/>
                  <a:gd name="T7" fmla="*/ 0 h 20"/>
                  <a:gd name="T8" fmla="*/ 0 w 8"/>
                  <a:gd name="T9" fmla="*/ 4 h 20"/>
                  <a:gd name="T10" fmla="*/ 0 w 8"/>
                  <a:gd name="T11" fmla="*/ 4 h 20"/>
                  <a:gd name="T12" fmla="*/ 0 w 8"/>
                  <a:gd name="T13" fmla="*/ 8 h 20"/>
                  <a:gd name="T14" fmla="*/ 0 w 8"/>
                  <a:gd name="T15" fmla="*/ 12 h 20"/>
                  <a:gd name="T16" fmla="*/ 2 w 8"/>
                  <a:gd name="T17" fmla="*/ 16 h 20"/>
                  <a:gd name="T18" fmla="*/ 4 w 8"/>
                  <a:gd name="T19" fmla="*/ 18 h 20"/>
                  <a:gd name="T20" fmla="*/ 4 w 8"/>
                  <a:gd name="T21" fmla="*/ 18 h 20"/>
                  <a:gd name="T22" fmla="*/ 6 w 8"/>
                  <a:gd name="T23" fmla="*/ 20 h 20"/>
                  <a:gd name="T24" fmla="*/ 6 w 8"/>
                  <a:gd name="T25" fmla="*/ 20 h 20"/>
                  <a:gd name="T26" fmla="*/ 8 w 8"/>
                  <a:gd name="T27" fmla="*/ 20 h 20"/>
                  <a:gd name="T28" fmla="*/ 8 w 8"/>
                  <a:gd name="T29" fmla="*/ 20 h 20"/>
                  <a:gd name="T30" fmla="*/ 6 w 8"/>
                  <a:gd name="T31" fmla="*/ 20 h 20"/>
                  <a:gd name="T32" fmla="*/ 6 w 8"/>
                  <a:gd name="T33" fmla="*/ 20 h 20"/>
                  <a:gd name="T34" fmla="*/ 4 w 8"/>
                  <a:gd name="T35" fmla="*/ 18 h 20"/>
                  <a:gd name="T36" fmla="*/ 4 w 8"/>
                  <a:gd name="T37" fmla="*/ 18 h 20"/>
                  <a:gd name="T38" fmla="*/ 2 w 8"/>
                  <a:gd name="T39" fmla="*/ 16 h 20"/>
                  <a:gd name="T40" fmla="*/ 0 w 8"/>
                  <a:gd name="T41" fmla="*/ 12 h 20"/>
                  <a:gd name="T42" fmla="*/ 0 w 8"/>
                  <a:gd name="T43" fmla="*/ 8 h 20"/>
                  <a:gd name="T44" fmla="*/ 0 w 8"/>
                  <a:gd name="T45" fmla="*/ 4 h 20"/>
                  <a:gd name="T46" fmla="*/ 0 w 8"/>
                  <a:gd name="T47" fmla="*/ 4 h 20"/>
                  <a:gd name="T48" fmla="*/ 6 w 8"/>
                  <a:gd name="T49" fmla="*/ 0 h 20"/>
                  <a:gd name="T50" fmla="*/ 6 w 8"/>
                  <a:gd name="T51" fmla="*/ 0 h 20"/>
                  <a:gd name="T52" fmla="*/ 6 w 8"/>
                  <a:gd name="T53" fmla="*/ 0 h 20"/>
                  <a:gd name="T54" fmla="*/ 6 w 8"/>
                  <a:gd name="T55" fmla="*/ 0 h 20"/>
                  <a:gd name="T56" fmla="*/ 6 w 8"/>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1" name="Freeform 1750"/>
              <p:cNvSpPr>
                <a:spLocks noEditPoints="1"/>
              </p:cNvSpPr>
              <p:nvPr/>
            </p:nvSpPr>
            <p:spPr bwMode="auto">
              <a:xfrm>
                <a:off x="6824" y="1004"/>
                <a:ext cx="18" cy="14"/>
              </a:xfrm>
              <a:custGeom>
                <a:avLst/>
                <a:gdLst>
                  <a:gd name="T0" fmla="*/ 8 w 18"/>
                  <a:gd name="T1" fmla="*/ 8 h 14"/>
                  <a:gd name="T2" fmla="*/ 8 w 18"/>
                  <a:gd name="T3" fmla="*/ 8 h 14"/>
                  <a:gd name="T4" fmla="*/ 8 w 18"/>
                  <a:gd name="T5" fmla="*/ 8 h 14"/>
                  <a:gd name="T6" fmla="*/ 8 w 18"/>
                  <a:gd name="T7" fmla="*/ 8 h 14"/>
                  <a:gd name="T8" fmla="*/ 12 w 18"/>
                  <a:gd name="T9" fmla="*/ 10 h 14"/>
                  <a:gd name="T10" fmla="*/ 12 w 18"/>
                  <a:gd name="T11" fmla="*/ 10 h 14"/>
                  <a:gd name="T12" fmla="*/ 6 w 18"/>
                  <a:gd name="T13" fmla="*/ 12 h 14"/>
                  <a:gd name="T14" fmla="*/ 6 w 18"/>
                  <a:gd name="T15" fmla="*/ 12 h 14"/>
                  <a:gd name="T16" fmla="*/ 6 w 18"/>
                  <a:gd name="T17" fmla="*/ 12 h 14"/>
                  <a:gd name="T18" fmla="*/ 6 w 18"/>
                  <a:gd name="T19" fmla="*/ 12 h 14"/>
                  <a:gd name="T20" fmla="*/ 6 w 18"/>
                  <a:gd name="T21" fmla="*/ 12 h 14"/>
                  <a:gd name="T22" fmla="*/ 6 w 18"/>
                  <a:gd name="T23" fmla="*/ 12 h 14"/>
                  <a:gd name="T24" fmla="*/ 4 w 18"/>
                  <a:gd name="T25" fmla="*/ 10 h 14"/>
                  <a:gd name="T26" fmla="*/ 4 w 18"/>
                  <a:gd name="T27" fmla="*/ 10 h 14"/>
                  <a:gd name="T28" fmla="*/ 6 w 18"/>
                  <a:gd name="T29" fmla="*/ 8 h 14"/>
                  <a:gd name="T30" fmla="*/ 6 w 18"/>
                  <a:gd name="T31" fmla="*/ 8 h 14"/>
                  <a:gd name="T32" fmla="*/ 8 w 18"/>
                  <a:gd name="T33" fmla="*/ 8 h 14"/>
                  <a:gd name="T34" fmla="*/ 12 w 18"/>
                  <a:gd name="T35" fmla="*/ 0 h 14"/>
                  <a:gd name="T36" fmla="*/ 12 w 18"/>
                  <a:gd name="T37" fmla="*/ 0 h 14"/>
                  <a:gd name="T38" fmla="*/ 6 w 18"/>
                  <a:gd name="T39" fmla="*/ 4 h 14"/>
                  <a:gd name="T40" fmla="*/ 0 w 18"/>
                  <a:gd name="T41" fmla="*/ 10 h 14"/>
                  <a:gd name="T42" fmla="*/ 0 w 18"/>
                  <a:gd name="T43" fmla="*/ 10 h 14"/>
                  <a:gd name="T44" fmla="*/ 2 w 18"/>
                  <a:gd name="T45" fmla="*/ 10 h 14"/>
                  <a:gd name="T46" fmla="*/ 2 w 18"/>
                  <a:gd name="T47" fmla="*/ 10 h 14"/>
                  <a:gd name="T48" fmla="*/ 6 w 18"/>
                  <a:gd name="T49" fmla="*/ 14 h 14"/>
                  <a:gd name="T50" fmla="*/ 6 w 18"/>
                  <a:gd name="T51" fmla="*/ 14 h 14"/>
                  <a:gd name="T52" fmla="*/ 18 w 18"/>
                  <a:gd name="T53" fmla="*/ 6 h 14"/>
                  <a:gd name="T54" fmla="*/ 18 w 18"/>
                  <a:gd name="T55" fmla="*/ 6 h 14"/>
                  <a:gd name="T56" fmla="*/ 14 w 18"/>
                  <a:gd name="T57" fmla="*/ 6 h 14"/>
                  <a:gd name="T58" fmla="*/ 12 w 18"/>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8" y="8"/>
                    </a:moveTo>
                    <a:lnTo>
                      <a:pt x="8" y="8"/>
                    </a:lnTo>
                    <a:lnTo>
                      <a:pt x="8" y="8"/>
                    </a:lnTo>
                    <a:lnTo>
                      <a:pt x="8" y="8"/>
                    </a:lnTo>
                    <a:lnTo>
                      <a:pt x="12" y="10"/>
                    </a:lnTo>
                    <a:lnTo>
                      <a:pt x="12" y="10"/>
                    </a:lnTo>
                    <a:lnTo>
                      <a:pt x="6" y="12"/>
                    </a:lnTo>
                    <a:lnTo>
                      <a:pt x="6" y="12"/>
                    </a:lnTo>
                    <a:lnTo>
                      <a:pt x="6" y="12"/>
                    </a:lnTo>
                    <a:lnTo>
                      <a:pt x="6" y="12"/>
                    </a:lnTo>
                    <a:lnTo>
                      <a:pt x="6" y="12"/>
                    </a:lnTo>
                    <a:lnTo>
                      <a:pt x="6" y="12"/>
                    </a:lnTo>
                    <a:lnTo>
                      <a:pt x="4" y="10"/>
                    </a:lnTo>
                    <a:lnTo>
                      <a:pt x="4" y="10"/>
                    </a:lnTo>
                    <a:lnTo>
                      <a:pt x="6" y="8"/>
                    </a:lnTo>
                    <a:lnTo>
                      <a:pt x="6" y="8"/>
                    </a:lnTo>
                    <a:lnTo>
                      <a:pt x="8" y="8"/>
                    </a:lnTo>
                    <a:close/>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2" name="Freeform 1751"/>
              <p:cNvSpPr>
                <a:spLocks/>
              </p:cNvSpPr>
              <p:nvPr/>
            </p:nvSpPr>
            <p:spPr bwMode="auto">
              <a:xfrm>
                <a:off x="6828" y="1012"/>
                <a:ext cx="8" cy="4"/>
              </a:xfrm>
              <a:custGeom>
                <a:avLst/>
                <a:gdLst>
                  <a:gd name="T0" fmla="*/ 4 w 8"/>
                  <a:gd name="T1" fmla="*/ 0 h 4"/>
                  <a:gd name="T2" fmla="*/ 4 w 8"/>
                  <a:gd name="T3" fmla="*/ 0 h 4"/>
                  <a:gd name="T4" fmla="*/ 4 w 8"/>
                  <a:gd name="T5" fmla="*/ 0 h 4"/>
                  <a:gd name="T6" fmla="*/ 4 w 8"/>
                  <a:gd name="T7" fmla="*/ 0 h 4"/>
                  <a:gd name="T8" fmla="*/ 8 w 8"/>
                  <a:gd name="T9" fmla="*/ 2 h 4"/>
                  <a:gd name="T10" fmla="*/ 8 w 8"/>
                  <a:gd name="T11" fmla="*/ 2 h 4"/>
                  <a:gd name="T12" fmla="*/ 2 w 8"/>
                  <a:gd name="T13" fmla="*/ 4 h 4"/>
                  <a:gd name="T14" fmla="*/ 2 w 8"/>
                  <a:gd name="T15" fmla="*/ 4 h 4"/>
                  <a:gd name="T16" fmla="*/ 2 w 8"/>
                  <a:gd name="T17" fmla="*/ 4 h 4"/>
                  <a:gd name="T18" fmla="*/ 2 w 8"/>
                  <a:gd name="T19" fmla="*/ 4 h 4"/>
                  <a:gd name="T20" fmla="*/ 2 w 8"/>
                  <a:gd name="T21" fmla="*/ 4 h 4"/>
                  <a:gd name="T22" fmla="*/ 2 w 8"/>
                  <a:gd name="T23" fmla="*/ 4 h 4"/>
                  <a:gd name="T24" fmla="*/ 0 w 8"/>
                  <a:gd name="T25" fmla="*/ 2 h 4"/>
                  <a:gd name="T26" fmla="*/ 0 w 8"/>
                  <a:gd name="T27" fmla="*/ 2 h 4"/>
                  <a:gd name="T28" fmla="*/ 2 w 8"/>
                  <a:gd name="T29" fmla="*/ 0 h 4"/>
                  <a:gd name="T30" fmla="*/ 2 w 8"/>
                  <a:gd name="T31" fmla="*/ 0 h 4"/>
                  <a:gd name="T32" fmla="*/ 4 w 8"/>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4" y="0"/>
                    </a:moveTo>
                    <a:lnTo>
                      <a:pt x="4" y="0"/>
                    </a:lnTo>
                    <a:lnTo>
                      <a:pt x="4" y="0"/>
                    </a:lnTo>
                    <a:lnTo>
                      <a:pt x="4" y="0"/>
                    </a:lnTo>
                    <a:lnTo>
                      <a:pt x="8" y="2"/>
                    </a:lnTo>
                    <a:lnTo>
                      <a:pt x="8" y="2"/>
                    </a:lnTo>
                    <a:lnTo>
                      <a:pt x="2" y="4"/>
                    </a:lnTo>
                    <a:lnTo>
                      <a:pt x="2" y="4"/>
                    </a:lnTo>
                    <a:lnTo>
                      <a:pt x="2" y="4"/>
                    </a:lnTo>
                    <a:lnTo>
                      <a:pt x="2" y="4"/>
                    </a:lnTo>
                    <a:lnTo>
                      <a:pt x="2" y="4"/>
                    </a:lnTo>
                    <a:lnTo>
                      <a:pt x="2" y="4"/>
                    </a:lnTo>
                    <a:lnTo>
                      <a:pt x="0" y="2"/>
                    </a:lnTo>
                    <a:lnTo>
                      <a:pt x="0" y="2"/>
                    </a:lnTo>
                    <a:lnTo>
                      <a:pt x="2" y="0"/>
                    </a:lnTo>
                    <a:lnTo>
                      <a:pt x="2"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3" name="Freeform 1752"/>
              <p:cNvSpPr>
                <a:spLocks/>
              </p:cNvSpPr>
              <p:nvPr/>
            </p:nvSpPr>
            <p:spPr bwMode="auto">
              <a:xfrm>
                <a:off x="6824" y="1004"/>
                <a:ext cx="18" cy="14"/>
              </a:xfrm>
              <a:custGeom>
                <a:avLst/>
                <a:gdLst>
                  <a:gd name="T0" fmla="*/ 12 w 18"/>
                  <a:gd name="T1" fmla="*/ 0 h 14"/>
                  <a:gd name="T2" fmla="*/ 12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2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2" y="0"/>
                    </a:moveTo>
                    <a:lnTo>
                      <a:pt x="12" y="0"/>
                    </a:lnTo>
                    <a:lnTo>
                      <a:pt x="6" y="4"/>
                    </a:lnTo>
                    <a:lnTo>
                      <a:pt x="0" y="10"/>
                    </a:lnTo>
                    <a:lnTo>
                      <a:pt x="0" y="10"/>
                    </a:lnTo>
                    <a:lnTo>
                      <a:pt x="2" y="10"/>
                    </a:lnTo>
                    <a:lnTo>
                      <a:pt x="2" y="10"/>
                    </a:lnTo>
                    <a:lnTo>
                      <a:pt x="6" y="14"/>
                    </a:lnTo>
                    <a:lnTo>
                      <a:pt x="6" y="14"/>
                    </a:lnTo>
                    <a:lnTo>
                      <a:pt x="18" y="6"/>
                    </a:lnTo>
                    <a:lnTo>
                      <a:pt x="18" y="6"/>
                    </a:lnTo>
                    <a:lnTo>
                      <a:pt x="14"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4" name="Freeform 1753"/>
              <p:cNvSpPr>
                <a:spLocks/>
              </p:cNvSpPr>
              <p:nvPr/>
            </p:nvSpPr>
            <p:spPr bwMode="auto">
              <a:xfrm>
                <a:off x="6778" y="99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5" name="Freeform 1754"/>
              <p:cNvSpPr>
                <a:spLocks/>
              </p:cNvSpPr>
              <p:nvPr/>
            </p:nvSpPr>
            <p:spPr bwMode="auto">
              <a:xfrm>
                <a:off x="6778" y="994"/>
                <a:ext cx="20" cy="2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6 w 20"/>
                  <a:gd name="T17" fmla="*/ 6 h 20"/>
                  <a:gd name="T18" fmla="*/ 6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6" y="6"/>
                    </a:lnTo>
                    <a:lnTo>
                      <a:pt x="6"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6" name="Freeform 1755"/>
              <p:cNvSpPr>
                <a:spLocks/>
              </p:cNvSpPr>
              <p:nvPr/>
            </p:nvSpPr>
            <p:spPr bwMode="auto">
              <a:xfrm>
                <a:off x="6874" y="9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7" name="Freeform 1756"/>
              <p:cNvSpPr>
                <a:spLocks/>
              </p:cNvSpPr>
              <p:nvPr/>
            </p:nvSpPr>
            <p:spPr bwMode="auto">
              <a:xfrm>
                <a:off x="6874" y="998"/>
                <a:ext cx="10" cy="8"/>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8" name="Freeform 1757"/>
              <p:cNvSpPr>
                <a:spLocks/>
              </p:cNvSpPr>
              <p:nvPr/>
            </p:nvSpPr>
            <p:spPr bwMode="auto">
              <a:xfrm>
                <a:off x="6818" y="994"/>
                <a:ext cx="8" cy="6"/>
              </a:xfrm>
              <a:custGeom>
                <a:avLst/>
                <a:gdLst>
                  <a:gd name="T0" fmla="*/ 8 w 8"/>
                  <a:gd name="T1" fmla="*/ 0 h 6"/>
                  <a:gd name="T2" fmla="*/ 8 w 8"/>
                  <a:gd name="T3" fmla="*/ 0 h 6"/>
                  <a:gd name="T4" fmla="*/ 0 w 8"/>
                  <a:gd name="T5" fmla="*/ 4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0" y="4"/>
                    </a:lnTo>
                    <a:lnTo>
                      <a:pt x="0" y="4"/>
                    </a:lnTo>
                    <a:lnTo>
                      <a:pt x="0" y="6"/>
                    </a:lnTo>
                    <a:lnTo>
                      <a:pt x="0" y="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39" name="Freeform 1758"/>
              <p:cNvSpPr>
                <a:spLocks/>
              </p:cNvSpPr>
              <p:nvPr/>
            </p:nvSpPr>
            <p:spPr bwMode="auto">
              <a:xfrm>
                <a:off x="6818" y="994"/>
                <a:ext cx="8" cy="6"/>
              </a:xfrm>
              <a:custGeom>
                <a:avLst/>
                <a:gdLst>
                  <a:gd name="T0" fmla="*/ 8 w 8"/>
                  <a:gd name="T1" fmla="*/ 0 h 6"/>
                  <a:gd name="T2" fmla="*/ 8 w 8"/>
                  <a:gd name="T3" fmla="*/ 0 h 6"/>
                  <a:gd name="T4" fmla="*/ 0 w 8"/>
                  <a:gd name="T5" fmla="*/ 4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0" y="4"/>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0" name="Freeform 1759"/>
              <p:cNvSpPr>
                <a:spLocks/>
              </p:cNvSpPr>
              <p:nvPr/>
            </p:nvSpPr>
            <p:spPr bwMode="auto">
              <a:xfrm>
                <a:off x="6832" y="1044"/>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1" name="Freeform 1760"/>
              <p:cNvSpPr>
                <a:spLocks/>
              </p:cNvSpPr>
              <p:nvPr/>
            </p:nvSpPr>
            <p:spPr bwMode="auto">
              <a:xfrm>
                <a:off x="6832" y="1044"/>
                <a:ext cx="6" cy="4"/>
              </a:xfrm>
              <a:custGeom>
                <a:avLst/>
                <a:gdLst>
                  <a:gd name="T0" fmla="*/ 6 w 6"/>
                  <a:gd name="T1" fmla="*/ 0 h 4"/>
                  <a:gd name="T2" fmla="*/ 6 w 6"/>
                  <a:gd name="T3" fmla="*/ 0 h 4"/>
                  <a:gd name="T4" fmla="*/ 2 w 6"/>
                  <a:gd name="T5" fmla="*/ 0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0"/>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2" name="Freeform 1761"/>
              <p:cNvSpPr>
                <a:spLocks/>
              </p:cNvSpPr>
              <p:nvPr/>
            </p:nvSpPr>
            <p:spPr bwMode="auto">
              <a:xfrm>
                <a:off x="6828" y="1012"/>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0"/>
                    </a:moveTo>
                    <a:lnTo>
                      <a:pt x="4" y="0"/>
                    </a:lnTo>
                    <a:lnTo>
                      <a:pt x="0" y="2"/>
                    </a:lnTo>
                    <a:lnTo>
                      <a:pt x="0" y="2"/>
                    </a:lnTo>
                    <a:lnTo>
                      <a:pt x="2" y="4"/>
                    </a:lnTo>
                    <a:lnTo>
                      <a:pt x="2" y="4"/>
                    </a:lnTo>
                    <a:lnTo>
                      <a:pt x="6" y="2"/>
                    </a:lnTo>
                    <a:lnTo>
                      <a:pt x="6"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3" name="Freeform 1762"/>
              <p:cNvSpPr>
                <a:spLocks/>
              </p:cNvSpPr>
              <p:nvPr/>
            </p:nvSpPr>
            <p:spPr bwMode="auto">
              <a:xfrm>
                <a:off x="6828" y="1012"/>
                <a:ext cx="6" cy="4"/>
              </a:xfrm>
              <a:custGeom>
                <a:avLst/>
                <a:gdLst>
                  <a:gd name="T0" fmla="*/ 4 w 6"/>
                  <a:gd name="T1" fmla="*/ 0 h 4"/>
                  <a:gd name="T2" fmla="*/ 4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0"/>
                    </a:moveTo>
                    <a:lnTo>
                      <a:pt x="4" y="0"/>
                    </a:lnTo>
                    <a:lnTo>
                      <a:pt x="0" y="2"/>
                    </a:lnTo>
                    <a:lnTo>
                      <a:pt x="0" y="2"/>
                    </a:lnTo>
                    <a:lnTo>
                      <a:pt x="2" y="4"/>
                    </a:lnTo>
                    <a:lnTo>
                      <a:pt x="2" y="4"/>
                    </a:lnTo>
                    <a:lnTo>
                      <a:pt x="6" y="2"/>
                    </a:lnTo>
                    <a:lnTo>
                      <a:pt x="6"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4" name="Freeform 1763"/>
              <p:cNvSpPr>
                <a:spLocks/>
              </p:cNvSpPr>
              <p:nvPr/>
            </p:nvSpPr>
            <p:spPr bwMode="auto">
              <a:xfrm>
                <a:off x="6830" y="1012"/>
                <a:ext cx="6" cy="4"/>
              </a:xfrm>
              <a:custGeom>
                <a:avLst/>
                <a:gdLst>
                  <a:gd name="T0" fmla="*/ 2 w 6"/>
                  <a:gd name="T1" fmla="*/ 0 h 4"/>
                  <a:gd name="T2" fmla="*/ 2 w 6"/>
                  <a:gd name="T3" fmla="*/ 0 h 4"/>
                  <a:gd name="T4" fmla="*/ 2 w 6"/>
                  <a:gd name="T5" fmla="*/ 0 h 4"/>
                  <a:gd name="T6" fmla="*/ 2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2" y="0"/>
                    </a:lnTo>
                    <a:lnTo>
                      <a:pt x="2" y="0"/>
                    </a:lnTo>
                    <a:lnTo>
                      <a:pt x="4" y="2"/>
                    </a:lnTo>
                    <a:lnTo>
                      <a:pt x="4" y="2"/>
                    </a:lnTo>
                    <a:lnTo>
                      <a:pt x="0" y="4"/>
                    </a:lnTo>
                    <a:lnTo>
                      <a:pt x="0" y="4"/>
                    </a:lnTo>
                    <a:lnTo>
                      <a:pt x="0" y="4"/>
                    </a:lnTo>
                    <a:lnTo>
                      <a:pt x="0" y="4"/>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5" name="Freeform 1764"/>
              <p:cNvSpPr>
                <a:spLocks/>
              </p:cNvSpPr>
              <p:nvPr/>
            </p:nvSpPr>
            <p:spPr bwMode="auto">
              <a:xfrm>
                <a:off x="6830" y="1012"/>
                <a:ext cx="6" cy="4"/>
              </a:xfrm>
              <a:custGeom>
                <a:avLst/>
                <a:gdLst>
                  <a:gd name="T0" fmla="*/ 2 w 6"/>
                  <a:gd name="T1" fmla="*/ 0 h 4"/>
                  <a:gd name="T2" fmla="*/ 2 w 6"/>
                  <a:gd name="T3" fmla="*/ 0 h 4"/>
                  <a:gd name="T4" fmla="*/ 2 w 6"/>
                  <a:gd name="T5" fmla="*/ 0 h 4"/>
                  <a:gd name="T6" fmla="*/ 2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2" y="0"/>
                    </a:lnTo>
                    <a:lnTo>
                      <a:pt x="2" y="0"/>
                    </a:lnTo>
                    <a:lnTo>
                      <a:pt x="4" y="2"/>
                    </a:lnTo>
                    <a:lnTo>
                      <a:pt x="4" y="2"/>
                    </a:lnTo>
                    <a:lnTo>
                      <a:pt x="0" y="4"/>
                    </a:lnTo>
                    <a:lnTo>
                      <a:pt x="0" y="4"/>
                    </a:lnTo>
                    <a:lnTo>
                      <a:pt x="0" y="4"/>
                    </a:lnTo>
                    <a:lnTo>
                      <a:pt x="0"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6" name="Freeform 1765"/>
              <p:cNvSpPr>
                <a:spLocks/>
              </p:cNvSpPr>
              <p:nvPr/>
            </p:nvSpPr>
            <p:spPr bwMode="auto">
              <a:xfrm>
                <a:off x="589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7" name="Freeform 1766"/>
              <p:cNvSpPr>
                <a:spLocks/>
              </p:cNvSpPr>
              <p:nvPr/>
            </p:nvSpPr>
            <p:spPr bwMode="auto">
              <a:xfrm>
                <a:off x="598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8" name="Freeform 1767"/>
              <p:cNvSpPr>
                <a:spLocks/>
              </p:cNvSpPr>
              <p:nvPr/>
            </p:nvSpPr>
            <p:spPr bwMode="auto">
              <a:xfrm>
                <a:off x="6080"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49" name="Freeform 1768"/>
              <p:cNvSpPr>
                <a:spLocks/>
              </p:cNvSpPr>
              <p:nvPr/>
            </p:nvSpPr>
            <p:spPr bwMode="auto">
              <a:xfrm>
                <a:off x="639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0" name="Freeform 1769"/>
              <p:cNvSpPr>
                <a:spLocks/>
              </p:cNvSpPr>
              <p:nvPr/>
            </p:nvSpPr>
            <p:spPr bwMode="auto">
              <a:xfrm>
                <a:off x="639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1" name="Freeform 1770"/>
              <p:cNvSpPr>
                <a:spLocks/>
              </p:cNvSpPr>
              <p:nvPr/>
            </p:nvSpPr>
            <p:spPr bwMode="auto">
              <a:xfrm>
                <a:off x="6460"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2" name="Freeform 1771"/>
              <p:cNvSpPr>
                <a:spLocks/>
              </p:cNvSpPr>
              <p:nvPr/>
            </p:nvSpPr>
            <p:spPr bwMode="auto">
              <a:xfrm>
                <a:off x="6460"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3" name="Freeform 1772"/>
              <p:cNvSpPr>
                <a:spLocks/>
              </p:cNvSpPr>
              <p:nvPr/>
            </p:nvSpPr>
            <p:spPr bwMode="auto">
              <a:xfrm>
                <a:off x="6544" y="782"/>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4" name="Freeform 1773"/>
              <p:cNvSpPr>
                <a:spLocks/>
              </p:cNvSpPr>
              <p:nvPr/>
            </p:nvSpPr>
            <p:spPr bwMode="auto">
              <a:xfrm>
                <a:off x="663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5" name="Freeform 1774"/>
              <p:cNvSpPr>
                <a:spLocks/>
              </p:cNvSpPr>
              <p:nvPr/>
            </p:nvSpPr>
            <p:spPr bwMode="auto">
              <a:xfrm>
                <a:off x="6728"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6" name="Freeform 1775"/>
              <p:cNvSpPr>
                <a:spLocks noEditPoints="1"/>
              </p:cNvSpPr>
              <p:nvPr/>
            </p:nvSpPr>
            <p:spPr bwMode="auto">
              <a:xfrm>
                <a:off x="6172" y="778"/>
                <a:ext cx="186" cy="146"/>
              </a:xfrm>
              <a:custGeom>
                <a:avLst/>
                <a:gdLst>
                  <a:gd name="T0" fmla="*/ 116 w 186"/>
                  <a:gd name="T1" fmla="*/ 104 h 146"/>
                  <a:gd name="T2" fmla="*/ 112 w 186"/>
                  <a:gd name="T3" fmla="*/ 130 h 146"/>
                  <a:gd name="T4" fmla="*/ 18 w 186"/>
                  <a:gd name="T5" fmla="*/ 122 h 146"/>
                  <a:gd name="T6" fmla="*/ 6 w 186"/>
                  <a:gd name="T7" fmla="*/ 104 h 146"/>
                  <a:gd name="T8" fmla="*/ 22 w 186"/>
                  <a:gd name="T9" fmla="*/ 116 h 146"/>
                  <a:gd name="T10" fmla="*/ 8 w 186"/>
                  <a:gd name="T11" fmla="*/ 50 h 146"/>
                  <a:gd name="T12" fmla="*/ 8 w 186"/>
                  <a:gd name="T13" fmla="*/ 50 h 146"/>
                  <a:gd name="T14" fmla="*/ 10 w 186"/>
                  <a:gd name="T15" fmla="*/ 66 h 146"/>
                  <a:gd name="T16" fmla="*/ 10 w 186"/>
                  <a:gd name="T17" fmla="*/ 68 h 146"/>
                  <a:gd name="T18" fmla="*/ 0 w 186"/>
                  <a:gd name="T19" fmla="*/ 58 h 146"/>
                  <a:gd name="T20" fmla="*/ 84 w 186"/>
                  <a:gd name="T21" fmla="*/ 16 h 146"/>
                  <a:gd name="T22" fmla="*/ 128 w 186"/>
                  <a:gd name="T23" fmla="*/ 8 h 146"/>
                  <a:gd name="T24" fmla="*/ 156 w 186"/>
                  <a:gd name="T25" fmla="*/ 32 h 146"/>
                  <a:gd name="T26" fmla="*/ 158 w 186"/>
                  <a:gd name="T27" fmla="*/ 44 h 146"/>
                  <a:gd name="T28" fmla="*/ 152 w 186"/>
                  <a:gd name="T29" fmla="*/ 44 h 146"/>
                  <a:gd name="T30" fmla="*/ 156 w 186"/>
                  <a:gd name="T31" fmla="*/ 46 h 146"/>
                  <a:gd name="T32" fmla="*/ 160 w 186"/>
                  <a:gd name="T33" fmla="*/ 42 h 146"/>
                  <a:gd name="T34" fmla="*/ 176 w 186"/>
                  <a:gd name="T35" fmla="*/ 28 h 146"/>
                  <a:gd name="T36" fmla="*/ 182 w 186"/>
                  <a:gd name="T37" fmla="*/ 70 h 146"/>
                  <a:gd name="T38" fmla="*/ 140 w 186"/>
                  <a:gd name="T39" fmla="*/ 86 h 146"/>
                  <a:gd name="T40" fmla="*/ 134 w 186"/>
                  <a:gd name="T41" fmla="*/ 100 h 146"/>
                  <a:gd name="T42" fmla="*/ 144 w 186"/>
                  <a:gd name="T43" fmla="*/ 90 h 146"/>
                  <a:gd name="T44" fmla="*/ 128 w 186"/>
                  <a:gd name="T45" fmla="*/ 100 h 146"/>
                  <a:gd name="T46" fmla="*/ 114 w 186"/>
                  <a:gd name="T47" fmla="*/ 96 h 146"/>
                  <a:gd name="T48" fmla="*/ 86 w 186"/>
                  <a:gd name="T49" fmla="*/ 140 h 146"/>
                  <a:gd name="T50" fmla="*/ 68 w 186"/>
                  <a:gd name="T51" fmla="*/ 128 h 146"/>
                  <a:gd name="T52" fmla="*/ 76 w 186"/>
                  <a:gd name="T53" fmla="*/ 112 h 146"/>
                  <a:gd name="T54" fmla="*/ 54 w 186"/>
                  <a:gd name="T55" fmla="*/ 116 h 146"/>
                  <a:gd name="T56" fmla="*/ 52 w 186"/>
                  <a:gd name="T57" fmla="*/ 122 h 146"/>
                  <a:gd name="T58" fmla="*/ 42 w 186"/>
                  <a:gd name="T59" fmla="*/ 140 h 146"/>
                  <a:gd name="T60" fmla="*/ 26 w 186"/>
                  <a:gd name="T61" fmla="*/ 122 h 146"/>
                  <a:gd name="T62" fmla="*/ 14 w 186"/>
                  <a:gd name="T63" fmla="*/ 78 h 146"/>
                  <a:gd name="T64" fmla="*/ 56 w 186"/>
                  <a:gd name="T65" fmla="*/ 34 h 146"/>
                  <a:gd name="T66" fmla="*/ 40 w 186"/>
                  <a:gd name="T67" fmla="*/ 64 h 146"/>
                  <a:gd name="T68" fmla="*/ 48 w 186"/>
                  <a:gd name="T69" fmla="*/ 90 h 146"/>
                  <a:gd name="T70" fmla="*/ 72 w 186"/>
                  <a:gd name="T71" fmla="*/ 96 h 146"/>
                  <a:gd name="T72" fmla="*/ 94 w 186"/>
                  <a:gd name="T73" fmla="*/ 58 h 146"/>
                  <a:gd name="T74" fmla="*/ 90 w 186"/>
                  <a:gd name="T75" fmla="*/ 84 h 146"/>
                  <a:gd name="T76" fmla="*/ 56 w 186"/>
                  <a:gd name="T77" fmla="*/ 94 h 146"/>
                  <a:gd name="T78" fmla="*/ 58 w 186"/>
                  <a:gd name="T79" fmla="*/ 68 h 146"/>
                  <a:gd name="T80" fmla="*/ 46 w 186"/>
                  <a:gd name="T81" fmla="*/ 56 h 146"/>
                  <a:gd name="T82" fmla="*/ 86 w 186"/>
                  <a:gd name="T83" fmla="*/ 22 h 146"/>
                  <a:gd name="T84" fmla="*/ 90 w 186"/>
                  <a:gd name="T85" fmla="*/ 6 h 146"/>
                  <a:gd name="T86" fmla="*/ 70 w 186"/>
                  <a:gd name="T87" fmla="*/ 22 h 146"/>
                  <a:gd name="T88" fmla="*/ 16 w 186"/>
                  <a:gd name="T89" fmla="*/ 56 h 146"/>
                  <a:gd name="T90" fmla="*/ 12 w 186"/>
                  <a:gd name="T91" fmla="*/ 56 h 146"/>
                  <a:gd name="T92" fmla="*/ 0 w 186"/>
                  <a:gd name="T93" fmla="*/ 58 h 146"/>
                  <a:gd name="T94" fmla="*/ 10 w 186"/>
                  <a:gd name="T95" fmla="*/ 84 h 146"/>
                  <a:gd name="T96" fmla="*/ 2 w 186"/>
                  <a:gd name="T97" fmla="*/ 112 h 146"/>
                  <a:gd name="T98" fmla="*/ 20 w 186"/>
                  <a:gd name="T99" fmla="*/ 130 h 146"/>
                  <a:gd name="T100" fmla="*/ 44 w 186"/>
                  <a:gd name="T101" fmla="*/ 144 h 146"/>
                  <a:gd name="T102" fmla="*/ 56 w 186"/>
                  <a:gd name="T103" fmla="*/ 120 h 146"/>
                  <a:gd name="T104" fmla="*/ 72 w 186"/>
                  <a:gd name="T105" fmla="*/ 144 h 146"/>
                  <a:gd name="T106" fmla="*/ 96 w 186"/>
                  <a:gd name="T107" fmla="*/ 134 h 146"/>
                  <a:gd name="T108" fmla="*/ 122 w 186"/>
                  <a:gd name="T109" fmla="*/ 124 h 146"/>
                  <a:gd name="T110" fmla="*/ 118 w 186"/>
                  <a:gd name="T111" fmla="*/ 96 h 146"/>
                  <a:gd name="T112" fmla="*/ 142 w 186"/>
                  <a:gd name="T113" fmla="*/ 100 h 146"/>
                  <a:gd name="T114" fmla="*/ 156 w 186"/>
                  <a:gd name="T115" fmla="*/ 92 h 146"/>
                  <a:gd name="T116" fmla="*/ 186 w 186"/>
                  <a:gd name="T117" fmla="*/ 46 h 146"/>
                  <a:gd name="T118" fmla="*/ 172 w 186"/>
                  <a:gd name="T119" fmla="*/ 24 h 146"/>
                  <a:gd name="T120" fmla="*/ 158 w 186"/>
                  <a:gd name="T121" fmla="*/ 30 h 146"/>
                  <a:gd name="T122" fmla="*/ 112 w 186"/>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18" y="122"/>
                    </a:moveTo>
                    <a:lnTo>
                      <a:pt x="18" y="122"/>
                    </a:lnTo>
                    <a:lnTo>
                      <a:pt x="14" y="122"/>
                    </a:lnTo>
                    <a:lnTo>
                      <a:pt x="8" y="118"/>
                    </a:lnTo>
                    <a:lnTo>
                      <a:pt x="6" y="114"/>
                    </a:lnTo>
                    <a:lnTo>
                      <a:pt x="4" y="108"/>
                    </a:lnTo>
                    <a:lnTo>
                      <a:pt x="4" y="108"/>
                    </a:lnTo>
                    <a:lnTo>
                      <a:pt x="6" y="104"/>
                    </a:lnTo>
                    <a:lnTo>
                      <a:pt x="6" y="104"/>
                    </a:lnTo>
                    <a:lnTo>
                      <a:pt x="12" y="100"/>
                    </a:lnTo>
                    <a:lnTo>
                      <a:pt x="12" y="100"/>
                    </a:lnTo>
                    <a:lnTo>
                      <a:pt x="12" y="100"/>
                    </a:lnTo>
                    <a:lnTo>
                      <a:pt x="12" y="100"/>
                    </a:lnTo>
                    <a:lnTo>
                      <a:pt x="12" y="100"/>
                    </a:lnTo>
                    <a:lnTo>
                      <a:pt x="12" y="100"/>
                    </a:lnTo>
                    <a:lnTo>
                      <a:pt x="22" y="116"/>
                    </a:lnTo>
                    <a:lnTo>
                      <a:pt x="22" y="116"/>
                    </a:lnTo>
                    <a:lnTo>
                      <a:pt x="22" y="120"/>
                    </a:lnTo>
                    <a:lnTo>
                      <a:pt x="20" y="122"/>
                    </a:lnTo>
                    <a:lnTo>
                      <a:pt x="20" y="122"/>
                    </a:lnTo>
                    <a:lnTo>
                      <a:pt x="18" y="122"/>
                    </a:lnTo>
                    <a:lnTo>
                      <a:pt x="18"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2" y="64"/>
                    </a:lnTo>
                    <a:lnTo>
                      <a:pt x="12" y="64"/>
                    </a:lnTo>
                    <a:lnTo>
                      <a:pt x="12" y="64"/>
                    </a:lnTo>
                    <a:lnTo>
                      <a:pt x="12" y="64"/>
                    </a:lnTo>
                    <a:lnTo>
                      <a:pt x="12" y="64"/>
                    </a:lnTo>
                    <a:lnTo>
                      <a:pt x="12" y="64"/>
                    </a:lnTo>
                    <a:lnTo>
                      <a:pt x="12" y="68"/>
                    </a:lnTo>
                    <a:lnTo>
                      <a:pt x="10" y="68"/>
                    </a:lnTo>
                    <a:lnTo>
                      <a:pt x="10" y="68"/>
                    </a:lnTo>
                    <a:lnTo>
                      <a:pt x="8" y="70"/>
                    </a:lnTo>
                    <a:lnTo>
                      <a:pt x="8" y="70"/>
                    </a:lnTo>
                    <a:lnTo>
                      <a:pt x="6" y="68"/>
                    </a:lnTo>
                    <a:lnTo>
                      <a:pt x="6" y="68"/>
                    </a:lnTo>
                    <a:lnTo>
                      <a:pt x="4" y="66"/>
                    </a:lnTo>
                    <a:lnTo>
                      <a:pt x="2" y="62"/>
                    </a:lnTo>
                    <a:lnTo>
                      <a:pt x="0" y="58"/>
                    </a:lnTo>
                    <a:lnTo>
                      <a:pt x="0" y="54"/>
                    </a:lnTo>
                    <a:lnTo>
                      <a:pt x="0"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0"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48" y="40"/>
                    </a:lnTo>
                    <a:lnTo>
                      <a:pt x="152" y="42"/>
                    </a:lnTo>
                    <a:lnTo>
                      <a:pt x="152" y="42"/>
                    </a:lnTo>
                    <a:lnTo>
                      <a:pt x="156" y="40"/>
                    </a:lnTo>
                    <a:lnTo>
                      <a:pt x="156" y="40"/>
                    </a:lnTo>
                    <a:lnTo>
                      <a:pt x="158" y="44"/>
                    </a:lnTo>
                    <a:lnTo>
                      <a:pt x="158" y="44"/>
                    </a:lnTo>
                    <a:lnTo>
                      <a:pt x="146" y="46"/>
                    </a:lnTo>
                    <a:lnTo>
                      <a:pt x="146" y="48"/>
                    </a:lnTo>
                    <a:lnTo>
                      <a:pt x="144" y="52"/>
                    </a:lnTo>
                    <a:lnTo>
                      <a:pt x="144" y="52"/>
                    </a:lnTo>
                    <a:lnTo>
                      <a:pt x="146" y="48"/>
                    </a:lnTo>
                    <a:lnTo>
                      <a:pt x="146" y="48"/>
                    </a:lnTo>
                    <a:lnTo>
                      <a:pt x="152" y="44"/>
                    </a:lnTo>
                    <a:lnTo>
                      <a:pt x="152" y="44"/>
                    </a:lnTo>
                    <a:lnTo>
                      <a:pt x="148" y="56"/>
                    </a:lnTo>
                    <a:lnTo>
                      <a:pt x="148"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2" y="62"/>
                    </a:lnTo>
                    <a:lnTo>
                      <a:pt x="182" y="70"/>
                    </a:lnTo>
                    <a:lnTo>
                      <a:pt x="182" y="70"/>
                    </a:lnTo>
                    <a:lnTo>
                      <a:pt x="176" y="78"/>
                    </a:lnTo>
                    <a:lnTo>
                      <a:pt x="172" y="84"/>
                    </a:lnTo>
                    <a:lnTo>
                      <a:pt x="164" y="88"/>
                    </a:lnTo>
                    <a:lnTo>
                      <a:pt x="156" y="88"/>
                    </a:lnTo>
                    <a:lnTo>
                      <a:pt x="156" y="88"/>
                    </a:lnTo>
                    <a:lnTo>
                      <a:pt x="148" y="88"/>
                    </a:lnTo>
                    <a:lnTo>
                      <a:pt x="148"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6"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4" y="138"/>
                    </a:lnTo>
                    <a:lnTo>
                      <a:pt x="42" y="140"/>
                    </a:lnTo>
                    <a:lnTo>
                      <a:pt x="42"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2"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2" y="62"/>
                    </a:lnTo>
                    <a:lnTo>
                      <a:pt x="42"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4"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2"/>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4"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2" y="144"/>
                    </a:lnTo>
                    <a:lnTo>
                      <a:pt x="72"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18" y="104"/>
                    </a:lnTo>
                    <a:lnTo>
                      <a:pt x="118"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68" y="28"/>
                    </a:lnTo>
                    <a:lnTo>
                      <a:pt x="168" y="28"/>
                    </a:lnTo>
                    <a:lnTo>
                      <a:pt x="164" y="32"/>
                    </a:lnTo>
                    <a:lnTo>
                      <a:pt x="164" y="32"/>
                    </a:lnTo>
                    <a:lnTo>
                      <a:pt x="162" y="34"/>
                    </a:lnTo>
                    <a:lnTo>
                      <a:pt x="162" y="34"/>
                    </a:lnTo>
                    <a:lnTo>
                      <a:pt x="158" y="30"/>
                    </a:lnTo>
                    <a:lnTo>
                      <a:pt x="158" y="30"/>
                    </a:lnTo>
                    <a:lnTo>
                      <a:pt x="156" y="26"/>
                    </a:lnTo>
                    <a:lnTo>
                      <a:pt x="152" y="22"/>
                    </a:lnTo>
                    <a:lnTo>
                      <a:pt x="152" y="22"/>
                    </a:lnTo>
                    <a:lnTo>
                      <a:pt x="136" y="10"/>
                    </a:lnTo>
                    <a:lnTo>
                      <a:pt x="136" y="10"/>
                    </a:lnTo>
                    <a:lnTo>
                      <a:pt x="130" y="6"/>
                    </a:lnTo>
                    <a:lnTo>
                      <a:pt x="124" y="2"/>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7" name="Freeform 1776"/>
              <p:cNvSpPr>
                <a:spLocks/>
              </p:cNvSpPr>
              <p:nvPr/>
            </p:nvSpPr>
            <p:spPr bwMode="auto">
              <a:xfrm>
                <a:off x="6274" y="882"/>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8" name="Freeform 1777"/>
              <p:cNvSpPr>
                <a:spLocks/>
              </p:cNvSpPr>
              <p:nvPr/>
            </p:nvSpPr>
            <p:spPr bwMode="auto">
              <a:xfrm>
                <a:off x="6176" y="878"/>
                <a:ext cx="18" cy="22"/>
              </a:xfrm>
              <a:custGeom>
                <a:avLst/>
                <a:gdLst>
                  <a:gd name="T0" fmla="*/ 14 w 18"/>
                  <a:gd name="T1" fmla="*/ 22 h 22"/>
                  <a:gd name="T2" fmla="*/ 14 w 18"/>
                  <a:gd name="T3" fmla="*/ 22 h 22"/>
                  <a:gd name="T4" fmla="*/ 10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6 h 22"/>
                  <a:gd name="T32" fmla="*/ 18 w 18"/>
                  <a:gd name="T33" fmla="*/ 16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10"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59" name="Freeform 1778"/>
              <p:cNvSpPr>
                <a:spLocks/>
              </p:cNvSpPr>
              <p:nvPr/>
            </p:nvSpPr>
            <p:spPr bwMode="auto">
              <a:xfrm>
                <a:off x="6172" y="828"/>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10 w 12"/>
                  <a:gd name="T29" fmla="*/ 16 h 20"/>
                  <a:gd name="T30" fmla="*/ 10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0" name="Freeform 1779"/>
              <p:cNvSpPr>
                <a:spLocks/>
              </p:cNvSpPr>
              <p:nvPr/>
            </p:nvSpPr>
            <p:spPr bwMode="auto">
              <a:xfrm>
                <a:off x="6186" y="782"/>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1" name="Freeform 1780"/>
              <p:cNvSpPr>
                <a:spLocks/>
              </p:cNvSpPr>
              <p:nvPr/>
            </p:nvSpPr>
            <p:spPr bwMode="auto">
              <a:xfrm>
                <a:off x="6172" y="778"/>
                <a:ext cx="186" cy="146"/>
              </a:xfrm>
              <a:custGeom>
                <a:avLst/>
                <a:gdLst>
                  <a:gd name="T0" fmla="*/ 104 w 186"/>
                  <a:gd name="T1" fmla="*/ 0 h 146"/>
                  <a:gd name="T2" fmla="*/ 84 w 186"/>
                  <a:gd name="T3" fmla="*/ 12 h 146"/>
                  <a:gd name="T4" fmla="*/ 74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2 w 186"/>
                  <a:gd name="T25" fmla="*/ 68 h 146"/>
                  <a:gd name="T26" fmla="*/ 10 w 186"/>
                  <a:gd name="T27" fmla="*/ 72 h 146"/>
                  <a:gd name="T28" fmla="*/ 10 w 186"/>
                  <a:gd name="T29" fmla="*/ 84 h 146"/>
                  <a:gd name="T30" fmla="*/ 8 w 186"/>
                  <a:gd name="T31" fmla="*/ 98 h 146"/>
                  <a:gd name="T32" fmla="*/ 2 w 186"/>
                  <a:gd name="T33" fmla="*/ 106 h 146"/>
                  <a:gd name="T34" fmla="*/ 4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2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18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4"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2"/>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4"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2" y="144"/>
                    </a:lnTo>
                    <a:lnTo>
                      <a:pt x="72"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18" y="104"/>
                    </a:lnTo>
                    <a:lnTo>
                      <a:pt x="118"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68" y="28"/>
                    </a:lnTo>
                    <a:lnTo>
                      <a:pt x="168" y="28"/>
                    </a:lnTo>
                    <a:lnTo>
                      <a:pt x="164" y="32"/>
                    </a:lnTo>
                    <a:lnTo>
                      <a:pt x="164" y="32"/>
                    </a:lnTo>
                    <a:lnTo>
                      <a:pt x="162" y="34"/>
                    </a:lnTo>
                    <a:lnTo>
                      <a:pt x="162" y="34"/>
                    </a:lnTo>
                    <a:lnTo>
                      <a:pt x="158" y="30"/>
                    </a:lnTo>
                    <a:lnTo>
                      <a:pt x="158" y="30"/>
                    </a:lnTo>
                    <a:lnTo>
                      <a:pt x="156" y="26"/>
                    </a:lnTo>
                    <a:lnTo>
                      <a:pt x="152" y="22"/>
                    </a:lnTo>
                    <a:lnTo>
                      <a:pt x="152" y="22"/>
                    </a:lnTo>
                    <a:lnTo>
                      <a:pt x="136" y="10"/>
                    </a:lnTo>
                    <a:lnTo>
                      <a:pt x="136" y="10"/>
                    </a:lnTo>
                    <a:lnTo>
                      <a:pt x="130"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2" name="Freeform 1781"/>
              <p:cNvSpPr>
                <a:spLocks/>
              </p:cNvSpPr>
              <p:nvPr/>
            </p:nvSpPr>
            <p:spPr bwMode="auto">
              <a:xfrm>
                <a:off x="6176" y="8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0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6" y="18"/>
                    </a:lnTo>
                    <a:lnTo>
                      <a:pt x="10" y="20"/>
                    </a:lnTo>
                    <a:lnTo>
                      <a:pt x="14" y="22"/>
                    </a:lnTo>
                    <a:lnTo>
                      <a:pt x="14" y="22"/>
                    </a:lnTo>
                    <a:lnTo>
                      <a:pt x="16" y="22"/>
                    </a:lnTo>
                    <a:lnTo>
                      <a:pt x="16" y="22"/>
                    </a:lnTo>
                    <a:lnTo>
                      <a:pt x="16" y="22"/>
                    </a:lnTo>
                    <a:lnTo>
                      <a:pt x="16"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3" name="Freeform 1782"/>
              <p:cNvSpPr>
                <a:spLocks/>
              </p:cNvSpPr>
              <p:nvPr/>
            </p:nvSpPr>
            <p:spPr bwMode="auto">
              <a:xfrm>
                <a:off x="6176" y="878"/>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0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6" y="18"/>
                    </a:lnTo>
                    <a:lnTo>
                      <a:pt x="10" y="20"/>
                    </a:lnTo>
                    <a:lnTo>
                      <a:pt x="14" y="22"/>
                    </a:lnTo>
                    <a:lnTo>
                      <a:pt x="14" y="22"/>
                    </a:lnTo>
                    <a:lnTo>
                      <a:pt x="16" y="22"/>
                    </a:lnTo>
                    <a:lnTo>
                      <a:pt x="16"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4" name="Freeform 1783"/>
              <p:cNvSpPr>
                <a:spLocks/>
              </p:cNvSpPr>
              <p:nvPr/>
            </p:nvSpPr>
            <p:spPr bwMode="auto">
              <a:xfrm>
                <a:off x="6176" y="878"/>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10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0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10" y="22"/>
                    </a:lnTo>
                    <a:lnTo>
                      <a:pt x="14" y="22"/>
                    </a:lnTo>
                    <a:lnTo>
                      <a:pt x="14" y="22"/>
                    </a:lnTo>
                    <a:lnTo>
                      <a:pt x="14" y="22"/>
                    </a:lnTo>
                    <a:lnTo>
                      <a:pt x="14" y="22"/>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5" name="Freeform 1784"/>
              <p:cNvSpPr>
                <a:spLocks/>
              </p:cNvSpPr>
              <p:nvPr/>
            </p:nvSpPr>
            <p:spPr bwMode="auto">
              <a:xfrm>
                <a:off x="6176" y="878"/>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10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0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10" y="22"/>
                    </a:lnTo>
                    <a:lnTo>
                      <a:pt x="14" y="22"/>
                    </a:lnTo>
                    <a:lnTo>
                      <a:pt x="14" y="22"/>
                    </a:lnTo>
                    <a:lnTo>
                      <a:pt x="14" y="22"/>
                    </a:lnTo>
                    <a:lnTo>
                      <a:pt x="14" y="22"/>
                    </a:lnTo>
                    <a:lnTo>
                      <a:pt x="16" y="22"/>
                    </a:lnTo>
                    <a:lnTo>
                      <a:pt x="16" y="22"/>
                    </a:lnTo>
                    <a:lnTo>
                      <a:pt x="16" y="22"/>
                    </a:lnTo>
                    <a:lnTo>
                      <a:pt x="16" y="22"/>
                    </a:lnTo>
                    <a:lnTo>
                      <a:pt x="14" y="22"/>
                    </a:lnTo>
                    <a:lnTo>
                      <a:pt x="14" y="22"/>
                    </a:lnTo>
                    <a:lnTo>
                      <a:pt x="10" y="20"/>
                    </a:lnTo>
                    <a:lnTo>
                      <a:pt x="6"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6" name="Freeform 1785"/>
              <p:cNvSpPr>
                <a:spLocks/>
              </p:cNvSpPr>
              <p:nvPr/>
            </p:nvSpPr>
            <p:spPr bwMode="auto">
              <a:xfrm>
                <a:off x="6274" y="882"/>
                <a:ext cx="16" cy="26"/>
              </a:xfrm>
              <a:custGeom>
                <a:avLst/>
                <a:gdLst>
                  <a:gd name="T0" fmla="*/ 14 w 16"/>
                  <a:gd name="T1" fmla="*/ 0 h 26"/>
                  <a:gd name="T2" fmla="*/ 14 w 16"/>
                  <a:gd name="T3" fmla="*/ 0 h 26"/>
                  <a:gd name="T4" fmla="*/ 4 w 16"/>
                  <a:gd name="T5" fmla="*/ 20 h 26"/>
                  <a:gd name="T6" fmla="*/ 4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2 h 26"/>
                  <a:gd name="T30" fmla="*/ 16 w 16"/>
                  <a:gd name="T31" fmla="*/ 22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7" name="Freeform 1786"/>
              <p:cNvSpPr>
                <a:spLocks/>
              </p:cNvSpPr>
              <p:nvPr/>
            </p:nvSpPr>
            <p:spPr bwMode="auto">
              <a:xfrm>
                <a:off x="6274" y="882"/>
                <a:ext cx="16" cy="26"/>
              </a:xfrm>
              <a:custGeom>
                <a:avLst/>
                <a:gdLst>
                  <a:gd name="T0" fmla="*/ 14 w 16"/>
                  <a:gd name="T1" fmla="*/ 0 h 26"/>
                  <a:gd name="T2" fmla="*/ 14 w 16"/>
                  <a:gd name="T3" fmla="*/ 0 h 26"/>
                  <a:gd name="T4" fmla="*/ 4 w 16"/>
                  <a:gd name="T5" fmla="*/ 20 h 26"/>
                  <a:gd name="T6" fmla="*/ 4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2 h 26"/>
                  <a:gd name="T30" fmla="*/ 16 w 16"/>
                  <a:gd name="T31" fmla="*/ 22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8" name="Freeform 1787"/>
              <p:cNvSpPr>
                <a:spLocks noEditPoints="1"/>
              </p:cNvSpPr>
              <p:nvPr/>
            </p:nvSpPr>
            <p:spPr bwMode="auto">
              <a:xfrm>
                <a:off x="6274" y="882"/>
                <a:ext cx="18" cy="26"/>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6 w 18"/>
                  <a:gd name="T31" fmla="*/ 22 h 26"/>
                  <a:gd name="T32" fmla="*/ 16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69" name="Freeform 1788"/>
              <p:cNvSpPr>
                <a:spLocks/>
              </p:cNvSpPr>
              <p:nvPr/>
            </p:nvSpPr>
            <p:spPr bwMode="auto">
              <a:xfrm>
                <a:off x="6274" y="902"/>
                <a:ext cx="6" cy="6"/>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0" name="Freeform 1789"/>
              <p:cNvSpPr>
                <a:spLocks/>
              </p:cNvSpPr>
              <p:nvPr/>
            </p:nvSpPr>
            <p:spPr bwMode="auto">
              <a:xfrm>
                <a:off x="6284" y="882"/>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6 w 8"/>
                  <a:gd name="T13" fmla="*/ 22 h 26"/>
                  <a:gd name="T14" fmla="*/ 6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6" y="22"/>
                    </a:lnTo>
                    <a:lnTo>
                      <a:pt x="6"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1" name="Freeform 1790"/>
              <p:cNvSpPr>
                <a:spLocks/>
              </p:cNvSpPr>
              <p:nvPr/>
            </p:nvSpPr>
            <p:spPr bwMode="auto">
              <a:xfrm>
                <a:off x="61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8 h 20"/>
                  <a:gd name="T14" fmla="*/ 0 w 10"/>
                  <a:gd name="T15" fmla="*/ 12 h 20"/>
                  <a:gd name="T16" fmla="*/ 2 w 10"/>
                  <a:gd name="T17" fmla="*/ 16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8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4 h 20"/>
                  <a:gd name="T46" fmla="*/ 4 w 10"/>
                  <a:gd name="T47" fmla="*/ 14 h 20"/>
                  <a:gd name="T48" fmla="*/ 2 w 10"/>
                  <a:gd name="T49" fmla="*/ 10 h 20"/>
                  <a:gd name="T50" fmla="*/ 2 w 10"/>
                  <a:gd name="T51" fmla="*/ 10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4" y="0"/>
                    </a:lnTo>
                    <a:lnTo>
                      <a:pt x="4"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0" y="14"/>
                    </a:lnTo>
                    <a:lnTo>
                      <a:pt x="10" y="14"/>
                    </a:lnTo>
                    <a:lnTo>
                      <a:pt x="8" y="16"/>
                    </a:lnTo>
                    <a:lnTo>
                      <a:pt x="8" y="16"/>
                    </a:lnTo>
                    <a:lnTo>
                      <a:pt x="6" y="16"/>
                    </a:lnTo>
                    <a:lnTo>
                      <a:pt x="6" y="16"/>
                    </a:lnTo>
                    <a:lnTo>
                      <a:pt x="4" y="14"/>
                    </a:lnTo>
                    <a:lnTo>
                      <a:pt x="4" y="14"/>
                    </a:lnTo>
                    <a:lnTo>
                      <a:pt x="2" y="10"/>
                    </a:lnTo>
                    <a:lnTo>
                      <a:pt x="2" y="10"/>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2" name="Freeform 1791"/>
              <p:cNvSpPr>
                <a:spLocks/>
              </p:cNvSpPr>
              <p:nvPr/>
            </p:nvSpPr>
            <p:spPr bwMode="auto">
              <a:xfrm>
                <a:off x="6174" y="828"/>
                <a:ext cx="10" cy="2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8 h 20"/>
                  <a:gd name="T14" fmla="*/ 0 w 10"/>
                  <a:gd name="T15" fmla="*/ 12 h 20"/>
                  <a:gd name="T16" fmla="*/ 2 w 10"/>
                  <a:gd name="T17" fmla="*/ 16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8 h 20"/>
                  <a:gd name="T32" fmla="*/ 10 w 10"/>
                  <a:gd name="T33" fmla="*/ 14 h 20"/>
                  <a:gd name="T34" fmla="*/ 10 w 10"/>
                  <a:gd name="T35" fmla="*/ 14 h 20"/>
                  <a:gd name="T36" fmla="*/ 8 w 10"/>
                  <a:gd name="T37" fmla="*/ 16 h 20"/>
                  <a:gd name="T38" fmla="*/ 8 w 10"/>
                  <a:gd name="T39" fmla="*/ 16 h 20"/>
                  <a:gd name="T40" fmla="*/ 6 w 10"/>
                  <a:gd name="T41" fmla="*/ 16 h 20"/>
                  <a:gd name="T42" fmla="*/ 6 w 10"/>
                  <a:gd name="T43" fmla="*/ 16 h 20"/>
                  <a:gd name="T44" fmla="*/ 4 w 10"/>
                  <a:gd name="T45" fmla="*/ 14 h 20"/>
                  <a:gd name="T46" fmla="*/ 4 w 10"/>
                  <a:gd name="T47" fmla="*/ 14 h 20"/>
                  <a:gd name="T48" fmla="*/ 2 w 10"/>
                  <a:gd name="T49" fmla="*/ 10 h 20"/>
                  <a:gd name="T50" fmla="*/ 2 w 10"/>
                  <a:gd name="T51" fmla="*/ 10 h 20"/>
                  <a:gd name="T52" fmla="*/ 6 w 10"/>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20">
                    <a:moveTo>
                      <a:pt x="6" y="0"/>
                    </a:moveTo>
                    <a:lnTo>
                      <a:pt x="6" y="0"/>
                    </a:lnTo>
                    <a:lnTo>
                      <a:pt x="4" y="0"/>
                    </a:lnTo>
                    <a:lnTo>
                      <a:pt x="4"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0" y="14"/>
                    </a:lnTo>
                    <a:lnTo>
                      <a:pt x="10" y="14"/>
                    </a:lnTo>
                    <a:lnTo>
                      <a:pt x="8" y="16"/>
                    </a:lnTo>
                    <a:lnTo>
                      <a:pt x="8" y="16"/>
                    </a:lnTo>
                    <a:lnTo>
                      <a:pt x="6" y="16"/>
                    </a:lnTo>
                    <a:lnTo>
                      <a:pt x="6"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3" name="Freeform 1792"/>
              <p:cNvSpPr>
                <a:spLocks noEditPoints="1"/>
              </p:cNvSpPr>
              <p:nvPr/>
            </p:nvSpPr>
            <p:spPr bwMode="auto">
              <a:xfrm>
                <a:off x="6172" y="828"/>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2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4" name="Freeform 1793"/>
              <p:cNvSpPr>
                <a:spLocks/>
              </p:cNvSpPr>
              <p:nvPr/>
            </p:nvSpPr>
            <p:spPr bwMode="auto">
              <a:xfrm>
                <a:off x="6182" y="842"/>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5" name="Freeform 1794"/>
              <p:cNvSpPr>
                <a:spLocks/>
              </p:cNvSpPr>
              <p:nvPr/>
            </p:nvSpPr>
            <p:spPr bwMode="auto">
              <a:xfrm>
                <a:off x="6172" y="828"/>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6" name="Freeform 1795"/>
              <p:cNvSpPr>
                <a:spLocks noEditPoints="1"/>
              </p:cNvSpPr>
              <p:nvPr/>
            </p:nvSpPr>
            <p:spPr bwMode="auto">
              <a:xfrm>
                <a:off x="6286" y="816"/>
                <a:ext cx="20" cy="14"/>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7" name="Freeform 1796"/>
              <p:cNvSpPr>
                <a:spLocks/>
              </p:cNvSpPr>
              <p:nvPr/>
            </p:nvSpPr>
            <p:spPr bwMode="auto">
              <a:xfrm>
                <a:off x="6292" y="824"/>
                <a:ext cx="6" cy="4"/>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8" name="Freeform 1797"/>
              <p:cNvSpPr>
                <a:spLocks/>
              </p:cNvSpPr>
              <p:nvPr/>
            </p:nvSpPr>
            <p:spPr bwMode="auto">
              <a:xfrm>
                <a:off x="6286" y="816"/>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79" name="Freeform 1798"/>
              <p:cNvSpPr>
                <a:spLocks/>
              </p:cNvSpPr>
              <p:nvPr/>
            </p:nvSpPr>
            <p:spPr bwMode="auto">
              <a:xfrm>
                <a:off x="6240" y="806"/>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0" name="Freeform 1799"/>
              <p:cNvSpPr>
                <a:spLocks/>
              </p:cNvSpPr>
              <p:nvPr/>
            </p:nvSpPr>
            <p:spPr bwMode="auto">
              <a:xfrm>
                <a:off x="6240" y="806"/>
                <a:ext cx="22" cy="2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1" name="Freeform 1800"/>
              <p:cNvSpPr>
                <a:spLocks/>
              </p:cNvSpPr>
              <p:nvPr/>
            </p:nvSpPr>
            <p:spPr bwMode="auto">
              <a:xfrm>
                <a:off x="6336"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2" name="Freeform 1801"/>
              <p:cNvSpPr>
                <a:spLocks/>
              </p:cNvSpPr>
              <p:nvPr/>
            </p:nvSpPr>
            <p:spPr bwMode="auto">
              <a:xfrm>
                <a:off x="6336" y="808"/>
                <a:ext cx="10" cy="10"/>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3" name="Freeform 1802"/>
              <p:cNvSpPr>
                <a:spLocks/>
              </p:cNvSpPr>
              <p:nvPr/>
            </p:nvSpPr>
            <p:spPr bwMode="auto">
              <a:xfrm>
                <a:off x="6282"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4" name="Freeform 1803"/>
              <p:cNvSpPr>
                <a:spLocks/>
              </p:cNvSpPr>
              <p:nvPr/>
            </p:nvSpPr>
            <p:spPr bwMode="auto">
              <a:xfrm>
                <a:off x="6282" y="806"/>
                <a:ext cx="6" cy="6"/>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5" name="Freeform 1804"/>
              <p:cNvSpPr>
                <a:spLocks/>
              </p:cNvSpPr>
              <p:nvPr/>
            </p:nvSpPr>
            <p:spPr bwMode="auto">
              <a:xfrm>
                <a:off x="6296"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6" name="Freeform 1805"/>
              <p:cNvSpPr>
                <a:spLocks/>
              </p:cNvSpPr>
              <p:nvPr/>
            </p:nvSpPr>
            <p:spPr bwMode="auto">
              <a:xfrm>
                <a:off x="6296" y="856"/>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7" name="Freeform 1806"/>
              <p:cNvSpPr>
                <a:spLocks/>
              </p:cNvSpPr>
              <p:nvPr/>
            </p:nvSpPr>
            <p:spPr bwMode="auto">
              <a:xfrm>
                <a:off x="6292"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8" name="Freeform 1807"/>
              <p:cNvSpPr>
                <a:spLocks/>
              </p:cNvSpPr>
              <p:nvPr/>
            </p:nvSpPr>
            <p:spPr bwMode="auto">
              <a:xfrm>
                <a:off x="6292" y="824"/>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89" name="Freeform 1808"/>
              <p:cNvSpPr>
                <a:spLocks/>
              </p:cNvSpPr>
              <p:nvPr/>
            </p:nvSpPr>
            <p:spPr bwMode="auto">
              <a:xfrm>
                <a:off x="6294"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0" name="Freeform 1809"/>
              <p:cNvSpPr>
                <a:spLocks/>
              </p:cNvSpPr>
              <p:nvPr/>
            </p:nvSpPr>
            <p:spPr bwMode="auto">
              <a:xfrm>
                <a:off x="6294" y="824"/>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1" name="Freeform 1810"/>
              <p:cNvSpPr>
                <a:spLocks/>
              </p:cNvSpPr>
              <p:nvPr/>
            </p:nvSpPr>
            <p:spPr bwMode="auto">
              <a:xfrm>
                <a:off x="6818"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2" name="Freeform 1811"/>
              <p:cNvSpPr>
                <a:spLocks/>
              </p:cNvSpPr>
              <p:nvPr/>
            </p:nvSpPr>
            <p:spPr bwMode="auto">
              <a:xfrm>
                <a:off x="705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393" name="Freeform 1812"/>
              <p:cNvSpPr>
                <a:spLocks/>
              </p:cNvSpPr>
              <p:nvPr/>
            </p:nvSpPr>
            <p:spPr bwMode="auto">
              <a:xfrm>
                <a:off x="7146"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grpSp>
          <p:nvGrpSpPr>
            <p:cNvPr id="872" name="Group 2014"/>
            <p:cNvGrpSpPr>
              <a:grpSpLocks/>
            </p:cNvGrpSpPr>
            <p:nvPr/>
          </p:nvGrpSpPr>
          <p:grpSpPr bwMode="auto">
            <a:xfrm>
              <a:off x="6042003" y="333375"/>
              <a:ext cx="5975328" cy="1746250"/>
              <a:chOff x="3806" y="410"/>
              <a:chExt cx="3764" cy="1100"/>
            </a:xfrm>
          </p:grpSpPr>
          <p:sp>
            <p:nvSpPr>
              <p:cNvPr id="994" name="Freeform 1814"/>
              <p:cNvSpPr>
                <a:spLocks/>
              </p:cNvSpPr>
              <p:nvPr/>
            </p:nvSpPr>
            <p:spPr bwMode="auto">
              <a:xfrm>
                <a:off x="7238"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5" name="Freeform 1815"/>
              <p:cNvSpPr>
                <a:spLocks/>
              </p:cNvSpPr>
              <p:nvPr/>
            </p:nvSpPr>
            <p:spPr bwMode="auto">
              <a:xfrm>
                <a:off x="690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6" name="Freeform 1816"/>
              <p:cNvSpPr>
                <a:spLocks/>
              </p:cNvSpPr>
              <p:nvPr/>
            </p:nvSpPr>
            <p:spPr bwMode="auto">
              <a:xfrm>
                <a:off x="6908" y="780"/>
                <a:ext cx="48" cy="146"/>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7" name="Freeform 1817"/>
              <p:cNvSpPr>
                <a:spLocks/>
              </p:cNvSpPr>
              <p:nvPr/>
            </p:nvSpPr>
            <p:spPr bwMode="auto">
              <a:xfrm>
                <a:off x="6968" y="780"/>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8" name="Freeform 1818"/>
              <p:cNvSpPr>
                <a:spLocks/>
              </p:cNvSpPr>
              <p:nvPr/>
            </p:nvSpPr>
            <p:spPr bwMode="auto">
              <a:xfrm>
                <a:off x="6968" y="780"/>
                <a:ext cx="48" cy="146"/>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9" name="Freeform 1819"/>
              <p:cNvSpPr>
                <a:spLocks noEditPoints="1"/>
              </p:cNvSpPr>
              <p:nvPr/>
            </p:nvSpPr>
            <p:spPr bwMode="auto">
              <a:xfrm>
                <a:off x="7328" y="776"/>
                <a:ext cx="98" cy="150"/>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0" name="Freeform 1820"/>
              <p:cNvSpPr>
                <a:spLocks noEditPoints="1"/>
              </p:cNvSpPr>
              <p:nvPr/>
            </p:nvSpPr>
            <p:spPr bwMode="auto">
              <a:xfrm>
                <a:off x="7466" y="776"/>
                <a:ext cx="100" cy="150"/>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1" name="Freeform 1821"/>
              <p:cNvSpPr>
                <a:spLocks/>
              </p:cNvSpPr>
              <p:nvPr/>
            </p:nvSpPr>
            <p:spPr bwMode="auto">
              <a:xfrm>
                <a:off x="3826"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2" name="Freeform 1822"/>
              <p:cNvSpPr>
                <a:spLocks/>
              </p:cNvSpPr>
              <p:nvPr/>
            </p:nvSpPr>
            <p:spPr bwMode="auto">
              <a:xfrm>
                <a:off x="3918"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3" name="Freeform 1823"/>
              <p:cNvSpPr>
                <a:spLocks/>
              </p:cNvSpPr>
              <p:nvPr/>
            </p:nvSpPr>
            <p:spPr bwMode="auto">
              <a:xfrm>
                <a:off x="4012" y="970"/>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4" name="Freeform 1824"/>
              <p:cNvSpPr>
                <a:spLocks noEditPoints="1"/>
              </p:cNvSpPr>
              <p:nvPr/>
            </p:nvSpPr>
            <p:spPr bwMode="auto">
              <a:xfrm>
                <a:off x="4104" y="964"/>
                <a:ext cx="98" cy="150"/>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5" name="Freeform 1825"/>
              <p:cNvSpPr>
                <a:spLocks noEditPoints="1"/>
              </p:cNvSpPr>
              <p:nvPr/>
            </p:nvSpPr>
            <p:spPr bwMode="auto">
              <a:xfrm>
                <a:off x="4242" y="964"/>
                <a:ext cx="100" cy="150"/>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6" name="Freeform 1826"/>
              <p:cNvSpPr>
                <a:spLocks noEditPoints="1"/>
              </p:cNvSpPr>
              <p:nvPr/>
            </p:nvSpPr>
            <p:spPr bwMode="auto">
              <a:xfrm>
                <a:off x="4660" y="964"/>
                <a:ext cx="98" cy="150"/>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7" name="Freeform 1827"/>
              <p:cNvSpPr>
                <a:spLocks noEditPoints="1"/>
              </p:cNvSpPr>
              <p:nvPr/>
            </p:nvSpPr>
            <p:spPr bwMode="auto">
              <a:xfrm>
                <a:off x="4890" y="964"/>
                <a:ext cx="100" cy="150"/>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8" name="Freeform 1828"/>
              <p:cNvSpPr>
                <a:spLocks/>
              </p:cNvSpPr>
              <p:nvPr/>
            </p:nvSpPr>
            <p:spPr bwMode="auto">
              <a:xfrm>
                <a:off x="4798"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09" name="Freeform 1829"/>
              <p:cNvSpPr>
                <a:spLocks noEditPoints="1"/>
              </p:cNvSpPr>
              <p:nvPr/>
            </p:nvSpPr>
            <p:spPr bwMode="auto">
              <a:xfrm>
                <a:off x="5030" y="964"/>
                <a:ext cx="98" cy="150"/>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0" name="Freeform 1830"/>
              <p:cNvSpPr>
                <a:spLocks/>
              </p:cNvSpPr>
              <p:nvPr/>
            </p:nvSpPr>
            <p:spPr bwMode="auto">
              <a:xfrm>
                <a:off x="5170" y="968"/>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1" name="Freeform 1831"/>
              <p:cNvSpPr>
                <a:spLocks/>
              </p:cNvSpPr>
              <p:nvPr/>
            </p:nvSpPr>
            <p:spPr bwMode="auto">
              <a:xfrm>
                <a:off x="5170" y="968"/>
                <a:ext cx="48" cy="146"/>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2" name="Freeform 1832"/>
              <p:cNvSpPr>
                <a:spLocks/>
              </p:cNvSpPr>
              <p:nvPr/>
            </p:nvSpPr>
            <p:spPr bwMode="auto">
              <a:xfrm>
                <a:off x="5230" y="968"/>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3" name="Freeform 1833"/>
              <p:cNvSpPr>
                <a:spLocks/>
              </p:cNvSpPr>
              <p:nvPr/>
            </p:nvSpPr>
            <p:spPr bwMode="auto">
              <a:xfrm>
                <a:off x="5230" y="968"/>
                <a:ext cx="48" cy="146"/>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4" name="Freeform 1834"/>
              <p:cNvSpPr>
                <a:spLocks noEditPoints="1"/>
              </p:cNvSpPr>
              <p:nvPr/>
            </p:nvSpPr>
            <p:spPr bwMode="auto">
              <a:xfrm>
                <a:off x="5466" y="964"/>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5" name="Freeform 1835"/>
              <p:cNvSpPr>
                <a:spLocks/>
              </p:cNvSpPr>
              <p:nvPr/>
            </p:nvSpPr>
            <p:spPr bwMode="auto">
              <a:xfrm>
                <a:off x="560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6" name="Freeform 1836"/>
              <p:cNvSpPr>
                <a:spLocks noEditPoints="1"/>
              </p:cNvSpPr>
              <p:nvPr/>
            </p:nvSpPr>
            <p:spPr bwMode="auto">
              <a:xfrm>
                <a:off x="5318" y="972"/>
                <a:ext cx="108" cy="142"/>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7" name="Freeform 1837"/>
              <p:cNvSpPr>
                <a:spLocks/>
              </p:cNvSpPr>
              <p:nvPr/>
            </p:nvSpPr>
            <p:spPr bwMode="auto">
              <a:xfrm>
                <a:off x="5360" y="1030"/>
                <a:ext cx="22" cy="22"/>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8" name="Freeform 1838"/>
              <p:cNvSpPr>
                <a:spLocks/>
              </p:cNvSpPr>
              <p:nvPr/>
            </p:nvSpPr>
            <p:spPr bwMode="auto">
              <a:xfrm>
                <a:off x="5318" y="972"/>
                <a:ext cx="108" cy="142"/>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19" name="Freeform 1839"/>
              <p:cNvSpPr>
                <a:spLocks/>
              </p:cNvSpPr>
              <p:nvPr/>
            </p:nvSpPr>
            <p:spPr bwMode="auto">
              <a:xfrm>
                <a:off x="4382" y="970"/>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0" name="Freeform 1840"/>
              <p:cNvSpPr>
                <a:spLocks/>
              </p:cNvSpPr>
              <p:nvPr/>
            </p:nvSpPr>
            <p:spPr bwMode="auto">
              <a:xfrm>
                <a:off x="4474" y="970"/>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1" name="Freeform 1841"/>
              <p:cNvSpPr>
                <a:spLocks/>
              </p:cNvSpPr>
              <p:nvPr/>
            </p:nvSpPr>
            <p:spPr bwMode="auto">
              <a:xfrm>
                <a:off x="4568" y="970"/>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2" name="Freeform 1842"/>
              <p:cNvSpPr>
                <a:spLocks/>
              </p:cNvSpPr>
              <p:nvPr/>
            </p:nvSpPr>
            <p:spPr bwMode="auto">
              <a:xfrm>
                <a:off x="497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3" name="Freeform 1843"/>
              <p:cNvSpPr>
                <a:spLocks/>
              </p:cNvSpPr>
              <p:nvPr/>
            </p:nvSpPr>
            <p:spPr bwMode="auto">
              <a:xfrm>
                <a:off x="506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4" name="Freeform 1844"/>
              <p:cNvSpPr>
                <a:spLocks/>
              </p:cNvSpPr>
              <p:nvPr/>
            </p:nvSpPr>
            <p:spPr bwMode="auto">
              <a:xfrm>
                <a:off x="5156"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5" name="Freeform 1845"/>
              <p:cNvSpPr>
                <a:spLocks/>
              </p:cNvSpPr>
              <p:nvPr/>
            </p:nvSpPr>
            <p:spPr bwMode="auto">
              <a:xfrm>
                <a:off x="5244"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6" name="Freeform 1846"/>
              <p:cNvSpPr>
                <a:spLocks/>
              </p:cNvSpPr>
              <p:nvPr/>
            </p:nvSpPr>
            <p:spPr bwMode="auto">
              <a:xfrm>
                <a:off x="5484"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7" name="Freeform 1847"/>
              <p:cNvSpPr>
                <a:spLocks/>
              </p:cNvSpPr>
              <p:nvPr/>
            </p:nvSpPr>
            <p:spPr bwMode="auto">
              <a:xfrm>
                <a:off x="5576"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8" name="Freeform 1848"/>
              <p:cNvSpPr>
                <a:spLocks/>
              </p:cNvSpPr>
              <p:nvPr/>
            </p:nvSpPr>
            <p:spPr bwMode="auto">
              <a:xfrm>
                <a:off x="5338"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29" name="Freeform 1849"/>
              <p:cNvSpPr>
                <a:spLocks/>
              </p:cNvSpPr>
              <p:nvPr/>
            </p:nvSpPr>
            <p:spPr bwMode="auto">
              <a:xfrm>
                <a:off x="5338" y="780"/>
                <a:ext cx="46" cy="146"/>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0" name="Freeform 1850"/>
              <p:cNvSpPr>
                <a:spLocks/>
              </p:cNvSpPr>
              <p:nvPr/>
            </p:nvSpPr>
            <p:spPr bwMode="auto">
              <a:xfrm>
                <a:off x="5398"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1" name="Freeform 1851"/>
              <p:cNvSpPr>
                <a:spLocks/>
              </p:cNvSpPr>
              <p:nvPr/>
            </p:nvSpPr>
            <p:spPr bwMode="auto">
              <a:xfrm>
                <a:off x="5398" y="780"/>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2" name="Freeform 1852"/>
              <p:cNvSpPr>
                <a:spLocks noEditPoints="1"/>
              </p:cNvSpPr>
              <p:nvPr/>
            </p:nvSpPr>
            <p:spPr bwMode="auto">
              <a:xfrm>
                <a:off x="4194" y="776"/>
                <a:ext cx="98" cy="150"/>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3" name="Freeform 1853"/>
              <p:cNvSpPr>
                <a:spLocks noEditPoints="1"/>
              </p:cNvSpPr>
              <p:nvPr/>
            </p:nvSpPr>
            <p:spPr bwMode="auto">
              <a:xfrm>
                <a:off x="4332" y="7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4" name="Freeform 1854"/>
              <p:cNvSpPr>
                <a:spLocks noEditPoints="1"/>
              </p:cNvSpPr>
              <p:nvPr/>
            </p:nvSpPr>
            <p:spPr bwMode="auto">
              <a:xfrm>
                <a:off x="4744" y="776"/>
                <a:ext cx="98" cy="150"/>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5" name="Freeform 1855"/>
              <p:cNvSpPr>
                <a:spLocks/>
              </p:cNvSpPr>
              <p:nvPr/>
            </p:nvSpPr>
            <p:spPr bwMode="auto">
              <a:xfrm>
                <a:off x="4882"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6" name="Freeform 1856"/>
              <p:cNvSpPr>
                <a:spLocks/>
              </p:cNvSpPr>
              <p:nvPr/>
            </p:nvSpPr>
            <p:spPr bwMode="auto">
              <a:xfrm>
                <a:off x="447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7" name="Freeform 1857"/>
              <p:cNvSpPr>
                <a:spLocks/>
              </p:cNvSpPr>
              <p:nvPr/>
            </p:nvSpPr>
            <p:spPr bwMode="auto">
              <a:xfrm>
                <a:off x="4562"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8" name="Freeform 1858"/>
              <p:cNvSpPr>
                <a:spLocks/>
              </p:cNvSpPr>
              <p:nvPr/>
            </p:nvSpPr>
            <p:spPr bwMode="auto">
              <a:xfrm>
                <a:off x="4654" y="782"/>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39" name="Freeform 1859"/>
              <p:cNvSpPr>
                <a:spLocks noEditPoints="1"/>
              </p:cNvSpPr>
              <p:nvPr/>
            </p:nvSpPr>
            <p:spPr bwMode="auto">
              <a:xfrm>
                <a:off x="3806" y="776"/>
                <a:ext cx="98" cy="150"/>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0" name="Freeform 1860"/>
              <p:cNvSpPr>
                <a:spLocks/>
              </p:cNvSpPr>
              <p:nvPr/>
            </p:nvSpPr>
            <p:spPr bwMode="auto">
              <a:xfrm>
                <a:off x="3920" y="782"/>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1" name="Freeform 1861"/>
              <p:cNvSpPr>
                <a:spLocks/>
              </p:cNvSpPr>
              <p:nvPr/>
            </p:nvSpPr>
            <p:spPr bwMode="auto">
              <a:xfrm>
                <a:off x="4012" y="782"/>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2" name="Freeform 1862"/>
              <p:cNvSpPr>
                <a:spLocks/>
              </p:cNvSpPr>
              <p:nvPr/>
            </p:nvSpPr>
            <p:spPr bwMode="auto">
              <a:xfrm>
                <a:off x="4104" y="78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3" name="Freeform 1863"/>
              <p:cNvSpPr>
                <a:spLocks/>
              </p:cNvSpPr>
              <p:nvPr/>
            </p:nvSpPr>
            <p:spPr bwMode="auto">
              <a:xfrm>
                <a:off x="3826" y="136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4" name="Freeform 1864"/>
              <p:cNvSpPr>
                <a:spLocks/>
              </p:cNvSpPr>
              <p:nvPr/>
            </p:nvSpPr>
            <p:spPr bwMode="auto">
              <a:xfrm>
                <a:off x="3828" y="1162"/>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5" name="Freeform 1865"/>
              <p:cNvSpPr>
                <a:spLocks noEditPoints="1"/>
              </p:cNvSpPr>
              <p:nvPr/>
            </p:nvSpPr>
            <p:spPr bwMode="auto">
              <a:xfrm>
                <a:off x="5682" y="598"/>
                <a:ext cx="98" cy="150"/>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6" name="Freeform 1866"/>
              <p:cNvSpPr>
                <a:spLocks/>
              </p:cNvSpPr>
              <p:nvPr/>
            </p:nvSpPr>
            <p:spPr bwMode="auto">
              <a:xfrm>
                <a:off x="5820"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7" name="Freeform 1867"/>
              <p:cNvSpPr>
                <a:spLocks/>
              </p:cNvSpPr>
              <p:nvPr/>
            </p:nvSpPr>
            <p:spPr bwMode="auto">
              <a:xfrm>
                <a:off x="591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8" name="Freeform 1868"/>
              <p:cNvSpPr>
                <a:spLocks/>
              </p:cNvSpPr>
              <p:nvPr/>
            </p:nvSpPr>
            <p:spPr bwMode="auto">
              <a:xfrm>
                <a:off x="6006"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49" name="Freeform 1869"/>
              <p:cNvSpPr>
                <a:spLocks/>
              </p:cNvSpPr>
              <p:nvPr/>
            </p:nvSpPr>
            <p:spPr bwMode="auto">
              <a:xfrm>
                <a:off x="6098"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0" name="Freeform 1870"/>
              <p:cNvSpPr>
                <a:spLocks/>
              </p:cNvSpPr>
              <p:nvPr/>
            </p:nvSpPr>
            <p:spPr bwMode="auto">
              <a:xfrm>
                <a:off x="6340"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1" name="Freeform 1871"/>
              <p:cNvSpPr>
                <a:spLocks/>
              </p:cNvSpPr>
              <p:nvPr/>
            </p:nvSpPr>
            <p:spPr bwMode="auto">
              <a:xfrm>
                <a:off x="6432"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2" name="Freeform 1872"/>
              <p:cNvSpPr>
                <a:spLocks/>
              </p:cNvSpPr>
              <p:nvPr/>
            </p:nvSpPr>
            <p:spPr bwMode="auto">
              <a:xfrm>
                <a:off x="6526" y="604"/>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3" name="Freeform 1873"/>
              <p:cNvSpPr>
                <a:spLocks/>
              </p:cNvSpPr>
              <p:nvPr/>
            </p:nvSpPr>
            <p:spPr bwMode="auto">
              <a:xfrm>
                <a:off x="6620" y="604"/>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4" name="Freeform 1874"/>
              <p:cNvSpPr>
                <a:spLocks/>
              </p:cNvSpPr>
              <p:nvPr/>
            </p:nvSpPr>
            <p:spPr bwMode="auto">
              <a:xfrm>
                <a:off x="6192"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5" name="Freeform 1875"/>
              <p:cNvSpPr>
                <a:spLocks/>
              </p:cNvSpPr>
              <p:nvPr/>
            </p:nvSpPr>
            <p:spPr bwMode="auto">
              <a:xfrm>
                <a:off x="6192" y="602"/>
                <a:ext cx="46" cy="146"/>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6" name="Freeform 1876"/>
              <p:cNvSpPr>
                <a:spLocks/>
              </p:cNvSpPr>
              <p:nvPr/>
            </p:nvSpPr>
            <p:spPr bwMode="auto">
              <a:xfrm>
                <a:off x="6252"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7" name="Freeform 1877"/>
              <p:cNvSpPr>
                <a:spLocks/>
              </p:cNvSpPr>
              <p:nvPr/>
            </p:nvSpPr>
            <p:spPr bwMode="auto">
              <a:xfrm>
                <a:off x="6252" y="602"/>
                <a:ext cx="46" cy="146"/>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8" name="Freeform 1878"/>
              <p:cNvSpPr>
                <a:spLocks/>
              </p:cNvSpPr>
              <p:nvPr/>
            </p:nvSpPr>
            <p:spPr bwMode="auto">
              <a:xfrm>
                <a:off x="6940"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59" name="Freeform 1879"/>
              <p:cNvSpPr>
                <a:spLocks/>
              </p:cNvSpPr>
              <p:nvPr/>
            </p:nvSpPr>
            <p:spPr bwMode="auto">
              <a:xfrm>
                <a:off x="6940" y="602"/>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0" name="Freeform 1880"/>
              <p:cNvSpPr>
                <a:spLocks/>
              </p:cNvSpPr>
              <p:nvPr/>
            </p:nvSpPr>
            <p:spPr bwMode="auto">
              <a:xfrm>
                <a:off x="7000"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1" name="Freeform 1881"/>
              <p:cNvSpPr>
                <a:spLocks/>
              </p:cNvSpPr>
              <p:nvPr/>
            </p:nvSpPr>
            <p:spPr bwMode="auto">
              <a:xfrm>
                <a:off x="7000" y="602"/>
                <a:ext cx="48" cy="146"/>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2" name="Freeform 1882"/>
              <p:cNvSpPr>
                <a:spLocks/>
              </p:cNvSpPr>
              <p:nvPr/>
            </p:nvSpPr>
            <p:spPr bwMode="auto">
              <a:xfrm>
                <a:off x="7088"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3" name="Freeform 1883"/>
              <p:cNvSpPr>
                <a:spLocks/>
              </p:cNvSpPr>
              <p:nvPr/>
            </p:nvSpPr>
            <p:spPr bwMode="auto">
              <a:xfrm>
                <a:off x="7182"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4" name="Freeform 1884"/>
              <p:cNvSpPr>
                <a:spLocks/>
              </p:cNvSpPr>
              <p:nvPr/>
            </p:nvSpPr>
            <p:spPr bwMode="auto">
              <a:xfrm>
                <a:off x="7274" y="604"/>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5" name="Freeform 1885"/>
              <p:cNvSpPr>
                <a:spLocks/>
              </p:cNvSpPr>
              <p:nvPr/>
            </p:nvSpPr>
            <p:spPr bwMode="auto">
              <a:xfrm>
                <a:off x="7514" y="604"/>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6" name="Freeform 1886"/>
              <p:cNvSpPr>
                <a:spLocks/>
              </p:cNvSpPr>
              <p:nvPr/>
            </p:nvSpPr>
            <p:spPr bwMode="auto">
              <a:xfrm>
                <a:off x="7366" y="602"/>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7" name="Freeform 1887"/>
              <p:cNvSpPr>
                <a:spLocks/>
              </p:cNvSpPr>
              <p:nvPr/>
            </p:nvSpPr>
            <p:spPr bwMode="auto">
              <a:xfrm>
                <a:off x="7366" y="602"/>
                <a:ext cx="46" cy="146"/>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8" name="Freeform 1888"/>
              <p:cNvSpPr>
                <a:spLocks/>
              </p:cNvSpPr>
              <p:nvPr/>
            </p:nvSpPr>
            <p:spPr bwMode="auto">
              <a:xfrm>
                <a:off x="7426" y="602"/>
                <a:ext cx="48" cy="146"/>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69" name="Freeform 1889"/>
              <p:cNvSpPr>
                <a:spLocks/>
              </p:cNvSpPr>
              <p:nvPr/>
            </p:nvSpPr>
            <p:spPr bwMode="auto">
              <a:xfrm>
                <a:off x="7426" y="602"/>
                <a:ext cx="48" cy="146"/>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0" name="Freeform 1890"/>
              <p:cNvSpPr>
                <a:spLocks noEditPoints="1"/>
              </p:cNvSpPr>
              <p:nvPr/>
            </p:nvSpPr>
            <p:spPr bwMode="auto">
              <a:xfrm>
                <a:off x="5672" y="412"/>
                <a:ext cx="188" cy="146"/>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1" name="Freeform 1891"/>
              <p:cNvSpPr>
                <a:spLocks/>
              </p:cNvSpPr>
              <p:nvPr/>
            </p:nvSpPr>
            <p:spPr bwMode="auto">
              <a:xfrm>
                <a:off x="5776" y="516"/>
                <a:ext cx="16" cy="26"/>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2" name="Freeform 1892"/>
              <p:cNvSpPr>
                <a:spLocks/>
              </p:cNvSpPr>
              <p:nvPr/>
            </p:nvSpPr>
            <p:spPr bwMode="auto">
              <a:xfrm>
                <a:off x="5678" y="512"/>
                <a:ext cx="18" cy="22"/>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3" name="Freeform 1893"/>
              <p:cNvSpPr>
                <a:spLocks/>
              </p:cNvSpPr>
              <p:nvPr/>
            </p:nvSpPr>
            <p:spPr bwMode="auto">
              <a:xfrm>
                <a:off x="5674" y="462"/>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4" name="Freeform 1894"/>
              <p:cNvSpPr>
                <a:spLocks/>
              </p:cNvSpPr>
              <p:nvPr/>
            </p:nvSpPr>
            <p:spPr bwMode="auto">
              <a:xfrm>
                <a:off x="5688" y="416"/>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5" name="Freeform 1895"/>
              <p:cNvSpPr>
                <a:spLocks/>
              </p:cNvSpPr>
              <p:nvPr/>
            </p:nvSpPr>
            <p:spPr bwMode="auto">
              <a:xfrm>
                <a:off x="5672" y="412"/>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6" name="Freeform 1896"/>
              <p:cNvSpPr>
                <a:spLocks/>
              </p:cNvSpPr>
              <p:nvPr/>
            </p:nvSpPr>
            <p:spPr bwMode="auto">
              <a:xfrm>
                <a:off x="5678"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7" name="Freeform 1897"/>
              <p:cNvSpPr>
                <a:spLocks/>
              </p:cNvSpPr>
              <p:nvPr/>
            </p:nvSpPr>
            <p:spPr bwMode="auto">
              <a:xfrm>
                <a:off x="5678"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8" name="Freeform 1898"/>
              <p:cNvSpPr>
                <a:spLocks/>
              </p:cNvSpPr>
              <p:nvPr/>
            </p:nvSpPr>
            <p:spPr bwMode="auto">
              <a:xfrm>
                <a:off x="5678"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79" name="Freeform 1899"/>
              <p:cNvSpPr>
                <a:spLocks/>
              </p:cNvSpPr>
              <p:nvPr/>
            </p:nvSpPr>
            <p:spPr bwMode="auto">
              <a:xfrm>
                <a:off x="5678"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0" name="Freeform 1900"/>
              <p:cNvSpPr>
                <a:spLocks/>
              </p:cNvSpPr>
              <p:nvPr/>
            </p:nvSpPr>
            <p:spPr bwMode="auto">
              <a:xfrm>
                <a:off x="5776" y="516"/>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1" name="Freeform 1901"/>
              <p:cNvSpPr>
                <a:spLocks/>
              </p:cNvSpPr>
              <p:nvPr/>
            </p:nvSpPr>
            <p:spPr bwMode="auto">
              <a:xfrm>
                <a:off x="5776" y="516"/>
                <a:ext cx="16" cy="26"/>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2" name="Freeform 1902"/>
              <p:cNvSpPr>
                <a:spLocks/>
              </p:cNvSpPr>
              <p:nvPr/>
            </p:nvSpPr>
            <p:spPr bwMode="auto">
              <a:xfrm>
                <a:off x="5776" y="516"/>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3" name="Freeform 1903"/>
              <p:cNvSpPr>
                <a:spLocks/>
              </p:cNvSpPr>
              <p:nvPr/>
            </p:nvSpPr>
            <p:spPr bwMode="auto">
              <a:xfrm>
                <a:off x="5776" y="516"/>
                <a:ext cx="14" cy="26"/>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4" name="Freeform 1904"/>
              <p:cNvSpPr>
                <a:spLocks/>
              </p:cNvSpPr>
              <p:nvPr/>
            </p:nvSpPr>
            <p:spPr bwMode="auto">
              <a:xfrm>
                <a:off x="5674"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5" name="Freeform 1905"/>
              <p:cNvSpPr>
                <a:spLocks/>
              </p:cNvSpPr>
              <p:nvPr/>
            </p:nvSpPr>
            <p:spPr bwMode="auto">
              <a:xfrm>
                <a:off x="5674"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6" name="Freeform 1906"/>
              <p:cNvSpPr>
                <a:spLocks noEditPoints="1"/>
              </p:cNvSpPr>
              <p:nvPr/>
            </p:nvSpPr>
            <p:spPr bwMode="auto">
              <a:xfrm>
                <a:off x="5674" y="462"/>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7" name="Freeform 1907"/>
              <p:cNvSpPr>
                <a:spLocks/>
              </p:cNvSpPr>
              <p:nvPr/>
            </p:nvSpPr>
            <p:spPr bwMode="auto">
              <a:xfrm>
                <a:off x="5684"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8" name="Freeform 1908"/>
              <p:cNvSpPr>
                <a:spLocks/>
              </p:cNvSpPr>
              <p:nvPr/>
            </p:nvSpPr>
            <p:spPr bwMode="auto">
              <a:xfrm>
                <a:off x="5674" y="462"/>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89" name="Freeform 1909"/>
              <p:cNvSpPr>
                <a:spLocks noEditPoints="1"/>
              </p:cNvSpPr>
              <p:nvPr/>
            </p:nvSpPr>
            <p:spPr bwMode="auto">
              <a:xfrm>
                <a:off x="5788" y="450"/>
                <a:ext cx="20" cy="14"/>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0" name="Freeform 1910"/>
              <p:cNvSpPr>
                <a:spLocks/>
              </p:cNvSpPr>
              <p:nvPr/>
            </p:nvSpPr>
            <p:spPr bwMode="auto">
              <a:xfrm>
                <a:off x="5794" y="458"/>
                <a:ext cx="6" cy="4"/>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1" name="Freeform 1911"/>
              <p:cNvSpPr>
                <a:spLocks/>
              </p:cNvSpPr>
              <p:nvPr/>
            </p:nvSpPr>
            <p:spPr bwMode="auto">
              <a:xfrm>
                <a:off x="5788" y="450"/>
                <a:ext cx="20" cy="14"/>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2" name="Freeform 1912"/>
              <p:cNvSpPr>
                <a:spLocks/>
              </p:cNvSpPr>
              <p:nvPr/>
            </p:nvSpPr>
            <p:spPr bwMode="auto">
              <a:xfrm>
                <a:off x="5742"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3" name="Freeform 1913"/>
              <p:cNvSpPr>
                <a:spLocks/>
              </p:cNvSpPr>
              <p:nvPr/>
            </p:nvSpPr>
            <p:spPr bwMode="auto">
              <a:xfrm>
                <a:off x="5742"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4" name="Freeform 1914"/>
              <p:cNvSpPr>
                <a:spLocks/>
              </p:cNvSpPr>
              <p:nvPr/>
            </p:nvSpPr>
            <p:spPr bwMode="auto">
              <a:xfrm>
                <a:off x="5838"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5" name="Freeform 1915"/>
              <p:cNvSpPr>
                <a:spLocks/>
              </p:cNvSpPr>
              <p:nvPr/>
            </p:nvSpPr>
            <p:spPr bwMode="auto">
              <a:xfrm>
                <a:off x="5838"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6" name="Freeform 1916"/>
              <p:cNvSpPr>
                <a:spLocks/>
              </p:cNvSpPr>
              <p:nvPr/>
            </p:nvSpPr>
            <p:spPr bwMode="auto">
              <a:xfrm>
                <a:off x="5784"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7" name="Freeform 1917"/>
              <p:cNvSpPr>
                <a:spLocks/>
              </p:cNvSpPr>
              <p:nvPr/>
            </p:nvSpPr>
            <p:spPr bwMode="auto">
              <a:xfrm>
                <a:off x="5784"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8" name="Freeform 1918"/>
              <p:cNvSpPr>
                <a:spLocks/>
              </p:cNvSpPr>
              <p:nvPr/>
            </p:nvSpPr>
            <p:spPr bwMode="auto">
              <a:xfrm>
                <a:off x="5798"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099" name="Freeform 1919"/>
              <p:cNvSpPr>
                <a:spLocks/>
              </p:cNvSpPr>
              <p:nvPr/>
            </p:nvSpPr>
            <p:spPr bwMode="auto">
              <a:xfrm>
                <a:off x="5798"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0" name="Freeform 1920"/>
              <p:cNvSpPr>
                <a:spLocks/>
              </p:cNvSpPr>
              <p:nvPr/>
            </p:nvSpPr>
            <p:spPr bwMode="auto">
              <a:xfrm>
                <a:off x="5794"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1" name="Freeform 1921"/>
              <p:cNvSpPr>
                <a:spLocks/>
              </p:cNvSpPr>
              <p:nvPr/>
            </p:nvSpPr>
            <p:spPr bwMode="auto">
              <a:xfrm>
                <a:off x="5794"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2" name="Freeform 1922"/>
              <p:cNvSpPr>
                <a:spLocks/>
              </p:cNvSpPr>
              <p:nvPr/>
            </p:nvSpPr>
            <p:spPr bwMode="auto">
              <a:xfrm>
                <a:off x="5796" y="458"/>
                <a:ext cx="4" cy="4"/>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3" name="Freeform 1923"/>
              <p:cNvSpPr>
                <a:spLocks/>
              </p:cNvSpPr>
              <p:nvPr/>
            </p:nvSpPr>
            <p:spPr bwMode="auto">
              <a:xfrm>
                <a:off x="5796" y="458"/>
                <a:ext cx="4" cy="4"/>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4" name="Freeform 1924"/>
              <p:cNvSpPr>
                <a:spLocks noEditPoints="1"/>
              </p:cNvSpPr>
              <p:nvPr/>
            </p:nvSpPr>
            <p:spPr bwMode="auto">
              <a:xfrm>
                <a:off x="6712" y="600"/>
                <a:ext cx="186" cy="146"/>
              </a:xfrm>
              <a:custGeom>
                <a:avLst/>
                <a:gdLst>
                  <a:gd name="T0" fmla="*/ 116 w 186"/>
                  <a:gd name="T1" fmla="*/ 104 h 146"/>
                  <a:gd name="T2" fmla="*/ 112 w 186"/>
                  <a:gd name="T3" fmla="*/ 130 h 146"/>
                  <a:gd name="T4" fmla="*/ 18 w 186"/>
                  <a:gd name="T5" fmla="*/ 122 h 146"/>
                  <a:gd name="T6" fmla="*/ 6 w 186"/>
                  <a:gd name="T7" fmla="*/ 106 h 146"/>
                  <a:gd name="T8" fmla="*/ 22 w 186"/>
                  <a:gd name="T9" fmla="*/ 118 h 146"/>
                  <a:gd name="T10" fmla="*/ 8 w 186"/>
                  <a:gd name="T11" fmla="*/ 50 h 146"/>
                  <a:gd name="T12" fmla="*/ 8 w 186"/>
                  <a:gd name="T13" fmla="*/ 50 h 146"/>
                  <a:gd name="T14" fmla="*/ 10 w 186"/>
                  <a:gd name="T15" fmla="*/ 66 h 146"/>
                  <a:gd name="T16" fmla="*/ 10 w 186"/>
                  <a:gd name="T17" fmla="*/ 70 h 146"/>
                  <a:gd name="T18" fmla="*/ 0 w 186"/>
                  <a:gd name="T19" fmla="*/ 58 h 146"/>
                  <a:gd name="T20" fmla="*/ 84 w 186"/>
                  <a:gd name="T21" fmla="*/ 16 h 146"/>
                  <a:gd name="T22" fmla="*/ 128 w 186"/>
                  <a:gd name="T23" fmla="*/ 8 h 146"/>
                  <a:gd name="T24" fmla="*/ 158 w 186"/>
                  <a:gd name="T25" fmla="*/ 32 h 146"/>
                  <a:gd name="T26" fmla="*/ 158 w 186"/>
                  <a:gd name="T27" fmla="*/ 44 h 146"/>
                  <a:gd name="T28" fmla="*/ 152 w 186"/>
                  <a:gd name="T29" fmla="*/ 44 h 146"/>
                  <a:gd name="T30" fmla="*/ 158 w 186"/>
                  <a:gd name="T31" fmla="*/ 46 h 146"/>
                  <a:gd name="T32" fmla="*/ 160 w 186"/>
                  <a:gd name="T33" fmla="*/ 42 h 146"/>
                  <a:gd name="T34" fmla="*/ 176 w 186"/>
                  <a:gd name="T35" fmla="*/ 28 h 146"/>
                  <a:gd name="T36" fmla="*/ 182 w 186"/>
                  <a:gd name="T37" fmla="*/ 70 h 146"/>
                  <a:gd name="T38" fmla="*/ 140 w 186"/>
                  <a:gd name="T39" fmla="*/ 86 h 146"/>
                  <a:gd name="T40" fmla="*/ 134 w 186"/>
                  <a:gd name="T41" fmla="*/ 100 h 146"/>
                  <a:gd name="T42" fmla="*/ 144 w 186"/>
                  <a:gd name="T43" fmla="*/ 90 h 146"/>
                  <a:gd name="T44" fmla="*/ 128 w 186"/>
                  <a:gd name="T45" fmla="*/ 102 h 146"/>
                  <a:gd name="T46" fmla="*/ 114 w 186"/>
                  <a:gd name="T47" fmla="*/ 96 h 146"/>
                  <a:gd name="T48" fmla="*/ 86 w 186"/>
                  <a:gd name="T49" fmla="*/ 140 h 146"/>
                  <a:gd name="T50" fmla="*/ 68 w 186"/>
                  <a:gd name="T51" fmla="*/ 128 h 146"/>
                  <a:gd name="T52" fmla="*/ 76 w 186"/>
                  <a:gd name="T53" fmla="*/ 114 h 146"/>
                  <a:gd name="T54" fmla="*/ 56 w 186"/>
                  <a:gd name="T55" fmla="*/ 116 h 146"/>
                  <a:gd name="T56" fmla="*/ 52 w 186"/>
                  <a:gd name="T57" fmla="*/ 122 h 146"/>
                  <a:gd name="T58" fmla="*/ 44 w 186"/>
                  <a:gd name="T59" fmla="*/ 140 h 146"/>
                  <a:gd name="T60" fmla="*/ 26 w 186"/>
                  <a:gd name="T61" fmla="*/ 122 h 146"/>
                  <a:gd name="T62" fmla="*/ 14 w 186"/>
                  <a:gd name="T63" fmla="*/ 78 h 146"/>
                  <a:gd name="T64" fmla="*/ 56 w 186"/>
                  <a:gd name="T65" fmla="*/ 34 h 146"/>
                  <a:gd name="T66" fmla="*/ 40 w 186"/>
                  <a:gd name="T67" fmla="*/ 64 h 146"/>
                  <a:gd name="T68" fmla="*/ 48 w 186"/>
                  <a:gd name="T69" fmla="*/ 90 h 146"/>
                  <a:gd name="T70" fmla="*/ 72 w 186"/>
                  <a:gd name="T71" fmla="*/ 96 h 146"/>
                  <a:gd name="T72" fmla="*/ 94 w 186"/>
                  <a:gd name="T73" fmla="*/ 58 h 146"/>
                  <a:gd name="T74" fmla="*/ 90 w 186"/>
                  <a:gd name="T75" fmla="*/ 84 h 146"/>
                  <a:gd name="T76" fmla="*/ 56 w 186"/>
                  <a:gd name="T77" fmla="*/ 94 h 146"/>
                  <a:gd name="T78" fmla="*/ 58 w 186"/>
                  <a:gd name="T79" fmla="*/ 70 h 146"/>
                  <a:gd name="T80" fmla="*/ 46 w 186"/>
                  <a:gd name="T81" fmla="*/ 56 h 146"/>
                  <a:gd name="T82" fmla="*/ 86 w 186"/>
                  <a:gd name="T83" fmla="*/ 22 h 146"/>
                  <a:gd name="T84" fmla="*/ 90 w 186"/>
                  <a:gd name="T85" fmla="*/ 8 h 146"/>
                  <a:gd name="T86" fmla="*/ 70 w 186"/>
                  <a:gd name="T87" fmla="*/ 24 h 146"/>
                  <a:gd name="T88" fmla="*/ 18 w 186"/>
                  <a:gd name="T89" fmla="*/ 56 h 146"/>
                  <a:gd name="T90" fmla="*/ 14 w 186"/>
                  <a:gd name="T91" fmla="*/ 56 h 146"/>
                  <a:gd name="T92" fmla="*/ 0 w 186"/>
                  <a:gd name="T93" fmla="*/ 58 h 146"/>
                  <a:gd name="T94" fmla="*/ 12 w 186"/>
                  <a:gd name="T95" fmla="*/ 84 h 146"/>
                  <a:gd name="T96" fmla="*/ 2 w 186"/>
                  <a:gd name="T97" fmla="*/ 112 h 146"/>
                  <a:gd name="T98" fmla="*/ 20 w 186"/>
                  <a:gd name="T99" fmla="*/ 132 h 146"/>
                  <a:gd name="T100" fmla="*/ 44 w 186"/>
                  <a:gd name="T101" fmla="*/ 144 h 146"/>
                  <a:gd name="T102" fmla="*/ 56 w 186"/>
                  <a:gd name="T103" fmla="*/ 120 h 146"/>
                  <a:gd name="T104" fmla="*/ 74 w 186"/>
                  <a:gd name="T105" fmla="*/ 144 h 146"/>
                  <a:gd name="T106" fmla="*/ 96 w 186"/>
                  <a:gd name="T107" fmla="*/ 134 h 146"/>
                  <a:gd name="T108" fmla="*/ 122 w 186"/>
                  <a:gd name="T109" fmla="*/ 124 h 146"/>
                  <a:gd name="T110" fmla="*/ 118 w 186"/>
                  <a:gd name="T111" fmla="*/ 96 h 146"/>
                  <a:gd name="T112" fmla="*/ 142 w 186"/>
                  <a:gd name="T113" fmla="*/ 100 h 146"/>
                  <a:gd name="T114" fmla="*/ 158 w 186"/>
                  <a:gd name="T115" fmla="*/ 92 h 146"/>
                  <a:gd name="T116" fmla="*/ 186 w 186"/>
                  <a:gd name="T117" fmla="*/ 46 h 146"/>
                  <a:gd name="T118" fmla="*/ 172 w 186"/>
                  <a:gd name="T119" fmla="*/ 24 h 146"/>
                  <a:gd name="T120" fmla="*/ 160 w 186"/>
                  <a:gd name="T121" fmla="*/ 30 h 146"/>
                  <a:gd name="T122" fmla="*/ 112 w 186"/>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8"/>
                    </a:lnTo>
                    <a:lnTo>
                      <a:pt x="120" y="128"/>
                    </a:lnTo>
                    <a:lnTo>
                      <a:pt x="118" y="130"/>
                    </a:lnTo>
                    <a:lnTo>
                      <a:pt x="118" y="130"/>
                    </a:lnTo>
                    <a:lnTo>
                      <a:pt x="112" y="130"/>
                    </a:lnTo>
                    <a:lnTo>
                      <a:pt x="112" y="130"/>
                    </a:lnTo>
                    <a:lnTo>
                      <a:pt x="112" y="130"/>
                    </a:lnTo>
                    <a:lnTo>
                      <a:pt x="112" y="130"/>
                    </a:lnTo>
                    <a:lnTo>
                      <a:pt x="110" y="130"/>
                    </a:lnTo>
                    <a:lnTo>
                      <a:pt x="110" y="130"/>
                    </a:lnTo>
                    <a:lnTo>
                      <a:pt x="102" y="130"/>
                    </a:lnTo>
                    <a:lnTo>
                      <a:pt x="102" y="130"/>
                    </a:lnTo>
                    <a:lnTo>
                      <a:pt x="106" y="124"/>
                    </a:lnTo>
                    <a:close/>
                    <a:moveTo>
                      <a:pt x="18" y="122"/>
                    </a:moveTo>
                    <a:lnTo>
                      <a:pt x="18" y="122"/>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0"/>
                    </a:lnTo>
                    <a:lnTo>
                      <a:pt x="20" y="122"/>
                    </a:lnTo>
                    <a:lnTo>
                      <a:pt x="20" y="122"/>
                    </a:lnTo>
                    <a:lnTo>
                      <a:pt x="20" y="122"/>
                    </a:lnTo>
                    <a:lnTo>
                      <a:pt x="20" y="122"/>
                    </a:lnTo>
                    <a:lnTo>
                      <a:pt x="18" y="122"/>
                    </a:lnTo>
                    <a:close/>
                    <a:moveTo>
                      <a:pt x="8" y="50"/>
                    </a:moveTo>
                    <a:lnTo>
                      <a:pt x="8" y="50"/>
                    </a:lnTo>
                    <a:lnTo>
                      <a:pt x="8" y="50"/>
                    </a:lnTo>
                    <a:lnTo>
                      <a:pt x="8" y="50"/>
                    </a:lnTo>
                    <a:lnTo>
                      <a:pt x="8" y="50"/>
                    </a:lnTo>
                    <a:lnTo>
                      <a:pt x="8" y="50"/>
                    </a:lnTo>
                    <a:lnTo>
                      <a:pt x="8" y="50"/>
                    </a:lnTo>
                    <a:lnTo>
                      <a:pt x="8" y="50"/>
                    </a:lnTo>
                    <a:lnTo>
                      <a:pt x="8" y="50"/>
                    </a:lnTo>
                    <a:lnTo>
                      <a:pt x="8" y="50"/>
                    </a:lnTo>
                    <a:lnTo>
                      <a:pt x="4" y="62"/>
                    </a:lnTo>
                    <a:lnTo>
                      <a:pt x="4" y="62"/>
                    </a:lnTo>
                    <a:lnTo>
                      <a:pt x="6" y="66"/>
                    </a:lnTo>
                    <a:lnTo>
                      <a:pt x="6" y="66"/>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70"/>
                    </a:lnTo>
                    <a:lnTo>
                      <a:pt x="10" y="70"/>
                    </a:lnTo>
                    <a:lnTo>
                      <a:pt x="8" y="70"/>
                    </a:lnTo>
                    <a:lnTo>
                      <a:pt x="8" y="70"/>
                    </a:lnTo>
                    <a:lnTo>
                      <a:pt x="6" y="70"/>
                    </a:lnTo>
                    <a:lnTo>
                      <a:pt x="6" y="70"/>
                    </a:lnTo>
                    <a:lnTo>
                      <a:pt x="4" y="66"/>
                    </a:lnTo>
                    <a:lnTo>
                      <a:pt x="2" y="62"/>
                    </a:lnTo>
                    <a:lnTo>
                      <a:pt x="0" y="58"/>
                    </a:lnTo>
                    <a:lnTo>
                      <a:pt x="2" y="56"/>
                    </a:lnTo>
                    <a:lnTo>
                      <a:pt x="2" y="56"/>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4"/>
                    </a:lnTo>
                    <a:lnTo>
                      <a:pt x="152" y="26"/>
                    </a:lnTo>
                    <a:lnTo>
                      <a:pt x="158" y="32"/>
                    </a:lnTo>
                    <a:lnTo>
                      <a:pt x="158" y="32"/>
                    </a:lnTo>
                    <a:lnTo>
                      <a:pt x="148" y="34"/>
                    </a:lnTo>
                    <a:lnTo>
                      <a:pt x="148" y="34"/>
                    </a:lnTo>
                    <a:lnTo>
                      <a:pt x="150" y="40"/>
                    </a:lnTo>
                    <a:lnTo>
                      <a:pt x="154" y="42"/>
                    </a:lnTo>
                    <a:lnTo>
                      <a:pt x="154" y="42"/>
                    </a:lnTo>
                    <a:lnTo>
                      <a:pt x="156" y="42"/>
                    </a:lnTo>
                    <a:lnTo>
                      <a:pt x="156" y="42"/>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70"/>
                    </a:lnTo>
                    <a:lnTo>
                      <a:pt x="18" y="60"/>
                    </a:lnTo>
                    <a:lnTo>
                      <a:pt x="24" y="54"/>
                    </a:lnTo>
                    <a:lnTo>
                      <a:pt x="30" y="46"/>
                    </a:lnTo>
                    <a:lnTo>
                      <a:pt x="30" y="46"/>
                    </a:lnTo>
                    <a:lnTo>
                      <a:pt x="42" y="40"/>
                    </a:lnTo>
                    <a:lnTo>
                      <a:pt x="56" y="34"/>
                    </a:lnTo>
                    <a:lnTo>
                      <a:pt x="56" y="34"/>
                    </a:lnTo>
                    <a:lnTo>
                      <a:pt x="58" y="34"/>
                    </a:lnTo>
                    <a:lnTo>
                      <a:pt x="58" y="34"/>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6"/>
                    </a:lnTo>
                    <a:lnTo>
                      <a:pt x="56" y="76"/>
                    </a:lnTo>
                    <a:lnTo>
                      <a:pt x="58" y="70"/>
                    </a:lnTo>
                    <a:lnTo>
                      <a:pt x="58" y="70"/>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8"/>
                    </a:lnTo>
                    <a:lnTo>
                      <a:pt x="2" y="112"/>
                    </a:lnTo>
                    <a:lnTo>
                      <a:pt x="2" y="112"/>
                    </a:lnTo>
                    <a:lnTo>
                      <a:pt x="6" y="118"/>
                    </a:lnTo>
                    <a:lnTo>
                      <a:pt x="8" y="122"/>
                    </a:lnTo>
                    <a:lnTo>
                      <a:pt x="8" y="122"/>
                    </a:lnTo>
                    <a:lnTo>
                      <a:pt x="16"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6"/>
                    </a:lnTo>
                    <a:lnTo>
                      <a:pt x="88" y="142"/>
                    </a:lnTo>
                    <a:lnTo>
                      <a:pt x="88" y="142"/>
                    </a:lnTo>
                    <a:lnTo>
                      <a:pt x="96" y="134"/>
                    </a:lnTo>
                    <a:lnTo>
                      <a:pt x="96" y="134"/>
                    </a:lnTo>
                    <a:lnTo>
                      <a:pt x="100" y="132"/>
                    </a:lnTo>
                    <a:lnTo>
                      <a:pt x="100" y="132"/>
                    </a:lnTo>
                    <a:lnTo>
                      <a:pt x="116" y="134"/>
                    </a:lnTo>
                    <a:lnTo>
                      <a:pt x="116" y="134"/>
                    </a:lnTo>
                    <a:lnTo>
                      <a:pt x="120" y="132"/>
                    </a:lnTo>
                    <a:lnTo>
                      <a:pt x="122" y="132"/>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4"/>
                    </a:lnTo>
                    <a:lnTo>
                      <a:pt x="112"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5" name="Freeform 1925"/>
              <p:cNvSpPr>
                <a:spLocks/>
              </p:cNvSpPr>
              <p:nvPr/>
            </p:nvSpPr>
            <p:spPr bwMode="auto">
              <a:xfrm>
                <a:off x="6814" y="704"/>
                <a:ext cx="18" cy="26"/>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8 w 18"/>
                  <a:gd name="T37" fmla="*/ 26 h 26"/>
                  <a:gd name="T38" fmla="*/ 8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8" y="26"/>
                    </a:lnTo>
                    <a:lnTo>
                      <a:pt x="8"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6" name="Freeform 1926"/>
              <p:cNvSpPr>
                <a:spLocks/>
              </p:cNvSpPr>
              <p:nvPr/>
            </p:nvSpPr>
            <p:spPr bwMode="auto">
              <a:xfrm>
                <a:off x="6716" y="700"/>
                <a:ext cx="18" cy="22"/>
              </a:xfrm>
              <a:custGeom>
                <a:avLst/>
                <a:gdLst>
                  <a:gd name="T0" fmla="*/ 14 w 18"/>
                  <a:gd name="T1" fmla="*/ 22 h 22"/>
                  <a:gd name="T2" fmla="*/ 14 w 18"/>
                  <a:gd name="T3" fmla="*/ 22 h 22"/>
                  <a:gd name="T4" fmla="*/ 10 w 18"/>
                  <a:gd name="T5" fmla="*/ 22 h 22"/>
                  <a:gd name="T6" fmla="*/ 6 w 18"/>
                  <a:gd name="T7" fmla="*/ 18 h 22"/>
                  <a:gd name="T8" fmla="*/ 2 w 18"/>
                  <a:gd name="T9" fmla="*/ 14 h 22"/>
                  <a:gd name="T10" fmla="*/ 0 w 18"/>
                  <a:gd name="T11" fmla="*/ 10 h 22"/>
                  <a:gd name="T12" fmla="*/ 0 w 18"/>
                  <a:gd name="T13" fmla="*/ 10 h 22"/>
                  <a:gd name="T14" fmla="*/ 2 w 18"/>
                  <a:gd name="T15" fmla="*/ 6 h 22"/>
                  <a:gd name="T16" fmla="*/ 2 w 18"/>
                  <a:gd name="T17" fmla="*/ 6 h 22"/>
                  <a:gd name="T18" fmla="*/ 8 w 18"/>
                  <a:gd name="T19" fmla="*/ 0 h 22"/>
                  <a:gd name="T20" fmla="*/ 8 w 18"/>
                  <a:gd name="T21" fmla="*/ 0 h 22"/>
                  <a:gd name="T22" fmla="*/ 10 w 18"/>
                  <a:gd name="T23" fmla="*/ 0 h 22"/>
                  <a:gd name="T24" fmla="*/ 10 w 18"/>
                  <a:gd name="T25" fmla="*/ 0 h 22"/>
                  <a:gd name="T26" fmla="*/ 10 w 18"/>
                  <a:gd name="T27" fmla="*/ 0 h 22"/>
                  <a:gd name="T28" fmla="*/ 10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6 w 18"/>
                  <a:gd name="T41" fmla="*/ 22 h 22"/>
                  <a:gd name="T42" fmla="*/ 16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0"/>
                    </a:lnTo>
                    <a:lnTo>
                      <a:pt x="16" y="22"/>
                    </a:lnTo>
                    <a:lnTo>
                      <a:pt x="16" y="22"/>
                    </a:lnTo>
                    <a:lnTo>
                      <a:pt x="16" y="22"/>
                    </a:lnTo>
                    <a:lnTo>
                      <a:pt x="16"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7" name="Freeform 1927"/>
              <p:cNvSpPr>
                <a:spLocks/>
              </p:cNvSpPr>
              <p:nvPr/>
            </p:nvSpPr>
            <p:spPr bwMode="auto">
              <a:xfrm>
                <a:off x="6712" y="650"/>
                <a:ext cx="14" cy="2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20 h 20"/>
                  <a:gd name="T52" fmla="*/ 10 w 14"/>
                  <a:gd name="T53" fmla="*/ 20 h 20"/>
                  <a:gd name="T54" fmla="*/ 8 w 14"/>
                  <a:gd name="T55" fmla="*/ 20 h 20"/>
                  <a:gd name="T56" fmla="*/ 8 w 14"/>
                  <a:gd name="T57" fmla="*/ 20 h 20"/>
                  <a:gd name="T58" fmla="*/ 6 w 14"/>
                  <a:gd name="T59" fmla="*/ 20 h 20"/>
                  <a:gd name="T60" fmla="*/ 6 w 14"/>
                  <a:gd name="T61" fmla="*/ 20 h 20"/>
                  <a:gd name="T62" fmla="*/ 4 w 14"/>
                  <a:gd name="T63" fmla="*/ 16 h 20"/>
                  <a:gd name="T64" fmla="*/ 2 w 14"/>
                  <a:gd name="T65" fmla="*/ 12 h 20"/>
                  <a:gd name="T66" fmla="*/ 0 w 14"/>
                  <a:gd name="T67" fmla="*/ 8 h 20"/>
                  <a:gd name="T68" fmla="*/ 2 w 14"/>
                  <a:gd name="T69" fmla="*/ 6 h 20"/>
                  <a:gd name="T70" fmla="*/ 2 w 14"/>
                  <a:gd name="T71" fmla="*/ 6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20"/>
                    </a:lnTo>
                    <a:lnTo>
                      <a:pt x="10" y="20"/>
                    </a:lnTo>
                    <a:lnTo>
                      <a:pt x="8" y="20"/>
                    </a:lnTo>
                    <a:lnTo>
                      <a:pt x="8" y="20"/>
                    </a:lnTo>
                    <a:lnTo>
                      <a:pt x="6" y="20"/>
                    </a:lnTo>
                    <a:lnTo>
                      <a:pt x="6" y="20"/>
                    </a:lnTo>
                    <a:lnTo>
                      <a:pt x="4" y="16"/>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8" name="Freeform 1928"/>
              <p:cNvSpPr>
                <a:spLocks/>
              </p:cNvSpPr>
              <p:nvPr/>
            </p:nvSpPr>
            <p:spPr bwMode="auto">
              <a:xfrm>
                <a:off x="6726" y="604"/>
                <a:ext cx="170" cy="138"/>
              </a:xfrm>
              <a:custGeom>
                <a:avLst/>
                <a:gdLst>
                  <a:gd name="T0" fmla="*/ 74 w 170"/>
                  <a:gd name="T1" fmla="*/ 8 h 138"/>
                  <a:gd name="T2" fmla="*/ 100 w 170"/>
                  <a:gd name="T3" fmla="*/ 0 h 138"/>
                  <a:gd name="T4" fmla="*/ 130 w 170"/>
                  <a:gd name="T5" fmla="*/ 16 h 138"/>
                  <a:gd name="T6" fmla="*/ 134 w 170"/>
                  <a:gd name="T7" fmla="*/ 20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0 h 138"/>
                  <a:gd name="T90" fmla="*/ 30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20"/>
                    </a:lnTo>
                    <a:lnTo>
                      <a:pt x="138" y="22"/>
                    </a:lnTo>
                    <a:lnTo>
                      <a:pt x="144" y="28"/>
                    </a:lnTo>
                    <a:lnTo>
                      <a:pt x="144" y="28"/>
                    </a:lnTo>
                    <a:lnTo>
                      <a:pt x="134" y="30"/>
                    </a:lnTo>
                    <a:lnTo>
                      <a:pt x="134" y="30"/>
                    </a:lnTo>
                    <a:lnTo>
                      <a:pt x="136" y="36"/>
                    </a:lnTo>
                    <a:lnTo>
                      <a:pt x="140" y="38"/>
                    </a:lnTo>
                    <a:lnTo>
                      <a:pt x="140" y="38"/>
                    </a:lnTo>
                    <a:lnTo>
                      <a:pt x="142" y="38"/>
                    </a:lnTo>
                    <a:lnTo>
                      <a:pt x="142" y="38"/>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6"/>
                    </a:lnTo>
                    <a:lnTo>
                      <a:pt x="4" y="56"/>
                    </a:lnTo>
                    <a:lnTo>
                      <a:pt x="10" y="50"/>
                    </a:lnTo>
                    <a:lnTo>
                      <a:pt x="16" y="42"/>
                    </a:lnTo>
                    <a:lnTo>
                      <a:pt x="16" y="42"/>
                    </a:lnTo>
                    <a:lnTo>
                      <a:pt x="28" y="36"/>
                    </a:lnTo>
                    <a:lnTo>
                      <a:pt x="42" y="30"/>
                    </a:lnTo>
                    <a:lnTo>
                      <a:pt x="42" y="30"/>
                    </a:lnTo>
                    <a:lnTo>
                      <a:pt x="44" y="30"/>
                    </a:lnTo>
                    <a:lnTo>
                      <a:pt x="44" y="30"/>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2"/>
                    </a:lnTo>
                    <a:lnTo>
                      <a:pt x="42" y="72"/>
                    </a:lnTo>
                    <a:lnTo>
                      <a:pt x="44" y="66"/>
                    </a:lnTo>
                    <a:lnTo>
                      <a:pt x="44" y="66"/>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09" name="Freeform 1929"/>
              <p:cNvSpPr>
                <a:spLocks/>
              </p:cNvSpPr>
              <p:nvPr/>
            </p:nvSpPr>
            <p:spPr bwMode="auto">
              <a:xfrm>
                <a:off x="6712" y="600"/>
                <a:ext cx="186" cy="146"/>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8 h 146"/>
                  <a:gd name="T34" fmla="*/ 6 w 186"/>
                  <a:gd name="T35" fmla="*/ 118 h 146"/>
                  <a:gd name="T36" fmla="*/ 16 w 186"/>
                  <a:gd name="T37" fmla="*/ 124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4"/>
                    </a:lnTo>
                    <a:lnTo>
                      <a:pt x="12" y="44"/>
                    </a:lnTo>
                    <a:lnTo>
                      <a:pt x="4" y="50"/>
                    </a:lnTo>
                    <a:lnTo>
                      <a:pt x="0" y="54"/>
                    </a:lnTo>
                    <a:lnTo>
                      <a:pt x="0" y="58"/>
                    </a:lnTo>
                    <a:lnTo>
                      <a:pt x="0" y="58"/>
                    </a:lnTo>
                    <a:lnTo>
                      <a:pt x="0" y="64"/>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8"/>
                    </a:lnTo>
                    <a:lnTo>
                      <a:pt x="2" y="112"/>
                    </a:lnTo>
                    <a:lnTo>
                      <a:pt x="2" y="112"/>
                    </a:lnTo>
                    <a:lnTo>
                      <a:pt x="6" y="118"/>
                    </a:lnTo>
                    <a:lnTo>
                      <a:pt x="8" y="122"/>
                    </a:lnTo>
                    <a:lnTo>
                      <a:pt x="8" y="122"/>
                    </a:lnTo>
                    <a:lnTo>
                      <a:pt x="16"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6"/>
                    </a:lnTo>
                    <a:lnTo>
                      <a:pt x="88" y="142"/>
                    </a:lnTo>
                    <a:lnTo>
                      <a:pt x="88" y="142"/>
                    </a:lnTo>
                    <a:lnTo>
                      <a:pt x="96" y="134"/>
                    </a:lnTo>
                    <a:lnTo>
                      <a:pt x="96" y="134"/>
                    </a:lnTo>
                    <a:lnTo>
                      <a:pt x="100" y="132"/>
                    </a:lnTo>
                    <a:lnTo>
                      <a:pt x="100" y="132"/>
                    </a:lnTo>
                    <a:lnTo>
                      <a:pt x="116" y="134"/>
                    </a:lnTo>
                    <a:lnTo>
                      <a:pt x="116" y="134"/>
                    </a:lnTo>
                    <a:lnTo>
                      <a:pt x="120" y="132"/>
                    </a:lnTo>
                    <a:lnTo>
                      <a:pt x="122" y="132"/>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0" name="Freeform 1930"/>
              <p:cNvSpPr>
                <a:spLocks/>
              </p:cNvSpPr>
              <p:nvPr/>
            </p:nvSpPr>
            <p:spPr bwMode="auto">
              <a:xfrm>
                <a:off x="6716" y="700"/>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2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8 h 22"/>
                  <a:gd name="T34" fmla="*/ 18 w 18"/>
                  <a:gd name="T35" fmla="*/ 18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8" y="20"/>
                    </a:lnTo>
                    <a:lnTo>
                      <a:pt x="18" y="18"/>
                    </a:lnTo>
                    <a:lnTo>
                      <a:pt x="18" y="18"/>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1" name="Freeform 1931"/>
              <p:cNvSpPr>
                <a:spLocks/>
              </p:cNvSpPr>
              <p:nvPr/>
            </p:nvSpPr>
            <p:spPr bwMode="auto">
              <a:xfrm>
                <a:off x="6716" y="700"/>
                <a:ext cx="18" cy="22"/>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6 w 18"/>
                  <a:gd name="T15" fmla="*/ 18 h 22"/>
                  <a:gd name="T16" fmla="*/ 10 w 18"/>
                  <a:gd name="T17" fmla="*/ 22 h 22"/>
                  <a:gd name="T18" fmla="*/ 14 w 18"/>
                  <a:gd name="T19" fmla="*/ 22 h 22"/>
                  <a:gd name="T20" fmla="*/ 14 w 18"/>
                  <a:gd name="T21" fmla="*/ 22 h 22"/>
                  <a:gd name="T22" fmla="*/ 16 w 18"/>
                  <a:gd name="T23" fmla="*/ 22 h 22"/>
                  <a:gd name="T24" fmla="*/ 16 w 18"/>
                  <a:gd name="T25" fmla="*/ 22 h 22"/>
                  <a:gd name="T26" fmla="*/ 16 w 18"/>
                  <a:gd name="T27" fmla="*/ 22 h 22"/>
                  <a:gd name="T28" fmla="*/ 16 w 18"/>
                  <a:gd name="T29" fmla="*/ 22 h 22"/>
                  <a:gd name="T30" fmla="*/ 18 w 18"/>
                  <a:gd name="T31" fmla="*/ 20 h 22"/>
                  <a:gd name="T32" fmla="*/ 18 w 18"/>
                  <a:gd name="T33" fmla="*/ 18 h 22"/>
                  <a:gd name="T34" fmla="*/ 18 w 18"/>
                  <a:gd name="T35" fmla="*/ 18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8" y="20"/>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2" name="Freeform 1932"/>
              <p:cNvSpPr>
                <a:spLocks/>
              </p:cNvSpPr>
              <p:nvPr/>
            </p:nvSpPr>
            <p:spPr bwMode="auto">
              <a:xfrm>
                <a:off x="6716" y="700"/>
                <a:ext cx="16" cy="22"/>
              </a:xfrm>
              <a:custGeom>
                <a:avLst/>
                <a:gdLst>
                  <a:gd name="T0" fmla="*/ 8 w 16"/>
                  <a:gd name="T1" fmla="*/ 0 h 22"/>
                  <a:gd name="T2" fmla="*/ 8 w 16"/>
                  <a:gd name="T3" fmla="*/ 0 h 22"/>
                  <a:gd name="T4" fmla="*/ 2 w 16"/>
                  <a:gd name="T5" fmla="*/ 6 h 22"/>
                  <a:gd name="T6" fmla="*/ 2 w 16"/>
                  <a:gd name="T7" fmla="*/ 6 h 22"/>
                  <a:gd name="T8" fmla="*/ 0 w 16"/>
                  <a:gd name="T9" fmla="*/ 10 h 22"/>
                  <a:gd name="T10" fmla="*/ 0 w 16"/>
                  <a:gd name="T11" fmla="*/ 10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10 w 16"/>
                  <a:gd name="T53" fmla="*/ 0 h 22"/>
                  <a:gd name="T54" fmla="*/ 10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3" name="Freeform 1933"/>
              <p:cNvSpPr>
                <a:spLocks/>
              </p:cNvSpPr>
              <p:nvPr/>
            </p:nvSpPr>
            <p:spPr bwMode="auto">
              <a:xfrm>
                <a:off x="6716" y="700"/>
                <a:ext cx="16" cy="22"/>
              </a:xfrm>
              <a:custGeom>
                <a:avLst/>
                <a:gdLst>
                  <a:gd name="T0" fmla="*/ 8 w 16"/>
                  <a:gd name="T1" fmla="*/ 0 h 22"/>
                  <a:gd name="T2" fmla="*/ 8 w 16"/>
                  <a:gd name="T3" fmla="*/ 0 h 22"/>
                  <a:gd name="T4" fmla="*/ 2 w 16"/>
                  <a:gd name="T5" fmla="*/ 6 h 22"/>
                  <a:gd name="T6" fmla="*/ 2 w 16"/>
                  <a:gd name="T7" fmla="*/ 6 h 22"/>
                  <a:gd name="T8" fmla="*/ 0 w 16"/>
                  <a:gd name="T9" fmla="*/ 10 h 22"/>
                  <a:gd name="T10" fmla="*/ 0 w 16"/>
                  <a:gd name="T11" fmla="*/ 10 h 22"/>
                  <a:gd name="T12" fmla="*/ 2 w 16"/>
                  <a:gd name="T13" fmla="*/ 14 h 22"/>
                  <a:gd name="T14" fmla="*/ 6 w 16"/>
                  <a:gd name="T15" fmla="*/ 18 h 22"/>
                  <a:gd name="T16" fmla="*/ 10 w 16"/>
                  <a:gd name="T17" fmla="*/ 22 h 22"/>
                  <a:gd name="T18" fmla="*/ 14 w 16"/>
                  <a:gd name="T19" fmla="*/ 22 h 22"/>
                  <a:gd name="T20" fmla="*/ 14 w 16"/>
                  <a:gd name="T21" fmla="*/ 22 h 22"/>
                  <a:gd name="T22" fmla="*/ 16 w 16"/>
                  <a:gd name="T23" fmla="*/ 22 h 22"/>
                  <a:gd name="T24" fmla="*/ 16 w 16"/>
                  <a:gd name="T25" fmla="*/ 22 h 22"/>
                  <a:gd name="T26" fmla="*/ 16 w 16"/>
                  <a:gd name="T27" fmla="*/ 22 h 22"/>
                  <a:gd name="T28" fmla="*/ 16 w 16"/>
                  <a:gd name="T29" fmla="*/ 22 h 22"/>
                  <a:gd name="T30" fmla="*/ 16 w 16"/>
                  <a:gd name="T31" fmla="*/ 22 h 22"/>
                  <a:gd name="T32" fmla="*/ 16 w 16"/>
                  <a:gd name="T33" fmla="*/ 22 h 22"/>
                  <a:gd name="T34" fmla="*/ 14 w 16"/>
                  <a:gd name="T35" fmla="*/ 22 h 22"/>
                  <a:gd name="T36" fmla="*/ 14 w 16"/>
                  <a:gd name="T37" fmla="*/ 22 h 22"/>
                  <a:gd name="T38" fmla="*/ 10 w 16"/>
                  <a:gd name="T39" fmla="*/ 22 h 22"/>
                  <a:gd name="T40" fmla="*/ 6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10 w 16"/>
                  <a:gd name="T53" fmla="*/ 0 h 22"/>
                  <a:gd name="T54" fmla="*/ 10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6"/>
                    </a:lnTo>
                    <a:lnTo>
                      <a:pt x="2" y="6"/>
                    </a:lnTo>
                    <a:lnTo>
                      <a:pt x="0" y="10"/>
                    </a:lnTo>
                    <a:lnTo>
                      <a:pt x="0" y="10"/>
                    </a:lnTo>
                    <a:lnTo>
                      <a:pt x="2" y="14"/>
                    </a:lnTo>
                    <a:lnTo>
                      <a:pt x="6" y="18"/>
                    </a:lnTo>
                    <a:lnTo>
                      <a:pt x="10" y="22"/>
                    </a:lnTo>
                    <a:lnTo>
                      <a:pt x="14" y="22"/>
                    </a:lnTo>
                    <a:lnTo>
                      <a:pt x="14" y="22"/>
                    </a:lnTo>
                    <a:lnTo>
                      <a:pt x="16" y="22"/>
                    </a:lnTo>
                    <a:lnTo>
                      <a:pt x="16" y="22"/>
                    </a:lnTo>
                    <a:lnTo>
                      <a:pt x="16" y="22"/>
                    </a:lnTo>
                    <a:lnTo>
                      <a:pt x="16" y="22"/>
                    </a:lnTo>
                    <a:lnTo>
                      <a:pt x="16" y="22"/>
                    </a:lnTo>
                    <a:lnTo>
                      <a:pt x="16" y="22"/>
                    </a:lnTo>
                    <a:lnTo>
                      <a:pt x="14" y="22"/>
                    </a:lnTo>
                    <a:lnTo>
                      <a:pt x="14" y="22"/>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4" name="Freeform 1934"/>
              <p:cNvSpPr>
                <a:spLocks/>
              </p:cNvSpPr>
              <p:nvPr/>
            </p:nvSpPr>
            <p:spPr bwMode="auto">
              <a:xfrm>
                <a:off x="6814" y="704"/>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4 h 26"/>
                  <a:gd name="T30" fmla="*/ 18 w 18"/>
                  <a:gd name="T31" fmla="*/ 24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5" name="Freeform 1935"/>
              <p:cNvSpPr>
                <a:spLocks/>
              </p:cNvSpPr>
              <p:nvPr/>
            </p:nvSpPr>
            <p:spPr bwMode="auto">
              <a:xfrm>
                <a:off x="6814" y="704"/>
                <a:ext cx="18" cy="26"/>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8 w 18"/>
                  <a:gd name="T13" fmla="*/ 26 h 26"/>
                  <a:gd name="T14" fmla="*/ 8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4 h 26"/>
                  <a:gd name="T30" fmla="*/ 18 w 18"/>
                  <a:gd name="T31" fmla="*/ 24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8" y="26"/>
                    </a:lnTo>
                    <a:lnTo>
                      <a:pt x="8" y="26"/>
                    </a:lnTo>
                    <a:lnTo>
                      <a:pt x="10" y="26"/>
                    </a:lnTo>
                    <a:lnTo>
                      <a:pt x="10" y="26"/>
                    </a:lnTo>
                    <a:lnTo>
                      <a:pt x="10" y="26"/>
                    </a:lnTo>
                    <a:lnTo>
                      <a:pt x="10"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6" name="Freeform 1936"/>
              <p:cNvSpPr>
                <a:spLocks noEditPoints="1"/>
              </p:cNvSpPr>
              <p:nvPr/>
            </p:nvSpPr>
            <p:spPr bwMode="auto">
              <a:xfrm>
                <a:off x="6814" y="704"/>
                <a:ext cx="18" cy="26"/>
              </a:xfrm>
              <a:custGeom>
                <a:avLst/>
                <a:gdLst>
                  <a:gd name="T0" fmla="*/ 4 w 18"/>
                  <a:gd name="T1" fmla="*/ 20 h 26"/>
                  <a:gd name="T2" fmla="*/ 4 w 18"/>
                  <a:gd name="T3" fmla="*/ 20 h 26"/>
                  <a:gd name="T4" fmla="*/ 0 w 18"/>
                  <a:gd name="T5" fmla="*/ 26 h 26"/>
                  <a:gd name="T6" fmla="*/ 0 w 18"/>
                  <a:gd name="T7" fmla="*/ 26 h 26"/>
                  <a:gd name="T8" fmla="*/ 8 w 18"/>
                  <a:gd name="T9" fmla="*/ 26 h 26"/>
                  <a:gd name="T10" fmla="*/ 8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4 h 26"/>
                  <a:gd name="T32" fmla="*/ 18 w 18"/>
                  <a:gd name="T33" fmla="*/ 24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4 h 26"/>
                  <a:gd name="T56" fmla="*/ 18 w 18"/>
                  <a:gd name="T57" fmla="*/ 24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8" y="26"/>
                    </a:lnTo>
                    <a:lnTo>
                      <a:pt x="8" y="26"/>
                    </a:lnTo>
                    <a:lnTo>
                      <a:pt x="0" y="26"/>
                    </a:lnTo>
                    <a:lnTo>
                      <a:pt x="0" y="26"/>
                    </a:lnTo>
                    <a:lnTo>
                      <a:pt x="4" y="20"/>
                    </a:lnTo>
                    <a:close/>
                    <a:moveTo>
                      <a:pt x="14" y="0"/>
                    </a:move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7" name="Freeform 1937"/>
              <p:cNvSpPr>
                <a:spLocks/>
              </p:cNvSpPr>
              <p:nvPr/>
            </p:nvSpPr>
            <p:spPr bwMode="auto">
              <a:xfrm>
                <a:off x="6814" y="724"/>
                <a:ext cx="8" cy="6"/>
              </a:xfrm>
              <a:custGeom>
                <a:avLst/>
                <a:gdLst>
                  <a:gd name="T0" fmla="*/ 4 w 8"/>
                  <a:gd name="T1" fmla="*/ 0 h 6"/>
                  <a:gd name="T2" fmla="*/ 4 w 8"/>
                  <a:gd name="T3" fmla="*/ 0 h 6"/>
                  <a:gd name="T4" fmla="*/ 0 w 8"/>
                  <a:gd name="T5" fmla="*/ 6 h 6"/>
                  <a:gd name="T6" fmla="*/ 0 w 8"/>
                  <a:gd name="T7" fmla="*/ 6 h 6"/>
                  <a:gd name="T8" fmla="*/ 8 w 8"/>
                  <a:gd name="T9" fmla="*/ 6 h 6"/>
                  <a:gd name="T10" fmla="*/ 8 w 8"/>
                  <a:gd name="T11" fmla="*/ 6 h 6"/>
                  <a:gd name="T12" fmla="*/ 0 w 8"/>
                  <a:gd name="T13" fmla="*/ 6 h 6"/>
                  <a:gd name="T14" fmla="*/ 0 w 8"/>
                  <a:gd name="T15" fmla="*/ 6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4" y="0"/>
                    </a:lnTo>
                    <a:lnTo>
                      <a:pt x="0" y="6"/>
                    </a:lnTo>
                    <a:lnTo>
                      <a:pt x="0" y="6"/>
                    </a:lnTo>
                    <a:lnTo>
                      <a:pt x="8" y="6"/>
                    </a:lnTo>
                    <a:lnTo>
                      <a:pt x="8"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8" name="Freeform 1938"/>
              <p:cNvSpPr>
                <a:spLocks/>
              </p:cNvSpPr>
              <p:nvPr/>
            </p:nvSpPr>
            <p:spPr bwMode="auto">
              <a:xfrm>
                <a:off x="6824" y="704"/>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4 h 26"/>
                  <a:gd name="T14" fmla="*/ 8 w 8"/>
                  <a:gd name="T15" fmla="*/ 24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4 h 26"/>
                  <a:gd name="T38" fmla="*/ 8 w 8"/>
                  <a:gd name="T39" fmla="*/ 24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4"/>
                    </a:lnTo>
                    <a:lnTo>
                      <a:pt x="8" y="24"/>
                    </a:lnTo>
                    <a:lnTo>
                      <a:pt x="6" y="26"/>
                    </a:lnTo>
                    <a:lnTo>
                      <a:pt x="6" y="26"/>
                    </a:lnTo>
                    <a:lnTo>
                      <a:pt x="0" y="26"/>
                    </a:lnTo>
                    <a:lnTo>
                      <a:pt x="0" y="26"/>
                    </a:lnTo>
                    <a:lnTo>
                      <a:pt x="0" y="26"/>
                    </a:lnTo>
                    <a:lnTo>
                      <a:pt x="0" y="26"/>
                    </a:lnTo>
                    <a:lnTo>
                      <a:pt x="0" y="26"/>
                    </a:lnTo>
                    <a:lnTo>
                      <a:pt x="0" y="26"/>
                    </a:lnTo>
                    <a:lnTo>
                      <a:pt x="6" y="26"/>
                    </a:lnTo>
                    <a:lnTo>
                      <a:pt x="6" y="26"/>
                    </a:lnTo>
                    <a:lnTo>
                      <a:pt x="8" y="24"/>
                    </a:lnTo>
                    <a:lnTo>
                      <a:pt x="8"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19" name="Freeform 1939"/>
              <p:cNvSpPr>
                <a:spLocks/>
              </p:cNvSpPr>
              <p:nvPr/>
            </p:nvSpPr>
            <p:spPr bwMode="auto">
              <a:xfrm>
                <a:off x="6714"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6"/>
                    </a:lnTo>
                    <a:lnTo>
                      <a:pt x="0" y="6"/>
                    </a:lnTo>
                    <a:lnTo>
                      <a:pt x="0" y="8"/>
                    </a:lnTo>
                    <a:lnTo>
                      <a:pt x="0" y="12"/>
                    </a:lnTo>
                    <a:lnTo>
                      <a:pt x="2" y="16"/>
                    </a:lnTo>
                    <a:lnTo>
                      <a:pt x="4" y="20"/>
                    </a:lnTo>
                    <a:lnTo>
                      <a:pt x="4" y="20"/>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0" name="Freeform 1940"/>
              <p:cNvSpPr>
                <a:spLocks/>
              </p:cNvSpPr>
              <p:nvPr/>
            </p:nvSpPr>
            <p:spPr bwMode="auto">
              <a:xfrm>
                <a:off x="6714" y="650"/>
                <a:ext cx="12" cy="2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8 h 20"/>
                  <a:gd name="T14" fmla="*/ 0 w 12"/>
                  <a:gd name="T15" fmla="*/ 12 h 20"/>
                  <a:gd name="T16" fmla="*/ 2 w 12"/>
                  <a:gd name="T17" fmla="*/ 16 h 20"/>
                  <a:gd name="T18" fmla="*/ 4 w 12"/>
                  <a:gd name="T19" fmla="*/ 20 h 20"/>
                  <a:gd name="T20" fmla="*/ 4 w 12"/>
                  <a:gd name="T21" fmla="*/ 20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6 h 20"/>
                  <a:gd name="T46" fmla="*/ 4 w 12"/>
                  <a:gd name="T47" fmla="*/ 16 h 20"/>
                  <a:gd name="T48" fmla="*/ 2 w 12"/>
                  <a:gd name="T49" fmla="*/ 12 h 20"/>
                  <a:gd name="T50" fmla="*/ 2 w 12"/>
                  <a:gd name="T51" fmla="*/ 12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6"/>
                    </a:lnTo>
                    <a:lnTo>
                      <a:pt x="0" y="6"/>
                    </a:lnTo>
                    <a:lnTo>
                      <a:pt x="0" y="8"/>
                    </a:lnTo>
                    <a:lnTo>
                      <a:pt x="0" y="12"/>
                    </a:lnTo>
                    <a:lnTo>
                      <a:pt x="2" y="16"/>
                    </a:lnTo>
                    <a:lnTo>
                      <a:pt x="4" y="20"/>
                    </a:lnTo>
                    <a:lnTo>
                      <a:pt x="4" y="20"/>
                    </a:lnTo>
                    <a:lnTo>
                      <a:pt x="6" y="20"/>
                    </a:lnTo>
                    <a:lnTo>
                      <a:pt x="6" y="20"/>
                    </a:lnTo>
                    <a:lnTo>
                      <a:pt x="8" y="20"/>
                    </a:lnTo>
                    <a:lnTo>
                      <a:pt x="8" y="20"/>
                    </a:lnTo>
                    <a:lnTo>
                      <a:pt x="10" y="18"/>
                    </a:lnTo>
                    <a:lnTo>
                      <a:pt x="12" y="14"/>
                    </a:lnTo>
                    <a:lnTo>
                      <a:pt x="12" y="14"/>
                    </a:lnTo>
                    <a:lnTo>
                      <a:pt x="8" y="16"/>
                    </a:lnTo>
                    <a:lnTo>
                      <a:pt x="8" y="16"/>
                    </a:lnTo>
                    <a:lnTo>
                      <a:pt x="8" y="16"/>
                    </a:lnTo>
                    <a:lnTo>
                      <a:pt x="8"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1" name="Freeform 1941"/>
              <p:cNvSpPr>
                <a:spLocks noEditPoints="1"/>
              </p:cNvSpPr>
              <p:nvPr/>
            </p:nvSpPr>
            <p:spPr bwMode="auto">
              <a:xfrm>
                <a:off x="6712" y="650"/>
                <a:ext cx="14" cy="2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6 h 20"/>
                  <a:gd name="T24" fmla="*/ 2 w 14"/>
                  <a:gd name="T25" fmla="*/ 6 h 20"/>
                  <a:gd name="T26" fmla="*/ 0 w 14"/>
                  <a:gd name="T27" fmla="*/ 8 h 20"/>
                  <a:gd name="T28" fmla="*/ 2 w 14"/>
                  <a:gd name="T29" fmla="*/ 12 h 20"/>
                  <a:gd name="T30" fmla="*/ 4 w 14"/>
                  <a:gd name="T31" fmla="*/ 16 h 20"/>
                  <a:gd name="T32" fmla="*/ 6 w 14"/>
                  <a:gd name="T33" fmla="*/ 20 h 20"/>
                  <a:gd name="T34" fmla="*/ 6 w 14"/>
                  <a:gd name="T35" fmla="*/ 20 h 20"/>
                  <a:gd name="T36" fmla="*/ 8 w 14"/>
                  <a:gd name="T37" fmla="*/ 20 h 20"/>
                  <a:gd name="T38" fmla="*/ 8 w 14"/>
                  <a:gd name="T39" fmla="*/ 20 h 20"/>
                  <a:gd name="T40" fmla="*/ 10 w 14"/>
                  <a:gd name="T41" fmla="*/ 20 h 20"/>
                  <a:gd name="T42" fmla="*/ 10 w 14"/>
                  <a:gd name="T43" fmla="*/ 20 h 20"/>
                  <a:gd name="T44" fmla="*/ 8 w 14"/>
                  <a:gd name="T45" fmla="*/ 20 h 20"/>
                  <a:gd name="T46" fmla="*/ 8 w 14"/>
                  <a:gd name="T47" fmla="*/ 20 h 20"/>
                  <a:gd name="T48" fmla="*/ 6 w 14"/>
                  <a:gd name="T49" fmla="*/ 20 h 20"/>
                  <a:gd name="T50" fmla="*/ 6 w 14"/>
                  <a:gd name="T51" fmla="*/ 20 h 20"/>
                  <a:gd name="T52" fmla="*/ 4 w 14"/>
                  <a:gd name="T53" fmla="*/ 16 h 20"/>
                  <a:gd name="T54" fmla="*/ 2 w 14"/>
                  <a:gd name="T55" fmla="*/ 12 h 20"/>
                  <a:gd name="T56" fmla="*/ 2 w 14"/>
                  <a:gd name="T57" fmla="*/ 8 h 20"/>
                  <a:gd name="T58" fmla="*/ 2 w 14"/>
                  <a:gd name="T59" fmla="*/ 6 h 20"/>
                  <a:gd name="T60" fmla="*/ 2 w 14"/>
                  <a:gd name="T61" fmla="*/ 6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6"/>
                    </a:lnTo>
                    <a:lnTo>
                      <a:pt x="2" y="6"/>
                    </a:lnTo>
                    <a:lnTo>
                      <a:pt x="0" y="8"/>
                    </a:lnTo>
                    <a:lnTo>
                      <a:pt x="2" y="12"/>
                    </a:lnTo>
                    <a:lnTo>
                      <a:pt x="4" y="16"/>
                    </a:lnTo>
                    <a:lnTo>
                      <a:pt x="6" y="20"/>
                    </a:lnTo>
                    <a:lnTo>
                      <a:pt x="6" y="20"/>
                    </a:lnTo>
                    <a:lnTo>
                      <a:pt x="8" y="20"/>
                    </a:lnTo>
                    <a:lnTo>
                      <a:pt x="8" y="20"/>
                    </a:lnTo>
                    <a:lnTo>
                      <a:pt x="10" y="20"/>
                    </a:lnTo>
                    <a:lnTo>
                      <a:pt x="10" y="20"/>
                    </a:lnTo>
                    <a:lnTo>
                      <a:pt x="8" y="20"/>
                    </a:lnTo>
                    <a:lnTo>
                      <a:pt x="8" y="20"/>
                    </a:lnTo>
                    <a:lnTo>
                      <a:pt x="6" y="20"/>
                    </a:lnTo>
                    <a:lnTo>
                      <a:pt x="6" y="20"/>
                    </a:lnTo>
                    <a:lnTo>
                      <a:pt x="4" y="16"/>
                    </a:lnTo>
                    <a:lnTo>
                      <a:pt x="2" y="12"/>
                    </a:lnTo>
                    <a:lnTo>
                      <a:pt x="2" y="8"/>
                    </a:lnTo>
                    <a:lnTo>
                      <a:pt x="2" y="6"/>
                    </a:lnTo>
                    <a:lnTo>
                      <a:pt x="2" y="6"/>
                    </a:lnTo>
                    <a:lnTo>
                      <a:pt x="8" y="0"/>
                    </a:lnTo>
                    <a:lnTo>
                      <a:pt x="8"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2" name="Freeform 1942"/>
              <p:cNvSpPr>
                <a:spLocks/>
              </p:cNvSpPr>
              <p:nvPr/>
            </p:nvSpPr>
            <p:spPr bwMode="auto">
              <a:xfrm>
                <a:off x="6722" y="664"/>
                <a:ext cx="4" cy="2"/>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3" name="Freeform 1943"/>
              <p:cNvSpPr>
                <a:spLocks/>
              </p:cNvSpPr>
              <p:nvPr/>
            </p:nvSpPr>
            <p:spPr bwMode="auto">
              <a:xfrm>
                <a:off x="6712" y="650"/>
                <a:ext cx="10" cy="20"/>
              </a:xfrm>
              <a:custGeom>
                <a:avLst/>
                <a:gdLst>
                  <a:gd name="T0" fmla="*/ 8 w 10"/>
                  <a:gd name="T1" fmla="*/ 0 h 20"/>
                  <a:gd name="T2" fmla="*/ 8 w 10"/>
                  <a:gd name="T3" fmla="*/ 0 h 20"/>
                  <a:gd name="T4" fmla="*/ 6 w 10"/>
                  <a:gd name="T5" fmla="*/ 0 h 20"/>
                  <a:gd name="T6" fmla="*/ 6 w 10"/>
                  <a:gd name="T7" fmla="*/ 0 h 20"/>
                  <a:gd name="T8" fmla="*/ 2 w 10"/>
                  <a:gd name="T9" fmla="*/ 6 h 20"/>
                  <a:gd name="T10" fmla="*/ 2 w 10"/>
                  <a:gd name="T11" fmla="*/ 6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20 h 20"/>
                  <a:gd name="T36" fmla="*/ 6 w 10"/>
                  <a:gd name="T37" fmla="*/ 20 h 20"/>
                  <a:gd name="T38" fmla="*/ 4 w 10"/>
                  <a:gd name="T39" fmla="*/ 16 h 20"/>
                  <a:gd name="T40" fmla="*/ 2 w 10"/>
                  <a:gd name="T41" fmla="*/ 12 h 20"/>
                  <a:gd name="T42" fmla="*/ 2 w 10"/>
                  <a:gd name="T43" fmla="*/ 8 h 20"/>
                  <a:gd name="T44" fmla="*/ 2 w 10"/>
                  <a:gd name="T45" fmla="*/ 6 h 20"/>
                  <a:gd name="T46" fmla="*/ 2 w 10"/>
                  <a:gd name="T47" fmla="*/ 6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6"/>
                    </a:lnTo>
                    <a:lnTo>
                      <a:pt x="2" y="6"/>
                    </a:lnTo>
                    <a:lnTo>
                      <a:pt x="0" y="8"/>
                    </a:lnTo>
                    <a:lnTo>
                      <a:pt x="2" y="12"/>
                    </a:lnTo>
                    <a:lnTo>
                      <a:pt x="4" y="16"/>
                    </a:lnTo>
                    <a:lnTo>
                      <a:pt x="6" y="20"/>
                    </a:lnTo>
                    <a:lnTo>
                      <a:pt x="6" y="20"/>
                    </a:lnTo>
                    <a:lnTo>
                      <a:pt x="8" y="20"/>
                    </a:lnTo>
                    <a:lnTo>
                      <a:pt x="8" y="20"/>
                    </a:lnTo>
                    <a:lnTo>
                      <a:pt x="10" y="20"/>
                    </a:lnTo>
                    <a:lnTo>
                      <a:pt x="10" y="20"/>
                    </a:lnTo>
                    <a:lnTo>
                      <a:pt x="8" y="20"/>
                    </a:lnTo>
                    <a:lnTo>
                      <a:pt x="8" y="20"/>
                    </a:lnTo>
                    <a:lnTo>
                      <a:pt x="6" y="20"/>
                    </a:lnTo>
                    <a:lnTo>
                      <a:pt x="6" y="20"/>
                    </a:lnTo>
                    <a:lnTo>
                      <a:pt x="4" y="16"/>
                    </a:lnTo>
                    <a:lnTo>
                      <a:pt x="2" y="12"/>
                    </a:lnTo>
                    <a:lnTo>
                      <a:pt x="2" y="8"/>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4" name="Freeform 1944"/>
              <p:cNvSpPr>
                <a:spLocks noEditPoints="1"/>
              </p:cNvSpPr>
              <p:nvPr/>
            </p:nvSpPr>
            <p:spPr bwMode="auto">
              <a:xfrm>
                <a:off x="6826" y="640"/>
                <a:ext cx="20" cy="12"/>
              </a:xfrm>
              <a:custGeom>
                <a:avLst/>
                <a:gdLst>
                  <a:gd name="T0" fmla="*/ 8 w 20"/>
                  <a:gd name="T1" fmla="*/ 6 h 12"/>
                  <a:gd name="T2" fmla="*/ 8 w 20"/>
                  <a:gd name="T3" fmla="*/ 6 h 12"/>
                  <a:gd name="T4" fmla="*/ 10 w 20"/>
                  <a:gd name="T5" fmla="*/ 6 h 12"/>
                  <a:gd name="T6" fmla="*/ 10 w 20"/>
                  <a:gd name="T7" fmla="*/ 6 h 12"/>
                  <a:gd name="T8" fmla="*/ 14 w 20"/>
                  <a:gd name="T9" fmla="*/ 8 h 12"/>
                  <a:gd name="T10" fmla="*/ 14 w 20"/>
                  <a:gd name="T11" fmla="*/ 8 h 12"/>
                  <a:gd name="T12" fmla="*/ 8 w 20"/>
                  <a:gd name="T13" fmla="*/ 10 h 12"/>
                  <a:gd name="T14" fmla="*/ 8 w 20"/>
                  <a:gd name="T15" fmla="*/ 10 h 12"/>
                  <a:gd name="T16" fmla="*/ 8 w 20"/>
                  <a:gd name="T17" fmla="*/ 10 h 12"/>
                  <a:gd name="T18" fmla="*/ 8 w 20"/>
                  <a:gd name="T19" fmla="*/ 10 h 12"/>
                  <a:gd name="T20" fmla="*/ 8 w 20"/>
                  <a:gd name="T21" fmla="*/ 10 h 12"/>
                  <a:gd name="T22" fmla="*/ 8 w 20"/>
                  <a:gd name="T23" fmla="*/ 10 h 12"/>
                  <a:gd name="T24" fmla="*/ 6 w 20"/>
                  <a:gd name="T25" fmla="*/ 8 h 12"/>
                  <a:gd name="T26" fmla="*/ 6 w 20"/>
                  <a:gd name="T27" fmla="*/ 8 h 12"/>
                  <a:gd name="T28" fmla="*/ 8 w 20"/>
                  <a:gd name="T29" fmla="*/ 6 h 12"/>
                  <a:gd name="T30" fmla="*/ 8 w 20"/>
                  <a:gd name="T31" fmla="*/ 6 h 12"/>
                  <a:gd name="T32" fmla="*/ 8 w 20"/>
                  <a:gd name="T33" fmla="*/ 6 h 12"/>
                  <a:gd name="T34" fmla="*/ 14 w 20"/>
                  <a:gd name="T35" fmla="*/ 0 h 12"/>
                  <a:gd name="T36" fmla="*/ 14 w 20"/>
                  <a:gd name="T37" fmla="*/ 0 h 12"/>
                  <a:gd name="T38" fmla="*/ 8 w 20"/>
                  <a:gd name="T39" fmla="*/ 2 h 12"/>
                  <a:gd name="T40" fmla="*/ 0 w 20"/>
                  <a:gd name="T41" fmla="*/ 8 h 12"/>
                  <a:gd name="T42" fmla="*/ 0 w 20"/>
                  <a:gd name="T43" fmla="*/ 8 h 12"/>
                  <a:gd name="T44" fmla="*/ 4 w 20"/>
                  <a:gd name="T45" fmla="*/ 8 h 12"/>
                  <a:gd name="T46" fmla="*/ 4 w 20"/>
                  <a:gd name="T47" fmla="*/ 8 h 12"/>
                  <a:gd name="T48" fmla="*/ 8 w 20"/>
                  <a:gd name="T49" fmla="*/ 12 h 12"/>
                  <a:gd name="T50" fmla="*/ 8 w 20"/>
                  <a:gd name="T51" fmla="*/ 12 h 12"/>
                  <a:gd name="T52" fmla="*/ 20 w 20"/>
                  <a:gd name="T53" fmla="*/ 6 h 12"/>
                  <a:gd name="T54" fmla="*/ 20 w 20"/>
                  <a:gd name="T55" fmla="*/ 6 h 12"/>
                  <a:gd name="T56" fmla="*/ 16 w 20"/>
                  <a:gd name="T57" fmla="*/ 4 h 12"/>
                  <a:gd name="T58" fmla="*/ 14 w 20"/>
                  <a:gd name="T5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2">
                    <a:moveTo>
                      <a:pt x="8" y="6"/>
                    </a:moveTo>
                    <a:lnTo>
                      <a:pt x="8" y="6"/>
                    </a:lnTo>
                    <a:lnTo>
                      <a:pt x="10" y="6"/>
                    </a:lnTo>
                    <a:lnTo>
                      <a:pt x="10" y="6"/>
                    </a:lnTo>
                    <a:lnTo>
                      <a:pt x="14" y="8"/>
                    </a:lnTo>
                    <a:lnTo>
                      <a:pt x="14" y="8"/>
                    </a:lnTo>
                    <a:lnTo>
                      <a:pt x="8" y="10"/>
                    </a:lnTo>
                    <a:lnTo>
                      <a:pt x="8" y="10"/>
                    </a:lnTo>
                    <a:lnTo>
                      <a:pt x="8" y="10"/>
                    </a:lnTo>
                    <a:lnTo>
                      <a:pt x="8" y="10"/>
                    </a:lnTo>
                    <a:lnTo>
                      <a:pt x="8" y="10"/>
                    </a:lnTo>
                    <a:lnTo>
                      <a:pt x="8" y="10"/>
                    </a:lnTo>
                    <a:lnTo>
                      <a:pt x="6" y="8"/>
                    </a:lnTo>
                    <a:lnTo>
                      <a:pt x="6" y="8"/>
                    </a:lnTo>
                    <a:lnTo>
                      <a:pt x="8" y="6"/>
                    </a:lnTo>
                    <a:lnTo>
                      <a:pt x="8" y="6"/>
                    </a:lnTo>
                    <a:lnTo>
                      <a:pt x="8" y="6"/>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5" name="Freeform 1945"/>
              <p:cNvSpPr>
                <a:spLocks/>
              </p:cNvSpPr>
              <p:nvPr/>
            </p:nvSpPr>
            <p:spPr bwMode="auto">
              <a:xfrm>
                <a:off x="6832" y="646"/>
                <a:ext cx="8" cy="4"/>
              </a:xfrm>
              <a:custGeom>
                <a:avLst/>
                <a:gdLst>
                  <a:gd name="T0" fmla="*/ 2 w 8"/>
                  <a:gd name="T1" fmla="*/ 0 h 4"/>
                  <a:gd name="T2" fmla="*/ 2 w 8"/>
                  <a:gd name="T3" fmla="*/ 0 h 4"/>
                  <a:gd name="T4" fmla="*/ 4 w 8"/>
                  <a:gd name="T5" fmla="*/ 0 h 4"/>
                  <a:gd name="T6" fmla="*/ 4 w 8"/>
                  <a:gd name="T7" fmla="*/ 0 h 4"/>
                  <a:gd name="T8" fmla="*/ 8 w 8"/>
                  <a:gd name="T9" fmla="*/ 2 h 4"/>
                  <a:gd name="T10" fmla="*/ 8 w 8"/>
                  <a:gd name="T11" fmla="*/ 2 h 4"/>
                  <a:gd name="T12" fmla="*/ 2 w 8"/>
                  <a:gd name="T13" fmla="*/ 4 h 4"/>
                  <a:gd name="T14" fmla="*/ 2 w 8"/>
                  <a:gd name="T15" fmla="*/ 4 h 4"/>
                  <a:gd name="T16" fmla="*/ 2 w 8"/>
                  <a:gd name="T17" fmla="*/ 4 h 4"/>
                  <a:gd name="T18" fmla="*/ 2 w 8"/>
                  <a:gd name="T19" fmla="*/ 4 h 4"/>
                  <a:gd name="T20" fmla="*/ 2 w 8"/>
                  <a:gd name="T21" fmla="*/ 4 h 4"/>
                  <a:gd name="T22" fmla="*/ 2 w 8"/>
                  <a:gd name="T23" fmla="*/ 4 h 4"/>
                  <a:gd name="T24" fmla="*/ 0 w 8"/>
                  <a:gd name="T25" fmla="*/ 2 h 4"/>
                  <a:gd name="T26" fmla="*/ 0 w 8"/>
                  <a:gd name="T27" fmla="*/ 2 h 4"/>
                  <a:gd name="T28" fmla="*/ 2 w 8"/>
                  <a:gd name="T29" fmla="*/ 0 h 4"/>
                  <a:gd name="T30" fmla="*/ 2 w 8"/>
                  <a:gd name="T31" fmla="*/ 0 h 4"/>
                  <a:gd name="T32" fmla="*/ 2 w 8"/>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2" y="0"/>
                    </a:moveTo>
                    <a:lnTo>
                      <a:pt x="2" y="0"/>
                    </a:lnTo>
                    <a:lnTo>
                      <a:pt x="4" y="0"/>
                    </a:lnTo>
                    <a:lnTo>
                      <a:pt x="4" y="0"/>
                    </a:lnTo>
                    <a:lnTo>
                      <a:pt x="8" y="2"/>
                    </a:lnTo>
                    <a:lnTo>
                      <a:pt x="8"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6" name="Freeform 1946"/>
              <p:cNvSpPr>
                <a:spLocks/>
              </p:cNvSpPr>
              <p:nvPr/>
            </p:nvSpPr>
            <p:spPr bwMode="auto">
              <a:xfrm>
                <a:off x="6826" y="640"/>
                <a:ext cx="20" cy="12"/>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7" name="Freeform 1947"/>
              <p:cNvSpPr>
                <a:spLocks/>
              </p:cNvSpPr>
              <p:nvPr/>
            </p:nvSpPr>
            <p:spPr bwMode="auto">
              <a:xfrm>
                <a:off x="6780" y="628"/>
                <a:ext cx="22" cy="20"/>
              </a:xfrm>
              <a:custGeom>
                <a:avLst/>
                <a:gdLst>
                  <a:gd name="T0" fmla="*/ 18 w 22"/>
                  <a:gd name="T1" fmla="*/ 0 h 20"/>
                  <a:gd name="T2" fmla="*/ 18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2 h 20"/>
                  <a:gd name="T30" fmla="*/ 22 w 22"/>
                  <a:gd name="T31" fmla="*/ 2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6"/>
                    </a:lnTo>
                    <a:lnTo>
                      <a:pt x="2" y="10"/>
                    </a:lnTo>
                    <a:lnTo>
                      <a:pt x="0" y="20"/>
                    </a:lnTo>
                    <a:lnTo>
                      <a:pt x="0" y="20"/>
                    </a:lnTo>
                    <a:lnTo>
                      <a:pt x="8" y="6"/>
                    </a:lnTo>
                    <a:lnTo>
                      <a:pt x="8" y="6"/>
                    </a:lnTo>
                    <a:lnTo>
                      <a:pt x="8" y="6"/>
                    </a:lnTo>
                    <a:lnTo>
                      <a:pt x="10" y="12"/>
                    </a:lnTo>
                    <a:lnTo>
                      <a:pt x="10" y="12"/>
                    </a:lnTo>
                    <a:lnTo>
                      <a:pt x="14" y="4"/>
                    </a:lnTo>
                    <a:lnTo>
                      <a:pt x="18" y="2"/>
                    </a:lnTo>
                    <a:lnTo>
                      <a:pt x="22" y="2"/>
                    </a:lnTo>
                    <a:lnTo>
                      <a:pt x="22" y="2"/>
                    </a:lnTo>
                    <a:lnTo>
                      <a:pt x="1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8" name="Freeform 1948"/>
              <p:cNvSpPr>
                <a:spLocks/>
              </p:cNvSpPr>
              <p:nvPr/>
            </p:nvSpPr>
            <p:spPr bwMode="auto">
              <a:xfrm>
                <a:off x="6780" y="628"/>
                <a:ext cx="22" cy="20"/>
              </a:xfrm>
              <a:custGeom>
                <a:avLst/>
                <a:gdLst>
                  <a:gd name="T0" fmla="*/ 18 w 22"/>
                  <a:gd name="T1" fmla="*/ 0 h 20"/>
                  <a:gd name="T2" fmla="*/ 18 w 22"/>
                  <a:gd name="T3" fmla="*/ 0 h 20"/>
                  <a:gd name="T4" fmla="*/ 10 w 22"/>
                  <a:gd name="T5" fmla="*/ 2 h 20"/>
                  <a:gd name="T6" fmla="*/ 6 w 22"/>
                  <a:gd name="T7" fmla="*/ 6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2 h 20"/>
                  <a:gd name="T30" fmla="*/ 22 w 22"/>
                  <a:gd name="T31" fmla="*/ 2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6"/>
                    </a:lnTo>
                    <a:lnTo>
                      <a:pt x="2" y="10"/>
                    </a:lnTo>
                    <a:lnTo>
                      <a:pt x="0" y="20"/>
                    </a:lnTo>
                    <a:lnTo>
                      <a:pt x="0" y="20"/>
                    </a:lnTo>
                    <a:lnTo>
                      <a:pt x="8" y="6"/>
                    </a:lnTo>
                    <a:lnTo>
                      <a:pt x="8" y="6"/>
                    </a:lnTo>
                    <a:lnTo>
                      <a:pt x="8" y="6"/>
                    </a:lnTo>
                    <a:lnTo>
                      <a:pt x="10" y="12"/>
                    </a:lnTo>
                    <a:lnTo>
                      <a:pt x="10" y="12"/>
                    </a:lnTo>
                    <a:lnTo>
                      <a:pt x="14" y="4"/>
                    </a:lnTo>
                    <a:lnTo>
                      <a:pt x="18" y="2"/>
                    </a:lnTo>
                    <a:lnTo>
                      <a:pt x="22" y="2"/>
                    </a:lnTo>
                    <a:lnTo>
                      <a:pt x="22" y="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29" name="Freeform 1949"/>
              <p:cNvSpPr>
                <a:spLocks/>
              </p:cNvSpPr>
              <p:nvPr/>
            </p:nvSpPr>
            <p:spPr bwMode="auto">
              <a:xfrm>
                <a:off x="6876" y="632"/>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0" name="Freeform 1950"/>
              <p:cNvSpPr>
                <a:spLocks/>
              </p:cNvSpPr>
              <p:nvPr/>
            </p:nvSpPr>
            <p:spPr bwMode="auto">
              <a:xfrm>
                <a:off x="6876" y="632"/>
                <a:ext cx="12" cy="8"/>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1" name="Freeform 1951"/>
              <p:cNvSpPr>
                <a:spLocks/>
              </p:cNvSpPr>
              <p:nvPr/>
            </p:nvSpPr>
            <p:spPr bwMode="auto">
              <a:xfrm>
                <a:off x="6822"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2" name="Freeform 1952"/>
              <p:cNvSpPr>
                <a:spLocks/>
              </p:cNvSpPr>
              <p:nvPr/>
            </p:nvSpPr>
            <p:spPr bwMode="auto">
              <a:xfrm>
                <a:off x="6822" y="628"/>
                <a:ext cx="6" cy="8"/>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3" name="Freeform 1953"/>
              <p:cNvSpPr>
                <a:spLocks/>
              </p:cNvSpPr>
              <p:nvPr/>
            </p:nvSpPr>
            <p:spPr bwMode="auto">
              <a:xfrm>
                <a:off x="6836" y="678"/>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4" name="Freeform 1954"/>
              <p:cNvSpPr>
                <a:spLocks/>
              </p:cNvSpPr>
              <p:nvPr/>
            </p:nvSpPr>
            <p:spPr bwMode="auto">
              <a:xfrm>
                <a:off x="6836" y="678"/>
                <a:ext cx="6" cy="4"/>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5" name="Freeform 1955"/>
              <p:cNvSpPr>
                <a:spLocks/>
              </p:cNvSpPr>
              <p:nvPr/>
            </p:nvSpPr>
            <p:spPr bwMode="auto">
              <a:xfrm>
                <a:off x="6832"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6" name="Freeform 1956"/>
              <p:cNvSpPr>
                <a:spLocks/>
              </p:cNvSpPr>
              <p:nvPr/>
            </p:nvSpPr>
            <p:spPr bwMode="auto">
              <a:xfrm>
                <a:off x="6832" y="646"/>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7" name="Freeform 1957"/>
              <p:cNvSpPr>
                <a:spLocks/>
              </p:cNvSpPr>
              <p:nvPr/>
            </p:nvSpPr>
            <p:spPr bwMode="auto">
              <a:xfrm>
                <a:off x="6834" y="646"/>
                <a:ext cx="6" cy="4"/>
              </a:xfrm>
              <a:custGeom>
                <a:avLst/>
                <a:gdLst>
                  <a:gd name="T0" fmla="*/ 2 w 6"/>
                  <a:gd name="T1" fmla="*/ 0 h 4"/>
                  <a:gd name="T2" fmla="*/ 2 w 6"/>
                  <a:gd name="T3" fmla="*/ 0 h 4"/>
                  <a:gd name="T4" fmla="*/ 0 w 6"/>
                  <a:gd name="T5" fmla="*/ 0 h 4"/>
                  <a:gd name="T6" fmla="*/ 0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0"/>
                    </a:lnTo>
                    <a:lnTo>
                      <a:pt x="0" y="0"/>
                    </a:lnTo>
                    <a:lnTo>
                      <a:pt x="4" y="2"/>
                    </a:lnTo>
                    <a:lnTo>
                      <a:pt x="4" y="2"/>
                    </a:lnTo>
                    <a:lnTo>
                      <a:pt x="0" y="4"/>
                    </a:lnTo>
                    <a:lnTo>
                      <a:pt x="0" y="4"/>
                    </a:lnTo>
                    <a:lnTo>
                      <a:pt x="0" y="4"/>
                    </a:lnTo>
                    <a:lnTo>
                      <a:pt x="0" y="4"/>
                    </a:lnTo>
                    <a:lnTo>
                      <a:pt x="6" y="2"/>
                    </a:lnTo>
                    <a:lnTo>
                      <a:pt x="6"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8" name="Freeform 1958"/>
              <p:cNvSpPr>
                <a:spLocks/>
              </p:cNvSpPr>
              <p:nvPr/>
            </p:nvSpPr>
            <p:spPr bwMode="auto">
              <a:xfrm>
                <a:off x="6834" y="646"/>
                <a:ext cx="6" cy="4"/>
              </a:xfrm>
              <a:custGeom>
                <a:avLst/>
                <a:gdLst>
                  <a:gd name="T0" fmla="*/ 2 w 6"/>
                  <a:gd name="T1" fmla="*/ 0 h 4"/>
                  <a:gd name="T2" fmla="*/ 2 w 6"/>
                  <a:gd name="T3" fmla="*/ 0 h 4"/>
                  <a:gd name="T4" fmla="*/ 0 w 6"/>
                  <a:gd name="T5" fmla="*/ 0 h 4"/>
                  <a:gd name="T6" fmla="*/ 0 w 6"/>
                  <a:gd name="T7" fmla="*/ 0 h 4"/>
                  <a:gd name="T8" fmla="*/ 4 w 6"/>
                  <a:gd name="T9" fmla="*/ 2 h 4"/>
                  <a:gd name="T10" fmla="*/ 4 w 6"/>
                  <a:gd name="T11" fmla="*/ 2 h 4"/>
                  <a:gd name="T12" fmla="*/ 0 w 6"/>
                  <a:gd name="T13" fmla="*/ 4 h 4"/>
                  <a:gd name="T14" fmla="*/ 0 w 6"/>
                  <a:gd name="T15" fmla="*/ 4 h 4"/>
                  <a:gd name="T16" fmla="*/ 0 w 6"/>
                  <a:gd name="T17" fmla="*/ 4 h 4"/>
                  <a:gd name="T18" fmla="*/ 0 w 6"/>
                  <a:gd name="T19" fmla="*/ 4 h 4"/>
                  <a:gd name="T20" fmla="*/ 6 w 6"/>
                  <a:gd name="T21" fmla="*/ 2 h 4"/>
                  <a:gd name="T22" fmla="*/ 6 w 6"/>
                  <a:gd name="T23" fmla="*/ 2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0"/>
                    </a:lnTo>
                    <a:lnTo>
                      <a:pt x="0" y="0"/>
                    </a:lnTo>
                    <a:lnTo>
                      <a:pt x="4" y="2"/>
                    </a:lnTo>
                    <a:lnTo>
                      <a:pt x="4" y="2"/>
                    </a:lnTo>
                    <a:lnTo>
                      <a:pt x="0" y="4"/>
                    </a:lnTo>
                    <a:lnTo>
                      <a:pt x="0" y="4"/>
                    </a:lnTo>
                    <a:lnTo>
                      <a:pt x="0" y="4"/>
                    </a:lnTo>
                    <a:lnTo>
                      <a:pt x="0"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39" name="Freeform 1959"/>
              <p:cNvSpPr>
                <a:spLocks/>
              </p:cNvSpPr>
              <p:nvPr/>
            </p:nvSpPr>
            <p:spPr bwMode="auto">
              <a:xfrm>
                <a:off x="590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0" name="Freeform 1960"/>
              <p:cNvSpPr>
                <a:spLocks/>
              </p:cNvSpPr>
              <p:nvPr/>
            </p:nvSpPr>
            <p:spPr bwMode="auto">
              <a:xfrm>
                <a:off x="5992"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1" name="Freeform 1961"/>
              <p:cNvSpPr>
                <a:spLocks/>
              </p:cNvSpPr>
              <p:nvPr/>
            </p:nvSpPr>
            <p:spPr bwMode="auto">
              <a:xfrm>
                <a:off x="6084"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2" name="Freeform 1962"/>
              <p:cNvSpPr>
                <a:spLocks/>
              </p:cNvSpPr>
              <p:nvPr/>
            </p:nvSpPr>
            <p:spPr bwMode="auto">
              <a:xfrm>
                <a:off x="6402"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3" name="Freeform 1963"/>
              <p:cNvSpPr>
                <a:spLocks/>
              </p:cNvSpPr>
              <p:nvPr/>
            </p:nvSpPr>
            <p:spPr bwMode="auto">
              <a:xfrm>
                <a:off x="6402" y="414"/>
                <a:ext cx="48" cy="146"/>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4" name="Freeform 1964"/>
              <p:cNvSpPr>
                <a:spLocks/>
              </p:cNvSpPr>
              <p:nvPr/>
            </p:nvSpPr>
            <p:spPr bwMode="auto">
              <a:xfrm>
                <a:off x="6464"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5" name="Freeform 1965"/>
              <p:cNvSpPr>
                <a:spLocks/>
              </p:cNvSpPr>
              <p:nvPr/>
            </p:nvSpPr>
            <p:spPr bwMode="auto">
              <a:xfrm>
                <a:off x="6464" y="414"/>
                <a:ext cx="46" cy="146"/>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6" name="Freeform 1966"/>
              <p:cNvSpPr>
                <a:spLocks/>
              </p:cNvSpPr>
              <p:nvPr/>
            </p:nvSpPr>
            <p:spPr bwMode="auto">
              <a:xfrm>
                <a:off x="6548" y="416"/>
                <a:ext cx="54" cy="144"/>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7" name="Freeform 1967"/>
              <p:cNvSpPr>
                <a:spLocks/>
              </p:cNvSpPr>
              <p:nvPr/>
            </p:nvSpPr>
            <p:spPr bwMode="auto">
              <a:xfrm>
                <a:off x="6640" y="416"/>
                <a:ext cx="52" cy="144"/>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8" name="Freeform 1968"/>
              <p:cNvSpPr>
                <a:spLocks/>
              </p:cNvSpPr>
              <p:nvPr/>
            </p:nvSpPr>
            <p:spPr bwMode="auto">
              <a:xfrm>
                <a:off x="6732" y="416"/>
                <a:ext cx="50" cy="144"/>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49" name="Freeform 1969"/>
              <p:cNvSpPr>
                <a:spLocks noEditPoints="1"/>
              </p:cNvSpPr>
              <p:nvPr/>
            </p:nvSpPr>
            <p:spPr bwMode="auto">
              <a:xfrm>
                <a:off x="6174" y="412"/>
                <a:ext cx="188" cy="146"/>
              </a:xfrm>
              <a:custGeom>
                <a:avLst/>
                <a:gdLst>
                  <a:gd name="T0" fmla="*/ 118 w 188"/>
                  <a:gd name="T1" fmla="*/ 104 h 146"/>
                  <a:gd name="T2" fmla="*/ 114 w 188"/>
                  <a:gd name="T3" fmla="*/ 130 h 146"/>
                  <a:gd name="T4" fmla="*/ 20 w 188"/>
                  <a:gd name="T5" fmla="*/ 122 h 146"/>
                  <a:gd name="T6" fmla="*/ 8 w 188"/>
                  <a:gd name="T7" fmla="*/ 104 h 146"/>
                  <a:gd name="T8" fmla="*/ 24 w 188"/>
                  <a:gd name="T9" fmla="*/ 118 h 146"/>
                  <a:gd name="T10" fmla="*/ 10 w 188"/>
                  <a:gd name="T11" fmla="*/ 50 h 146"/>
                  <a:gd name="T12" fmla="*/ 10 w 188"/>
                  <a:gd name="T13" fmla="*/ 50 h 146"/>
                  <a:gd name="T14" fmla="*/ 12 w 188"/>
                  <a:gd name="T15" fmla="*/ 66 h 146"/>
                  <a:gd name="T16" fmla="*/ 12 w 188"/>
                  <a:gd name="T17" fmla="*/ 70 h 146"/>
                  <a:gd name="T18" fmla="*/ 2 w 188"/>
                  <a:gd name="T19" fmla="*/ 58 h 146"/>
                  <a:gd name="T20" fmla="*/ 86 w 188"/>
                  <a:gd name="T21" fmla="*/ 16 h 146"/>
                  <a:gd name="T22" fmla="*/ 130 w 188"/>
                  <a:gd name="T23" fmla="*/ 8 h 146"/>
                  <a:gd name="T24" fmla="*/ 158 w 188"/>
                  <a:gd name="T25" fmla="*/ 32 h 146"/>
                  <a:gd name="T26" fmla="*/ 160 w 188"/>
                  <a:gd name="T27" fmla="*/ 44 h 146"/>
                  <a:gd name="T28" fmla="*/ 154 w 188"/>
                  <a:gd name="T29" fmla="*/ 44 h 146"/>
                  <a:gd name="T30" fmla="*/ 158 w 188"/>
                  <a:gd name="T31" fmla="*/ 46 h 146"/>
                  <a:gd name="T32" fmla="*/ 162 w 188"/>
                  <a:gd name="T33" fmla="*/ 42 h 146"/>
                  <a:gd name="T34" fmla="*/ 176 w 188"/>
                  <a:gd name="T35" fmla="*/ 28 h 146"/>
                  <a:gd name="T36" fmla="*/ 184 w 188"/>
                  <a:gd name="T37" fmla="*/ 70 h 146"/>
                  <a:gd name="T38" fmla="*/ 140 w 188"/>
                  <a:gd name="T39" fmla="*/ 86 h 146"/>
                  <a:gd name="T40" fmla="*/ 136 w 188"/>
                  <a:gd name="T41" fmla="*/ 100 h 146"/>
                  <a:gd name="T42" fmla="*/ 146 w 188"/>
                  <a:gd name="T43" fmla="*/ 90 h 146"/>
                  <a:gd name="T44" fmla="*/ 130 w 188"/>
                  <a:gd name="T45" fmla="*/ 102 h 146"/>
                  <a:gd name="T46" fmla="*/ 116 w 188"/>
                  <a:gd name="T47" fmla="*/ 96 h 146"/>
                  <a:gd name="T48" fmla="*/ 88 w 188"/>
                  <a:gd name="T49" fmla="*/ 140 h 146"/>
                  <a:gd name="T50" fmla="*/ 70 w 188"/>
                  <a:gd name="T51" fmla="*/ 128 h 146"/>
                  <a:gd name="T52" fmla="*/ 78 w 188"/>
                  <a:gd name="T53" fmla="*/ 114 h 146"/>
                  <a:gd name="T54" fmla="*/ 56 w 188"/>
                  <a:gd name="T55" fmla="*/ 116 h 146"/>
                  <a:gd name="T56" fmla="*/ 54 w 188"/>
                  <a:gd name="T57" fmla="*/ 122 h 146"/>
                  <a:gd name="T58" fmla="*/ 44 w 188"/>
                  <a:gd name="T59" fmla="*/ 140 h 146"/>
                  <a:gd name="T60" fmla="*/ 28 w 188"/>
                  <a:gd name="T61" fmla="*/ 122 h 146"/>
                  <a:gd name="T62" fmla="*/ 16 w 188"/>
                  <a:gd name="T63" fmla="*/ 78 h 146"/>
                  <a:gd name="T64" fmla="*/ 58 w 188"/>
                  <a:gd name="T65" fmla="*/ 34 h 146"/>
                  <a:gd name="T66" fmla="*/ 42 w 188"/>
                  <a:gd name="T67" fmla="*/ 64 h 146"/>
                  <a:gd name="T68" fmla="*/ 50 w 188"/>
                  <a:gd name="T69" fmla="*/ 90 h 146"/>
                  <a:gd name="T70" fmla="*/ 74 w 188"/>
                  <a:gd name="T71" fmla="*/ 96 h 146"/>
                  <a:gd name="T72" fmla="*/ 96 w 188"/>
                  <a:gd name="T73" fmla="*/ 58 h 146"/>
                  <a:gd name="T74" fmla="*/ 92 w 188"/>
                  <a:gd name="T75" fmla="*/ 84 h 146"/>
                  <a:gd name="T76" fmla="*/ 58 w 188"/>
                  <a:gd name="T77" fmla="*/ 94 h 146"/>
                  <a:gd name="T78" fmla="*/ 60 w 188"/>
                  <a:gd name="T79" fmla="*/ 68 h 146"/>
                  <a:gd name="T80" fmla="*/ 48 w 188"/>
                  <a:gd name="T81" fmla="*/ 56 h 146"/>
                  <a:gd name="T82" fmla="*/ 88 w 188"/>
                  <a:gd name="T83" fmla="*/ 22 h 146"/>
                  <a:gd name="T84" fmla="*/ 92 w 188"/>
                  <a:gd name="T85" fmla="*/ 8 h 146"/>
                  <a:gd name="T86" fmla="*/ 70 w 188"/>
                  <a:gd name="T87" fmla="*/ 24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2 w 188"/>
                  <a:gd name="T99" fmla="*/ 132 h 146"/>
                  <a:gd name="T100" fmla="*/ 46 w 188"/>
                  <a:gd name="T101" fmla="*/ 144 h 146"/>
                  <a:gd name="T102" fmla="*/ 58 w 188"/>
                  <a:gd name="T103" fmla="*/ 120 h 146"/>
                  <a:gd name="T104" fmla="*/ 74 w 188"/>
                  <a:gd name="T105" fmla="*/ 144 h 146"/>
                  <a:gd name="T106" fmla="*/ 98 w 188"/>
                  <a:gd name="T107" fmla="*/ 134 h 146"/>
                  <a:gd name="T108" fmla="*/ 124 w 188"/>
                  <a:gd name="T109" fmla="*/ 124 h 146"/>
                  <a:gd name="T110" fmla="*/ 120 w 188"/>
                  <a:gd name="T111" fmla="*/ 96 h 146"/>
                  <a:gd name="T112" fmla="*/ 144 w 188"/>
                  <a:gd name="T113" fmla="*/ 100 h 146"/>
                  <a:gd name="T114" fmla="*/ 158 w 188"/>
                  <a:gd name="T115" fmla="*/ 92 h 146"/>
                  <a:gd name="T116" fmla="*/ 188 w 188"/>
                  <a:gd name="T117" fmla="*/ 46 h 146"/>
                  <a:gd name="T118" fmla="*/ 174 w 188"/>
                  <a:gd name="T119" fmla="*/ 24 h 146"/>
                  <a:gd name="T120" fmla="*/ 160 w 188"/>
                  <a:gd name="T121" fmla="*/ 30 h 146"/>
                  <a:gd name="T122" fmla="*/ 114 w 188"/>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6" y="124"/>
                    </a:moveTo>
                    <a:lnTo>
                      <a:pt x="106" y="124"/>
                    </a:lnTo>
                    <a:lnTo>
                      <a:pt x="118" y="104"/>
                    </a:lnTo>
                    <a:lnTo>
                      <a:pt x="118" y="104"/>
                    </a:lnTo>
                    <a:lnTo>
                      <a:pt x="118" y="104"/>
                    </a:lnTo>
                    <a:lnTo>
                      <a:pt x="118" y="104"/>
                    </a:lnTo>
                    <a:lnTo>
                      <a:pt x="118" y="104"/>
                    </a:lnTo>
                    <a:lnTo>
                      <a:pt x="118" y="104"/>
                    </a:lnTo>
                    <a:lnTo>
                      <a:pt x="120" y="112"/>
                    </a:lnTo>
                    <a:lnTo>
                      <a:pt x="120" y="112"/>
                    </a:lnTo>
                    <a:lnTo>
                      <a:pt x="122" y="128"/>
                    </a:lnTo>
                    <a:lnTo>
                      <a:pt x="122" y="128"/>
                    </a:lnTo>
                    <a:lnTo>
                      <a:pt x="120" y="130"/>
                    </a:lnTo>
                    <a:lnTo>
                      <a:pt x="120" y="130"/>
                    </a:lnTo>
                    <a:lnTo>
                      <a:pt x="114" y="130"/>
                    </a:lnTo>
                    <a:lnTo>
                      <a:pt x="114" y="130"/>
                    </a:lnTo>
                    <a:lnTo>
                      <a:pt x="114" y="130"/>
                    </a:lnTo>
                    <a:lnTo>
                      <a:pt x="114" y="130"/>
                    </a:lnTo>
                    <a:lnTo>
                      <a:pt x="110" y="130"/>
                    </a:lnTo>
                    <a:lnTo>
                      <a:pt x="110" y="130"/>
                    </a:lnTo>
                    <a:lnTo>
                      <a:pt x="104" y="130"/>
                    </a:lnTo>
                    <a:lnTo>
                      <a:pt x="104" y="130"/>
                    </a:lnTo>
                    <a:lnTo>
                      <a:pt x="106" y="12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8" y="140"/>
                    </a:lnTo>
                    <a:lnTo>
                      <a:pt x="88" y="140"/>
                    </a:lnTo>
                    <a:lnTo>
                      <a:pt x="84" y="142"/>
                    </a:lnTo>
                    <a:lnTo>
                      <a:pt x="80" y="142"/>
                    </a:lnTo>
                    <a:lnTo>
                      <a:pt x="80" y="142"/>
                    </a:lnTo>
                    <a:lnTo>
                      <a:pt x="78" y="142"/>
                    </a:lnTo>
                    <a:lnTo>
                      <a:pt x="78"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8" y="116"/>
                    </a:lnTo>
                    <a:lnTo>
                      <a:pt x="68"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8" y="34"/>
                    </a:lnTo>
                    <a:lnTo>
                      <a:pt x="58"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0" name="Freeform 1970"/>
              <p:cNvSpPr>
                <a:spLocks/>
              </p:cNvSpPr>
              <p:nvPr/>
            </p:nvSpPr>
            <p:spPr bwMode="auto">
              <a:xfrm>
                <a:off x="6278" y="516"/>
                <a:ext cx="18" cy="26"/>
              </a:xfrm>
              <a:custGeom>
                <a:avLst/>
                <a:gdLst>
                  <a:gd name="T0" fmla="*/ 2 w 18"/>
                  <a:gd name="T1" fmla="*/ 20 h 26"/>
                  <a:gd name="T2" fmla="*/ 2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2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2" y="20"/>
                    </a:moveTo>
                    <a:lnTo>
                      <a:pt x="2" y="20"/>
                    </a:lnTo>
                    <a:lnTo>
                      <a:pt x="14" y="0"/>
                    </a:lnTo>
                    <a:lnTo>
                      <a:pt x="14" y="0"/>
                    </a:lnTo>
                    <a:lnTo>
                      <a:pt x="14" y="0"/>
                    </a:lnTo>
                    <a:lnTo>
                      <a:pt x="14" y="0"/>
                    </a:lnTo>
                    <a:lnTo>
                      <a:pt x="14" y="0"/>
                    </a:lnTo>
                    <a:lnTo>
                      <a:pt x="14" y="0"/>
                    </a:lnTo>
                    <a:lnTo>
                      <a:pt x="16" y="8"/>
                    </a:lnTo>
                    <a:lnTo>
                      <a:pt x="16" y="8"/>
                    </a:lnTo>
                    <a:lnTo>
                      <a:pt x="18" y="24"/>
                    </a:lnTo>
                    <a:lnTo>
                      <a:pt x="18" y="24"/>
                    </a:lnTo>
                    <a:lnTo>
                      <a:pt x="16" y="26"/>
                    </a:lnTo>
                    <a:lnTo>
                      <a:pt x="16" y="26"/>
                    </a:lnTo>
                    <a:lnTo>
                      <a:pt x="10" y="26"/>
                    </a:lnTo>
                    <a:lnTo>
                      <a:pt x="10" y="26"/>
                    </a:lnTo>
                    <a:lnTo>
                      <a:pt x="10" y="26"/>
                    </a:lnTo>
                    <a:lnTo>
                      <a:pt x="10" y="26"/>
                    </a:lnTo>
                    <a:lnTo>
                      <a:pt x="6" y="26"/>
                    </a:lnTo>
                    <a:lnTo>
                      <a:pt x="6" y="26"/>
                    </a:lnTo>
                    <a:lnTo>
                      <a:pt x="0" y="26"/>
                    </a:lnTo>
                    <a:lnTo>
                      <a:pt x="0" y="26"/>
                    </a:lnTo>
                    <a:lnTo>
                      <a:pt x="2"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1" name="Freeform 1971"/>
              <p:cNvSpPr>
                <a:spLocks/>
              </p:cNvSpPr>
              <p:nvPr/>
            </p:nvSpPr>
            <p:spPr bwMode="auto">
              <a:xfrm>
                <a:off x="6180" y="512"/>
                <a:ext cx="18" cy="22"/>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2" name="Freeform 1972"/>
              <p:cNvSpPr>
                <a:spLocks/>
              </p:cNvSpPr>
              <p:nvPr/>
            </p:nvSpPr>
            <p:spPr bwMode="auto">
              <a:xfrm>
                <a:off x="6176" y="462"/>
                <a:ext cx="12" cy="2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3" name="Freeform 1973"/>
              <p:cNvSpPr>
                <a:spLocks/>
              </p:cNvSpPr>
              <p:nvPr/>
            </p:nvSpPr>
            <p:spPr bwMode="auto">
              <a:xfrm>
                <a:off x="6190" y="416"/>
                <a:ext cx="170" cy="138"/>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2 w 170"/>
                  <a:gd name="T57" fmla="*/ 136 h 138"/>
                  <a:gd name="T58" fmla="*/ 62 w 170"/>
                  <a:gd name="T59" fmla="*/ 138 h 138"/>
                  <a:gd name="T60" fmla="*/ 52 w 170"/>
                  <a:gd name="T61" fmla="*/ 122 h 138"/>
                  <a:gd name="T62" fmla="*/ 64 w 170"/>
                  <a:gd name="T63" fmla="*/ 114 h 138"/>
                  <a:gd name="T64" fmla="*/ 60 w 170"/>
                  <a:gd name="T65" fmla="*/ 112 h 138"/>
                  <a:gd name="T66" fmla="*/ 52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2" y="136"/>
                    </a:lnTo>
                    <a:lnTo>
                      <a:pt x="72" y="136"/>
                    </a:lnTo>
                    <a:lnTo>
                      <a:pt x="68" y="138"/>
                    </a:lnTo>
                    <a:lnTo>
                      <a:pt x="64" y="138"/>
                    </a:lnTo>
                    <a:lnTo>
                      <a:pt x="64" y="138"/>
                    </a:lnTo>
                    <a:lnTo>
                      <a:pt x="62" y="138"/>
                    </a:lnTo>
                    <a:lnTo>
                      <a:pt x="62"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2" y="112"/>
                    </a:lnTo>
                    <a:lnTo>
                      <a:pt x="52"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4" name="Freeform 1974"/>
              <p:cNvSpPr>
                <a:spLocks/>
              </p:cNvSpPr>
              <p:nvPr/>
            </p:nvSpPr>
            <p:spPr bwMode="auto">
              <a:xfrm>
                <a:off x="6174" y="412"/>
                <a:ext cx="188" cy="146"/>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5" name="Freeform 1975"/>
              <p:cNvSpPr>
                <a:spLocks/>
              </p:cNvSpPr>
              <p:nvPr/>
            </p:nvSpPr>
            <p:spPr bwMode="auto">
              <a:xfrm>
                <a:off x="6180"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6" name="Freeform 1976"/>
              <p:cNvSpPr>
                <a:spLocks/>
              </p:cNvSpPr>
              <p:nvPr/>
            </p:nvSpPr>
            <p:spPr bwMode="auto">
              <a:xfrm>
                <a:off x="6180" y="512"/>
                <a:ext cx="18" cy="22"/>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7" name="Freeform 1977"/>
              <p:cNvSpPr>
                <a:spLocks/>
              </p:cNvSpPr>
              <p:nvPr/>
            </p:nvSpPr>
            <p:spPr bwMode="auto">
              <a:xfrm>
                <a:off x="6180"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8" name="Freeform 1978"/>
              <p:cNvSpPr>
                <a:spLocks/>
              </p:cNvSpPr>
              <p:nvPr/>
            </p:nvSpPr>
            <p:spPr bwMode="auto">
              <a:xfrm>
                <a:off x="6180" y="512"/>
                <a:ext cx="16" cy="22"/>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59" name="Freeform 1979"/>
              <p:cNvSpPr>
                <a:spLocks/>
              </p:cNvSpPr>
              <p:nvPr/>
            </p:nvSpPr>
            <p:spPr bwMode="auto">
              <a:xfrm>
                <a:off x="6278" y="516"/>
                <a:ext cx="16" cy="26"/>
              </a:xfrm>
              <a:custGeom>
                <a:avLst/>
                <a:gdLst>
                  <a:gd name="T0" fmla="*/ 14 w 16"/>
                  <a:gd name="T1" fmla="*/ 0 h 26"/>
                  <a:gd name="T2" fmla="*/ 14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4 h 26"/>
                  <a:gd name="T30" fmla="*/ 16 w 16"/>
                  <a:gd name="T31" fmla="*/ 24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2" y="20"/>
                    </a:lnTo>
                    <a:lnTo>
                      <a:pt x="2" y="20"/>
                    </a:lnTo>
                    <a:lnTo>
                      <a:pt x="0" y="26"/>
                    </a:lnTo>
                    <a:lnTo>
                      <a:pt x="0" y="26"/>
                    </a:lnTo>
                    <a:lnTo>
                      <a:pt x="6" y="26"/>
                    </a:lnTo>
                    <a:lnTo>
                      <a:pt x="6" y="26"/>
                    </a:lnTo>
                    <a:lnTo>
                      <a:pt x="10" y="26"/>
                    </a:lnTo>
                    <a:lnTo>
                      <a:pt x="10" y="26"/>
                    </a:lnTo>
                    <a:lnTo>
                      <a:pt x="10" y="26"/>
                    </a:lnTo>
                    <a:lnTo>
                      <a:pt x="10" y="26"/>
                    </a:lnTo>
                    <a:lnTo>
                      <a:pt x="16" y="26"/>
                    </a:lnTo>
                    <a:lnTo>
                      <a:pt x="16" y="26"/>
                    </a:lnTo>
                    <a:lnTo>
                      <a:pt x="16" y="24"/>
                    </a:lnTo>
                    <a:lnTo>
                      <a:pt x="16" y="24"/>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0" name="Freeform 1980"/>
              <p:cNvSpPr>
                <a:spLocks/>
              </p:cNvSpPr>
              <p:nvPr/>
            </p:nvSpPr>
            <p:spPr bwMode="auto">
              <a:xfrm>
                <a:off x="6278" y="516"/>
                <a:ext cx="16" cy="26"/>
              </a:xfrm>
              <a:custGeom>
                <a:avLst/>
                <a:gdLst>
                  <a:gd name="T0" fmla="*/ 14 w 16"/>
                  <a:gd name="T1" fmla="*/ 0 h 26"/>
                  <a:gd name="T2" fmla="*/ 14 w 16"/>
                  <a:gd name="T3" fmla="*/ 0 h 26"/>
                  <a:gd name="T4" fmla="*/ 2 w 16"/>
                  <a:gd name="T5" fmla="*/ 20 h 26"/>
                  <a:gd name="T6" fmla="*/ 2 w 16"/>
                  <a:gd name="T7" fmla="*/ 20 h 26"/>
                  <a:gd name="T8" fmla="*/ 0 w 16"/>
                  <a:gd name="T9" fmla="*/ 26 h 26"/>
                  <a:gd name="T10" fmla="*/ 0 w 16"/>
                  <a:gd name="T11" fmla="*/ 26 h 26"/>
                  <a:gd name="T12" fmla="*/ 6 w 16"/>
                  <a:gd name="T13" fmla="*/ 26 h 26"/>
                  <a:gd name="T14" fmla="*/ 6 w 16"/>
                  <a:gd name="T15" fmla="*/ 26 h 26"/>
                  <a:gd name="T16" fmla="*/ 10 w 16"/>
                  <a:gd name="T17" fmla="*/ 26 h 26"/>
                  <a:gd name="T18" fmla="*/ 10 w 16"/>
                  <a:gd name="T19" fmla="*/ 26 h 26"/>
                  <a:gd name="T20" fmla="*/ 10 w 16"/>
                  <a:gd name="T21" fmla="*/ 26 h 26"/>
                  <a:gd name="T22" fmla="*/ 10 w 16"/>
                  <a:gd name="T23" fmla="*/ 26 h 26"/>
                  <a:gd name="T24" fmla="*/ 16 w 16"/>
                  <a:gd name="T25" fmla="*/ 26 h 26"/>
                  <a:gd name="T26" fmla="*/ 16 w 16"/>
                  <a:gd name="T27" fmla="*/ 26 h 26"/>
                  <a:gd name="T28" fmla="*/ 16 w 16"/>
                  <a:gd name="T29" fmla="*/ 24 h 26"/>
                  <a:gd name="T30" fmla="*/ 16 w 16"/>
                  <a:gd name="T31" fmla="*/ 24 h 26"/>
                  <a:gd name="T32" fmla="*/ 16 w 16"/>
                  <a:gd name="T33" fmla="*/ 8 h 26"/>
                  <a:gd name="T34" fmla="*/ 16 w 16"/>
                  <a:gd name="T35" fmla="*/ 8 h 26"/>
                  <a:gd name="T36" fmla="*/ 14 w 16"/>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6">
                    <a:moveTo>
                      <a:pt x="14" y="0"/>
                    </a:moveTo>
                    <a:lnTo>
                      <a:pt x="14" y="0"/>
                    </a:lnTo>
                    <a:lnTo>
                      <a:pt x="2" y="20"/>
                    </a:lnTo>
                    <a:lnTo>
                      <a:pt x="2" y="20"/>
                    </a:lnTo>
                    <a:lnTo>
                      <a:pt x="0" y="26"/>
                    </a:lnTo>
                    <a:lnTo>
                      <a:pt x="0" y="26"/>
                    </a:lnTo>
                    <a:lnTo>
                      <a:pt x="6" y="26"/>
                    </a:lnTo>
                    <a:lnTo>
                      <a:pt x="6" y="26"/>
                    </a:lnTo>
                    <a:lnTo>
                      <a:pt x="10" y="26"/>
                    </a:lnTo>
                    <a:lnTo>
                      <a:pt x="10" y="26"/>
                    </a:lnTo>
                    <a:lnTo>
                      <a:pt x="10" y="26"/>
                    </a:lnTo>
                    <a:lnTo>
                      <a:pt x="10" y="26"/>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1" name="Freeform 1981"/>
              <p:cNvSpPr>
                <a:spLocks noEditPoints="1"/>
              </p:cNvSpPr>
              <p:nvPr/>
            </p:nvSpPr>
            <p:spPr bwMode="auto">
              <a:xfrm>
                <a:off x="6278" y="516"/>
                <a:ext cx="18" cy="26"/>
              </a:xfrm>
              <a:custGeom>
                <a:avLst/>
                <a:gdLst>
                  <a:gd name="T0" fmla="*/ 2 w 18"/>
                  <a:gd name="T1" fmla="*/ 20 h 26"/>
                  <a:gd name="T2" fmla="*/ 2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2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6 w 18"/>
                  <a:gd name="T31" fmla="*/ 24 h 26"/>
                  <a:gd name="T32" fmla="*/ 16 w 18"/>
                  <a:gd name="T33" fmla="*/ 24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4 h 26"/>
                  <a:gd name="T56" fmla="*/ 18 w 18"/>
                  <a:gd name="T57" fmla="*/ 24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2" y="20"/>
                    </a:moveTo>
                    <a:lnTo>
                      <a:pt x="2" y="20"/>
                    </a:lnTo>
                    <a:lnTo>
                      <a:pt x="0" y="26"/>
                    </a:lnTo>
                    <a:lnTo>
                      <a:pt x="0" y="26"/>
                    </a:lnTo>
                    <a:lnTo>
                      <a:pt x="6" y="26"/>
                    </a:lnTo>
                    <a:lnTo>
                      <a:pt x="6" y="26"/>
                    </a:lnTo>
                    <a:lnTo>
                      <a:pt x="0" y="26"/>
                    </a:lnTo>
                    <a:lnTo>
                      <a:pt x="0" y="26"/>
                    </a:lnTo>
                    <a:lnTo>
                      <a:pt x="2" y="20"/>
                    </a:lnTo>
                    <a:close/>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16" y="26"/>
                    </a:lnTo>
                    <a:lnTo>
                      <a:pt x="16" y="26"/>
                    </a:lnTo>
                    <a:lnTo>
                      <a:pt x="18" y="24"/>
                    </a:lnTo>
                    <a:lnTo>
                      <a:pt x="18" y="24"/>
                    </a:lnTo>
                    <a:lnTo>
                      <a:pt x="16" y="8"/>
                    </a:lnTo>
                    <a:lnTo>
                      <a:pt x="16" y="8"/>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2" name="Freeform 1982"/>
              <p:cNvSpPr>
                <a:spLocks/>
              </p:cNvSpPr>
              <p:nvPr/>
            </p:nvSpPr>
            <p:spPr bwMode="auto">
              <a:xfrm>
                <a:off x="6278" y="536"/>
                <a:ext cx="6" cy="6"/>
              </a:xfrm>
              <a:custGeom>
                <a:avLst/>
                <a:gdLst>
                  <a:gd name="T0" fmla="*/ 2 w 6"/>
                  <a:gd name="T1" fmla="*/ 0 h 6"/>
                  <a:gd name="T2" fmla="*/ 2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2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0"/>
                    </a:moveTo>
                    <a:lnTo>
                      <a:pt x="2" y="0"/>
                    </a:lnTo>
                    <a:lnTo>
                      <a:pt x="0" y="6"/>
                    </a:lnTo>
                    <a:lnTo>
                      <a:pt x="0" y="6"/>
                    </a:lnTo>
                    <a:lnTo>
                      <a:pt x="6" y="6"/>
                    </a:lnTo>
                    <a:lnTo>
                      <a:pt x="6" y="6"/>
                    </a:lnTo>
                    <a:lnTo>
                      <a:pt x="0" y="6"/>
                    </a:lnTo>
                    <a:lnTo>
                      <a:pt x="0" y="6"/>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3" name="Freeform 1983"/>
              <p:cNvSpPr>
                <a:spLocks/>
              </p:cNvSpPr>
              <p:nvPr/>
            </p:nvSpPr>
            <p:spPr bwMode="auto">
              <a:xfrm>
                <a:off x="6288" y="516"/>
                <a:ext cx="8" cy="26"/>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6 w 8"/>
                  <a:gd name="T13" fmla="*/ 24 h 26"/>
                  <a:gd name="T14" fmla="*/ 6 w 8"/>
                  <a:gd name="T15" fmla="*/ 24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4 h 26"/>
                  <a:gd name="T38" fmla="*/ 8 w 8"/>
                  <a:gd name="T39" fmla="*/ 24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6" y="24"/>
                    </a:lnTo>
                    <a:lnTo>
                      <a:pt x="6" y="24"/>
                    </a:lnTo>
                    <a:lnTo>
                      <a:pt x="6" y="26"/>
                    </a:lnTo>
                    <a:lnTo>
                      <a:pt x="6" y="26"/>
                    </a:lnTo>
                    <a:lnTo>
                      <a:pt x="0" y="26"/>
                    </a:lnTo>
                    <a:lnTo>
                      <a:pt x="0" y="26"/>
                    </a:lnTo>
                    <a:lnTo>
                      <a:pt x="0" y="26"/>
                    </a:lnTo>
                    <a:lnTo>
                      <a:pt x="0" y="26"/>
                    </a:lnTo>
                    <a:lnTo>
                      <a:pt x="0" y="26"/>
                    </a:lnTo>
                    <a:lnTo>
                      <a:pt x="0" y="26"/>
                    </a:lnTo>
                    <a:lnTo>
                      <a:pt x="6" y="26"/>
                    </a:lnTo>
                    <a:lnTo>
                      <a:pt x="6" y="26"/>
                    </a:lnTo>
                    <a:lnTo>
                      <a:pt x="8" y="24"/>
                    </a:lnTo>
                    <a:lnTo>
                      <a:pt x="8" y="24"/>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4" name="Freeform 1984"/>
              <p:cNvSpPr>
                <a:spLocks/>
              </p:cNvSpPr>
              <p:nvPr/>
            </p:nvSpPr>
            <p:spPr bwMode="auto">
              <a:xfrm>
                <a:off x="6176"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5" name="Freeform 1985"/>
              <p:cNvSpPr>
                <a:spLocks/>
              </p:cNvSpPr>
              <p:nvPr/>
            </p:nvSpPr>
            <p:spPr bwMode="auto">
              <a:xfrm>
                <a:off x="6176" y="462"/>
                <a:ext cx="12" cy="2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6" name="Freeform 1986"/>
              <p:cNvSpPr>
                <a:spLocks noEditPoints="1"/>
              </p:cNvSpPr>
              <p:nvPr/>
            </p:nvSpPr>
            <p:spPr bwMode="auto">
              <a:xfrm>
                <a:off x="6176" y="462"/>
                <a:ext cx="12" cy="2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7" name="Freeform 1987"/>
              <p:cNvSpPr>
                <a:spLocks/>
              </p:cNvSpPr>
              <p:nvPr/>
            </p:nvSpPr>
            <p:spPr bwMode="auto">
              <a:xfrm>
                <a:off x="6186" y="476"/>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8" name="Freeform 1988"/>
              <p:cNvSpPr>
                <a:spLocks/>
              </p:cNvSpPr>
              <p:nvPr/>
            </p:nvSpPr>
            <p:spPr bwMode="auto">
              <a:xfrm>
                <a:off x="6176" y="462"/>
                <a:ext cx="10" cy="2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69" name="Freeform 1989"/>
              <p:cNvSpPr>
                <a:spLocks noEditPoints="1"/>
              </p:cNvSpPr>
              <p:nvPr/>
            </p:nvSpPr>
            <p:spPr bwMode="auto">
              <a:xfrm>
                <a:off x="6292" y="450"/>
                <a:ext cx="18" cy="14"/>
              </a:xfrm>
              <a:custGeom>
                <a:avLst/>
                <a:gdLst>
                  <a:gd name="T0" fmla="*/ 6 w 18"/>
                  <a:gd name="T1" fmla="*/ 8 h 14"/>
                  <a:gd name="T2" fmla="*/ 6 w 18"/>
                  <a:gd name="T3" fmla="*/ 8 h 14"/>
                  <a:gd name="T4" fmla="*/ 6 w 18"/>
                  <a:gd name="T5" fmla="*/ 8 h 14"/>
                  <a:gd name="T6" fmla="*/ 6 w 18"/>
                  <a:gd name="T7" fmla="*/ 8 h 14"/>
                  <a:gd name="T8" fmla="*/ 10 w 18"/>
                  <a:gd name="T9" fmla="*/ 10 h 14"/>
                  <a:gd name="T10" fmla="*/ 10 w 18"/>
                  <a:gd name="T11" fmla="*/ 10 h 14"/>
                  <a:gd name="T12" fmla="*/ 10 w 18"/>
                  <a:gd name="T13" fmla="*/ 10 h 14"/>
                  <a:gd name="T14" fmla="*/ 10 w 18"/>
                  <a:gd name="T15" fmla="*/ 10 h 14"/>
                  <a:gd name="T16" fmla="*/ 10 w 18"/>
                  <a:gd name="T17" fmla="*/ 10 h 14"/>
                  <a:gd name="T18" fmla="*/ 10 w 18"/>
                  <a:gd name="T19" fmla="*/ 10 h 14"/>
                  <a:gd name="T20" fmla="*/ 6 w 18"/>
                  <a:gd name="T21" fmla="*/ 12 h 14"/>
                  <a:gd name="T22" fmla="*/ 6 w 18"/>
                  <a:gd name="T23" fmla="*/ 12 h 14"/>
                  <a:gd name="T24" fmla="*/ 4 w 18"/>
                  <a:gd name="T25" fmla="*/ 10 h 14"/>
                  <a:gd name="T26" fmla="*/ 4 w 18"/>
                  <a:gd name="T27" fmla="*/ 10 h 14"/>
                  <a:gd name="T28" fmla="*/ 6 w 18"/>
                  <a:gd name="T29" fmla="*/ 8 h 14"/>
                  <a:gd name="T30" fmla="*/ 6 w 18"/>
                  <a:gd name="T31" fmla="*/ 8 h 14"/>
                  <a:gd name="T32" fmla="*/ 6 w 18"/>
                  <a:gd name="T33" fmla="*/ 8 h 14"/>
                  <a:gd name="T34" fmla="*/ 14 w 18"/>
                  <a:gd name="T35" fmla="*/ 0 h 14"/>
                  <a:gd name="T36" fmla="*/ 14 w 18"/>
                  <a:gd name="T37" fmla="*/ 0 h 14"/>
                  <a:gd name="T38" fmla="*/ 6 w 18"/>
                  <a:gd name="T39" fmla="*/ 4 h 14"/>
                  <a:gd name="T40" fmla="*/ 0 w 18"/>
                  <a:gd name="T41" fmla="*/ 10 h 14"/>
                  <a:gd name="T42" fmla="*/ 0 w 18"/>
                  <a:gd name="T43" fmla="*/ 10 h 14"/>
                  <a:gd name="T44" fmla="*/ 2 w 18"/>
                  <a:gd name="T45" fmla="*/ 10 h 14"/>
                  <a:gd name="T46" fmla="*/ 2 w 18"/>
                  <a:gd name="T47" fmla="*/ 10 h 14"/>
                  <a:gd name="T48" fmla="*/ 6 w 18"/>
                  <a:gd name="T49" fmla="*/ 14 h 14"/>
                  <a:gd name="T50" fmla="*/ 6 w 18"/>
                  <a:gd name="T51" fmla="*/ 14 h 14"/>
                  <a:gd name="T52" fmla="*/ 18 w 18"/>
                  <a:gd name="T53" fmla="*/ 6 h 14"/>
                  <a:gd name="T54" fmla="*/ 18 w 18"/>
                  <a:gd name="T55" fmla="*/ 6 h 14"/>
                  <a:gd name="T56" fmla="*/ 14 w 18"/>
                  <a:gd name="T57" fmla="*/ 6 h 14"/>
                  <a:gd name="T58" fmla="*/ 14 w 18"/>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6" y="8"/>
                    </a:moveTo>
                    <a:lnTo>
                      <a:pt x="6" y="8"/>
                    </a:lnTo>
                    <a:lnTo>
                      <a:pt x="6" y="8"/>
                    </a:lnTo>
                    <a:lnTo>
                      <a:pt x="6" y="8"/>
                    </a:lnTo>
                    <a:lnTo>
                      <a:pt x="10" y="10"/>
                    </a:lnTo>
                    <a:lnTo>
                      <a:pt x="10" y="10"/>
                    </a:lnTo>
                    <a:lnTo>
                      <a:pt x="10" y="10"/>
                    </a:lnTo>
                    <a:lnTo>
                      <a:pt x="10" y="10"/>
                    </a:lnTo>
                    <a:lnTo>
                      <a:pt x="10" y="10"/>
                    </a:lnTo>
                    <a:lnTo>
                      <a:pt x="10" y="10"/>
                    </a:lnTo>
                    <a:lnTo>
                      <a:pt x="6" y="12"/>
                    </a:lnTo>
                    <a:lnTo>
                      <a:pt x="6" y="12"/>
                    </a:lnTo>
                    <a:lnTo>
                      <a:pt x="4" y="10"/>
                    </a:lnTo>
                    <a:lnTo>
                      <a:pt x="4" y="10"/>
                    </a:lnTo>
                    <a:lnTo>
                      <a:pt x="6" y="8"/>
                    </a:lnTo>
                    <a:lnTo>
                      <a:pt x="6" y="8"/>
                    </a:lnTo>
                    <a:lnTo>
                      <a:pt x="6"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0" name="Freeform 1990"/>
              <p:cNvSpPr>
                <a:spLocks/>
              </p:cNvSpPr>
              <p:nvPr/>
            </p:nvSpPr>
            <p:spPr bwMode="auto">
              <a:xfrm>
                <a:off x="6296" y="458"/>
                <a:ext cx="6" cy="4"/>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6" y="2"/>
                    </a:lnTo>
                    <a:lnTo>
                      <a:pt x="6" y="2"/>
                    </a:lnTo>
                    <a:lnTo>
                      <a:pt x="6" y="2"/>
                    </a:lnTo>
                    <a:lnTo>
                      <a:pt x="6" y="2"/>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1" name="Freeform 1991"/>
              <p:cNvSpPr>
                <a:spLocks/>
              </p:cNvSpPr>
              <p:nvPr/>
            </p:nvSpPr>
            <p:spPr bwMode="auto">
              <a:xfrm>
                <a:off x="6292" y="450"/>
                <a:ext cx="18" cy="14"/>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2" name="Freeform 1992"/>
              <p:cNvSpPr>
                <a:spLocks/>
              </p:cNvSpPr>
              <p:nvPr/>
            </p:nvSpPr>
            <p:spPr bwMode="auto">
              <a:xfrm>
                <a:off x="6244"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3" name="Freeform 1993"/>
              <p:cNvSpPr>
                <a:spLocks/>
              </p:cNvSpPr>
              <p:nvPr/>
            </p:nvSpPr>
            <p:spPr bwMode="auto">
              <a:xfrm>
                <a:off x="6244" y="440"/>
                <a:ext cx="22" cy="2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4" name="Freeform 1994"/>
              <p:cNvSpPr>
                <a:spLocks/>
              </p:cNvSpPr>
              <p:nvPr/>
            </p:nvSpPr>
            <p:spPr bwMode="auto">
              <a:xfrm>
                <a:off x="6340"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5" name="Freeform 1995"/>
              <p:cNvSpPr>
                <a:spLocks/>
              </p:cNvSpPr>
              <p:nvPr/>
            </p:nvSpPr>
            <p:spPr bwMode="auto">
              <a:xfrm>
                <a:off x="6340" y="444"/>
                <a:ext cx="10" cy="8"/>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6" name="Freeform 1996"/>
              <p:cNvSpPr>
                <a:spLocks/>
              </p:cNvSpPr>
              <p:nvPr/>
            </p:nvSpPr>
            <p:spPr bwMode="auto">
              <a:xfrm>
                <a:off x="6286"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7" name="Freeform 1997"/>
              <p:cNvSpPr>
                <a:spLocks/>
              </p:cNvSpPr>
              <p:nvPr/>
            </p:nvSpPr>
            <p:spPr bwMode="auto">
              <a:xfrm>
                <a:off x="6286" y="440"/>
                <a:ext cx="6" cy="8"/>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8" name="Freeform 1998"/>
              <p:cNvSpPr>
                <a:spLocks/>
              </p:cNvSpPr>
              <p:nvPr/>
            </p:nvSpPr>
            <p:spPr bwMode="auto">
              <a:xfrm>
                <a:off x="6300"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79" name="Freeform 1999"/>
              <p:cNvSpPr>
                <a:spLocks/>
              </p:cNvSpPr>
              <p:nvPr/>
            </p:nvSpPr>
            <p:spPr bwMode="auto">
              <a:xfrm>
                <a:off x="6300" y="490"/>
                <a:ext cx="4" cy="4"/>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0" name="Freeform 2000"/>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1" name="Freeform 2001"/>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2" name="Freeform 2002"/>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0" y="2"/>
                    </a:lnTo>
                    <a:lnTo>
                      <a:pt x="0" y="2"/>
                    </a:lnTo>
                    <a:lnTo>
                      <a:pt x="2" y="4"/>
                    </a:lnTo>
                    <a:lnTo>
                      <a:pt x="2" y="4"/>
                    </a:lnTo>
                    <a:lnTo>
                      <a:pt x="6" y="2"/>
                    </a:lnTo>
                    <a:lnTo>
                      <a:pt x="6" y="2"/>
                    </a:lnTo>
                    <a:lnTo>
                      <a:pt x="6" y="2"/>
                    </a:lnTo>
                    <a:lnTo>
                      <a:pt x="6" y="2"/>
                    </a:lnTo>
                    <a:lnTo>
                      <a:pt x="2" y="4"/>
                    </a:lnTo>
                    <a:lnTo>
                      <a:pt x="2" y="4"/>
                    </a:lnTo>
                    <a:lnTo>
                      <a:pt x="0" y="2"/>
                    </a:lnTo>
                    <a:lnTo>
                      <a:pt x="0" y="2"/>
                    </a:lnTo>
                    <a:lnTo>
                      <a:pt x="2" y="0"/>
                    </a:lnTo>
                    <a:lnTo>
                      <a:pt x="2" y="0"/>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3" name="Freeform 2003"/>
              <p:cNvSpPr>
                <a:spLocks/>
              </p:cNvSpPr>
              <p:nvPr/>
            </p:nvSpPr>
            <p:spPr bwMode="auto">
              <a:xfrm>
                <a:off x="6296" y="458"/>
                <a:ext cx="6" cy="4"/>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6 w 6"/>
                  <a:gd name="T17" fmla="*/ 2 h 4"/>
                  <a:gd name="T18" fmla="*/ 6 w 6"/>
                  <a:gd name="T19" fmla="*/ 2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0" y="2"/>
                    </a:lnTo>
                    <a:lnTo>
                      <a:pt x="0" y="2"/>
                    </a:lnTo>
                    <a:lnTo>
                      <a:pt x="2" y="4"/>
                    </a:lnTo>
                    <a:lnTo>
                      <a:pt x="2" y="4"/>
                    </a:lnTo>
                    <a:lnTo>
                      <a:pt x="6" y="2"/>
                    </a:lnTo>
                    <a:lnTo>
                      <a:pt x="6" y="2"/>
                    </a:lnTo>
                    <a:lnTo>
                      <a:pt x="6" y="2"/>
                    </a:lnTo>
                    <a:lnTo>
                      <a:pt x="6" y="2"/>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4" name="Freeform 2004"/>
              <p:cNvSpPr>
                <a:spLocks/>
              </p:cNvSpPr>
              <p:nvPr/>
            </p:nvSpPr>
            <p:spPr bwMode="auto">
              <a:xfrm>
                <a:off x="682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5" name="Freeform 2005"/>
              <p:cNvSpPr>
                <a:spLocks/>
              </p:cNvSpPr>
              <p:nvPr/>
            </p:nvSpPr>
            <p:spPr bwMode="auto">
              <a:xfrm>
                <a:off x="7058"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6" name="Freeform 2006"/>
              <p:cNvSpPr>
                <a:spLocks/>
              </p:cNvSpPr>
              <p:nvPr/>
            </p:nvSpPr>
            <p:spPr bwMode="auto">
              <a:xfrm>
                <a:off x="7150" y="416"/>
                <a:ext cx="54" cy="144"/>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7" name="Freeform 2007"/>
              <p:cNvSpPr>
                <a:spLocks/>
              </p:cNvSpPr>
              <p:nvPr/>
            </p:nvSpPr>
            <p:spPr bwMode="auto">
              <a:xfrm>
                <a:off x="7242" y="416"/>
                <a:ext cx="52" cy="144"/>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8" name="Freeform 2008"/>
              <p:cNvSpPr>
                <a:spLocks/>
              </p:cNvSpPr>
              <p:nvPr/>
            </p:nvSpPr>
            <p:spPr bwMode="auto">
              <a:xfrm>
                <a:off x="6912" y="414"/>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89" name="Freeform 2009"/>
              <p:cNvSpPr>
                <a:spLocks/>
              </p:cNvSpPr>
              <p:nvPr/>
            </p:nvSpPr>
            <p:spPr bwMode="auto">
              <a:xfrm>
                <a:off x="6912" y="414"/>
                <a:ext cx="48" cy="146"/>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0" name="Freeform 2010"/>
              <p:cNvSpPr>
                <a:spLocks/>
              </p:cNvSpPr>
              <p:nvPr/>
            </p:nvSpPr>
            <p:spPr bwMode="auto">
              <a:xfrm>
                <a:off x="6972" y="414"/>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1" name="Freeform 2011"/>
              <p:cNvSpPr>
                <a:spLocks/>
              </p:cNvSpPr>
              <p:nvPr/>
            </p:nvSpPr>
            <p:spPr bwMode="auto">
              <a:xfrm>
                <a:off x="6972" y="414"/>
                <a:ext cx="48" cy="146"/>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2" name="Freeform 2012"/>
              <p:cNvSpPr>
                <a:spLocks noEditPoints="1"/>
              </p:cNvSpPr>
              <p:nvPr/>
            </p:nvSpPr>
            <p:spPr bwMode="auto">
              <a:xfrm>
                <a:off x="7332" y="410"/>
                <a:ext cx="100" cy="150"/>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1193" name="Freeform 2013"/>
              <p:cNvSpPr>
                <a:spLocks noEditPoints="1"/>
              </p:cNvSpPr>
              <p:nvPr/>
            </p:nvSpPr>
            <p:spPr bwMode="auto">
              <a:xfrm>
                <a:off x="7470" y="410"/>
                <a:ext cx="100" cy="150"/>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873" name="Freeform 2015"/>
            <p:cNvSpPr>
              <a:spLocks/>
            </p:cNvSpPr>
            <p:nvPr/>
          </p:nvSpPr>
          <p:spPr bwMode="auto">
            <a:xfrm>
              <a:off x="6076928"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4" name="Freeform 2016"/>
            <p:cNvSpPr>
              <a:spLocks/>
            </p:cNvSpPr>
            <p:nvPr/>
          </p:nvSpPr>
          <p:spPr bwMode="auto">
            <a:xfrm>
              <a:off x="6226153"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5" name="Freeform 2017"/>
            <p:cNvSpPr>
              <a:spLocks/>
            </p:cNvSpPr>
            <p:nvPr/>
          </p:nvSpPr>
          <p:spPr bwMode="auto">
            <a:xfrm>
              <a:off x="6375377" y="64135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6" name="Freeform 2018"/>
            <p:cNvSpPr>
              <a:spLocks noEditPoints="1"/>
            </p:cNvSpPr>
            <p:nvPr/>
          </p:nvSpPr>
          <p:spPr bwMode="auto">
            <a:xfrm>
              <a:off x="6521426" y="63182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7" name="Freeform 2019"/>
            <p:cNvSpPr>
              <a:spLocks noEditPoints="1"/>
            </p:cNvSpPr>
            <p:nvPr/>
          </p:nvSpPr>
          <p:spPr bwMode="auto">
            <a:xfrm>
              <a:off x="6740501" y="631825"/>
              <a:ext cx="158749"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8" name="Freeform 2020"/>
            <p:cNvSpPr>
              <a:spLocks noEditPoints="1"/>
            </p:cNvSpPr>
            <p:nvPr/>
          </p:nvSpPr>
          <p:spPr bwMode="auto">
            <a:xfrm>
              <a:off x="7404073" y="631825"/>
              <a:ext cx="155574"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79" name="Freeform 2021"/>
            <p:cNvSpPr>
              <a:spLocks noEditPoints="1"/>
            </p:cNvSpPr>
            <p:nvPr/>
          </p:nvSpPr>
          <p:spPr bwMode="auto">
            <a:xfrm>
              <a:off x="7769197" y="631825"/>
              <a:ext cx="158749"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0" name="Freeform 2022"/>
            <p:cNvSpPr>
              <a:spLocks/>
            </p:cNvSpPr>
            <p:nvPr/>
          </p:nvSpPr>
          <p:spPr bwMode="auto">
            <a:xfrm>
              <a:off x="7623147" y="641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1" name="Freeform 2023"/>
            <p:cNvSpPr>
              <a:spLocks noEditPoints="1"/>
            </p:cNvSpPr>
            <p:nvPr/>
          </p:nvSpPr>
          <p:spPr bwMode="auto">
            <a:xfrm>
              <a:off x="7991447" y="631825"/>
              <a:ext cx="155574"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2" name="Freeform 2024"/>
            <p:cNvSpPr>
              <a:spLocks/>
            </p:cNvSpPr>
            <p:nvPr/>
          </p:nvSpPr>
          <p:spPr bwMode="auto">
            <a:xfrm>
              <a:off x="8210520" y="638175"/>
              <a:ext cx="76199"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3" name="Freeform 2025"/>
            <p:cNvSpPr>
              <a:spLocks/>
            </p:cNvSpPr>
            <p:nvPr/>
          </p:nvSpPr>
          <p:spPr bwMode="auto">
            <a:xfrm>
              <a:off x="8210520" y="638175"/>
              <a:ext cx="76199"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4" name="Freeform 2026"/>
            <p:cNvSpPr>
              <a:spLocks/>
            </p:cNvSpPr>
            <p:nvPr/>
          </p:nvSpPr>
          <p:spPr bwMode="auto">
            <a:xfrm>
              <a:off x="8308944" y="638175"/>
              <a:ext cx="76199"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5" name="Freeform 2027"/>
            <p:cNvSpPr>
              <a:spLocks/>
            </p:cNvSpPr>
            <p:nvPr/>
          </p:nvSpPr>
          <p:spPr bwMode="auto">
            <a:xfrm>
              <a:off x="8308944" y="638175"/>
              <a:ext cx="76199"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6" name="Freeform 2028"/>
            <p:cNvSpPr>
              <a:spLocks noEditPoints="1"/>
            </p:cNvSpPr>
            <p:nvPr/>
          </p:nvSpPr>
          <p:spPr bwMode="auto">
            <a:xfrm>
              <a:off x="8683593" y="63182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7" name="Freeform 2029"/>
            <p:cNvSpPr>
              <a:spLocks/>
            </p:cNvSpPr>
            <p:nvPr/>
          </p:nvSpPr>
          <p:spPr bwMode="auto">
            <a:xfrm>
              <a:off x="8902668"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8" name="Freeform 2030"/>
            <p:cNvSpPr>
              <a:spLocks noEditPoints="1"/>
            </p:cNvSpPr>
            <p:nvPr/>
          </p:nvSpPr>
          <p:spPr bwMode="auto">
            <a:xfrm>
              <a:off x="8448644" y="644525"/>
              <a:ext cx="171450"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89" name="Freeform 2031"/>
            <p:cNvSpPr>
              <a:spLocks/>
            </p:cNvSpPr>
            <p:nvPr/>
          </p:nvSpPr>
          <p:spPr bwMode="auto">
            <a:xfrm>
              <a:off x="8515319" y="739775"/>
              <a:ext cx="34925"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0" name="Freeform 2032"/>
            <p:cNvSpPr>
              <a:spLocks/>
            </p:cNvSpPr>
            <p:nvPr/>
          </p:nvSpPr>
          <p:spPr bwMode="auto">
            <a:xfrm>
              <a:off x="8448644" y="644525"/>
              <a:ext cx="171450"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1" name="Freeform 2033"/>
            <p:cNvSpPr>
              <a:spLocks/>
            </p:cNvSpPr>
            <p:nvPr/>
          </p:nvSpPr>
          <p:spPr bwMode="auto">
            <a:xfrm>
              <a:off x="6962749" y="641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2" name="Freeform 2034"/>
            <p:cNvSpPr>
              <a:spLocks/>
            </p:cNvSpPr>
            <p:nvPr/>
          </p:nvSpPr>
          <p:spPr bwMode="auto">
            <a:xfrm>
              <a:off x="7108800" y="64135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3" name="Freeform 2035"/>
            <p:cNvSpPr>
              <a:spLocks/>
            </p:cNvSpPr>
            <p:nvPr/>
          </p:nvSpPr>
          <p:spPr bwMode="auto">
            <a:xfrm>
              <a:off x="7258023" y="64135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4" name="Freeform 2036"/>
            <p:cNvSpPr>
              <a:spLocks/>
            </p:cNvSpPr>
            <p:nvPr/>
          </p:nvSpPr>
          <p:spPr bwMode="auto">
            <a:xfrm>
              <a:off x="7899372"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5" name="Freeform 2037"/>
            <p:cNvSpPr>
              <a:spLocks/>
            </p:cNvSpPr>
            <p:nvPr/>
          </p:nvSpPr>
          <p:spPr bwMode="auto">
            <a:xfrm>
              <a:off x="8045421"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6" name="Freeform 2038"/>
            <p:cNvSpPr>
              <a:spLocks/>
            </p:cNvSpPr>
            <p:nvPr/>
          </p:nvSpPr>
          <p:spPr bwMode="auto">
            <a:xfrm>
              <a:off x="8191470" y="34290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7" name="Freeform 2039"/>
            <p:cNvSpPr>
              <a:spLocks/>
            </p:cNvSpPr>
            <p:nvPr/>
          </p:nvSpPr>
          <p:spPr bwMode="auto">
            <a:xfrm>
              <a:off x="8331170" y="342900"/>
              <a:ext cx="85724"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8" name="Freeform 2040"/>
            <p:cNvSpPr>
              <a:spLocks/>
            </p:cNvSpPr>
            <p:nvPr/>
          </p:nvSpPr>
          <p:spPr bwMode="auto">
            <a:xfrm>
              <a:off x="871216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899" name="Freeform 2041"/>
            <p:cNvSpPr>
              <a:spLocks/>
            </p:cNvSpPr>
            <p:nvPr/>
          </p:nvSpPr>
          <p:spPr bwMode="auto">
            <a:xfrm>
              <a:off x="8858218"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0" name="Freeform 2042"/>
            <p:cNvSpPr>
              <a:spLocks/>
            </p:cNvSpPr>
            <p:nvPr/>
          </p:nvSpPr>
          <p:spPr bwMode="auto">
            <a:xfrm>
              <a:off x="8477220" y="339725"/>
              <a:ext cx="76199"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1" name="Freeform 2043"/>
            <p:cNvSpPr>
              <a:spLocks/>
            </p:cNvSpPr>
            <p:nvPr/>
          </p:nvSpPr>
          <p:spPr bwMode="auto">
            <a:xfrm>
              <a:off x="8477220" y="339725"/>
              <a:ext cx="76199"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2" name="Freeform 2044"/>
            <p:cNvSpPr>
              <a:spLocks/>
            </p:cNvSpPr>
            <p:nvPr/>
          </p:nvSpPr>
          <p:spPr bwMode="auto">
            <a:xfrm>
              <a:off x="8575644" y="339725"/>
              <a:ext cx="73025"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3" name="Freeform 2045"/>
            <p:cNvSpPr>
              <a:spLocks/>
            </p:cNvSpPr>
            <p:nvPr/>
          </p:nvSpPr>
          <p:spPr bwMode="auto">
            <a:xfrm>
              <a:off x="8575644" y="339725"/>
              <a:ext cx="73025"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4" name="Freeform 2046"/>
            <p:cNvSpPr>
              <a:spLocks noEditPoints="1"/>
            </p:cNvSpPr>
            <p:nvPr/>
          </p:nvSpPr>
          <p:spPr bwMode="auto">
            <a:xfrm>
              <a:off x="6664301" y="333375"/>
              <a:ext cx="155574"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5" name="Freeform 2047"/>
            <p:cNvSpPr>
              <a:spLocks noEditPoints="1"/>
            </p:cNvSpPr>
            <p:nvPr/>
          </p:nvSpPr>
          <p:spPr bwMode="auto">
            <a:xfrm>
              <a:off x="6883375" y="333375"/>
              <a:ext cx="155574"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6" name="Freeform 2048"/>
            <p:cNvSpPr>
              <a:spLocks noEditPoints="1"/>
            </p:cNvSpPr>
            <p:nvPr/>
          </p:nvSpPr>
          <p:spPr bwMode="auto">
            <a:xfrm>
              <a:off x="7537423" y="333375"/>
              <a:ext cx="155574"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7" name="Freeform 2049"/>
            <p:cNvSpPr>
              <a:spLocks/>
            </p:cNvSpPr>
            <p:nvPr/>
          </p:nvSpPr>
          <p:spPr bwMode="auto">
            <a:xfrm>
              <a:off x="7753322" y="342900"/>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8" name="Freeform 2050"/>
            <p:cNvSpPr>
              <a:spLocks/>
            </p:cNvSpPr>
            <p:nvPr/>
          </p:nvSpPr>
          <p:spPr bwMode="auto">
            <a:xfrm>
              <a:off x="710244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09" name="Freeform 2051"/>
            <p:cNvSpPr>
              <a:spLocks/>
            </p:cNvSpPr>
            <p:nvPr/>
          </p:nvSpPr>
          <p:spPr bwMode="auto">
            <a:xfrm>
              <a:off x="7248499"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0" name="Freeform 2052"/>
            <p:cNvSpPr>
              <a:spLocks/>
            </p:cNvSpPr>
            <p:nvPr/>
          </p:nvSpPr>
          <p:spPr bwMode="auto">
            <a:xfrm>
              <a:off x="7394548" y="342900"/>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1" name="Freeform 2053"/>
            <p:cNvSpPr>
              <a:spLocks noEditPoints="1"/>
            </p:cNvSpPr>
            <p:nvPr/>
          </p:nvSpPr>
          <p:spPr bwMode="auto">
            <a:xfrm>
              <a:off x="6048352" y="333375"/>
              <a:ext cx="155574"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2" name="Freeform 2054"/>
            <p:cNvSpPr>
              <a:spLocks/>
            </p:cNvSpPr>
            <p:nvPr/>
          </p:nvSpPr>
          <p:spPr bwMode="auto">
            <a:xfrm>
              <a:off x="6229327"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3" name="Freeform 2055"/>
            <p:cNvSpPr>
              <a:spLocks/>
            </p:cNvSpPr>
            <p:nvPr/>
          </p:nvSpPr>
          <p:spPr bwMode="auto">
            <a:xfrm>
              <a:off x="6375376" y="34290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4" name="Freeform 2056"/>
            <p:cNvSpPr>
              <a:spLocks/>
            </p:cNvSpPr>
            <p:nvPr/>
          </p:nvSpPr>
          <p:spPr bwMode="auto">
            <a:xfrm>
              <a:off x="6521425" y="342900"/>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5" name="Freeform 2057"/>
            <p:cNvSpPr>
              <a:spLocks noEditPoints="1"/>
            </p:cNvSpPr>
            <p:nvPr/>
          </p:nvSpPr>
          <p:spPr bwMode="auto">
            <a:xfrm>
              <a:off x="6264252" y="0"/>
              <a:ext cx="155574"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6" name="Freeform 2058"/>
            <p:cNvSpPr>
              <a:spLocks/>
            </p:cNvSpPr>
            <p:nvPr/>
          </p:nvSpPr>
          <p:spPr bwMode="auto">
            <a:xfrm>
              <a:off x="6483326"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7" name="Freeform 2059"/>
            <p:cNvSpPr>
              <a:spLocks/>
            </p:cNvSpPr>
            <p:nvPr/>
          </p:nvSpPr>
          <p:spPr bwMode="auto">
            <a:xfrm>
              <a:off x="6632551" y="9525"/>
              <a:ext cx="82550"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8" name="Freeform 2060"/>
            <p:cNvSpPr>
              <a:spLocks/>
            </p:cNvSpPr>
            <p:nvPr/>
          </p:nvSpPr>
          <p:spPr bwMode="auto">
            <a:xfrm>
              <a:off x="6778600"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19" name="Freeform 2061"/>
            <p:cNvSpPr>
              <a:spLocks/>
            </p:cNvSpPr>
            <p:nvPr/>
          </p:nvSpPr>
          <p:spPr bwMode="auto">
            <a:xfrm>
              <a:off x="6921474"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0" name="Freeform 2062"/>
            <p:cNvSpPr>
              <a:spLocks/>
            </p:cNvSpPr>
            <p:nvPr/>
          </p:nvSpPr>
          <p:spPr bwMode="auto">
            <a:xfrm>
              <a:off x="7305648"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1" name="Freeform 2063"/>
            <p:cNvSpPr>
              <a:spLocks/>
            </p:cNvSpPr>
            <p:nvPr/>
          </p:nvSpPr>
          <p:spPr bwMode="auto">
            <a:xfrm>
              <a:off x="7451697"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2" name="Freeform 2064"/>
            <p:cNvSpPr>
              <a:spLocks/>
            </p:cNvSpPr>
            <p:nvPr/>
          </p:nvSpPr>
          <p:spPr bwMode="auto">
            <a:xfrm>
              <a:off x="7600922"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3" name="Freeform 2065"/>
            <p:cNvSpPr>
              <a:spLocks/>
            </p:cNvSpPr>
            <p:nvPr/>
          </p:nvSpPr>
          <p:spPr bwMode="auto">
            <a:xfrm>
              <a:off x="7750146"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pic>
          <p:nvPicPr>
            <p:cNvPr id="924" name="Picture 20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4824" y="0"/>
              <a:ext cx="104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 name="Freeform 2067"/>
            <p:cNvSpPr>
              <a:spLocks/>
            </p:cNvSpPr>
            <p:nvPr/>
          </p:nvSpPr>
          <p:spPr bwMode="auto">
            <a:xfrm>
              <a:off x="7165949"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6" name="Freeform 2068"/>
            <p:cNvSpPr>
              <a:spLocks/>
            </p:cNvSpPr>
            <p:nvPr/>
          </p:nvSpPr>
          <p:spPr bwMode="auto">
            <a:xfrm>
              <a:off x="7165949"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7" name="Freeform 2069"/>
            <p:cNvSpPr>
              <a:spLocks/>
            </p:cNvSpPr>
            <p:nvPr/>
          </p:nvSpPr>
          <p:spPr bwMode="auto">
            <a:xfrm>
              <a:off x="8258144" y="635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8" name="Freeform 2070"/>
            <p:cNvSpPr>
              <a:spLocks/>
            </p:cNvSpPr>
            <p:nvPr/>
          </p:nvSpPr>
          <p:spPr bwMode="auto">
            <a:xfrm>
              <a:off x="8258144" y="6350"/>
              <a:ext cx="73025"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29" name="Freeform 2071"/>
            <p:cNvSpPr>
              <a:spLocks/>
            </p:cNvSpPr>
            <p:nvPr/>
          </p:nvSpPr>
          <p:spPr bwMode="auto">
            <a:xfrm>
              <a:off x="8353394"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0" name="Freeform 2072"/>
            <p:cNvSpPr>
              <a:spLocks/>
            </p:cNvSpPr>
            <p:nvPr/>
          </p:nvSpPr>
          <p:spPr bwMode="auto">
            <a:xfrm>
              <a:off x="8353394" y="6350"/>
              <a:ext cx="76199"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1" name="Freeform 2073"/>
            <p:cNvSpPr>
              <a:spLocks/>
            </p:cNvSpPr>
            <p:nvPr/>
          </p:nvSpPr>
          <p:spPr bwMode="auto">
            <a:xfrm>
              <a:off x="8493093"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2" name="Freeform 2074"/>
            <p:cNvSpPr>
              <a:spLocks/>
            </p:cNvSpPr>
            <p:nvPr/>
          </p:nvSpPr>
          <p:spPr bwMode="auto">
            <a:xfrm>
              <a:off x="8639143"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3" name="Freeform 2075"/>
            <p:cNvSpPr>
              <a:spLocks/>
            </p:cNvSpPr>
            <p:nvPr/>
          </p:nvSpPr>
          <p:spPr bwMode="auto">
            <a:xfrm>
              <a:off x="8785192"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4" name="Freeform 2076"/>
            <p:cNvSpPr>
              <a:spLocks/>
            </p:cNvSpPr>
            <p:nvPr/>
          </p:nvSpPr>
          <p:spPr bwMode="auto">
            <a:xfrm>
              <a:off x="9166191"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5" name="Freeform 2077"/>
            <p:cNvSpPr>
              <a:spLocks/>
            </p:cNvSpPr>
            <p:nvPr/>
          </p:nvSpPr>
          <p:spPr bwMode="auto">
            <a:xfrm>
              <a:off x="9312241"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6" name="Freeform 2078"/>
            <p:cNvSpPr>
              <a:spLocks/>
            </p:cNvSpPr>
            <p:nvPr/>
          </p:nvSpPr>
          <p:spPr bwMode="auto">
            <a:xfrm>
              <a:off x="9461465"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7" name="Freeform 2079"/>
            <p:cNvSpPr>
              <a:spLocks noEditPoints="1"/>
            </p:cNvSpPr>
            <p:nvPr/>
          </p:nvSpPr>
          <p:spPr bwMode="auto">
            <a:xfrm>
              <a:off x="9607515" y="0"/>
              <a:ext cx="155574"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8" name="Freeform 2080"/>
            <p:cNvSpPr>
              <a:spLocks noEditPoints="1"/>
            </p:cNvSpPr>
            <p:nvPr/>
          </p:nvSpPr>
          <p:spPr bwMode="auto">
            <a:xfrm>
              <a:off x="9826588" y="0"/>
              <a:ext cx="158749"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39" name="Freeform 2081"/>
            <p:cNvSpPr>
              <a:spLocks/>
            </p:cNvSpPr>
            <p:nvPr/>
          </p:nvSpPr>
          <p:spPr bwMode="auto">
            <a:xfrm>
              <a:off x="8931241" y="6350"/>
              <a:ext cx="76199"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0" name="Freeform 2082"/>
            <p:cNvSpPr>
              <a:spLocks/>
            </p:cNvSpPr>
            <p:nvPr/>
          </p:nvSpPr>
          <p:spPr bwMode="auto">
            <a:xfrm>
              <a:off x="8931241" y="6350"/>
              <a:ext cx="76199"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1" name="Freeform 2083"/>
            <p:cNvSpPr>
              <a:spLocks/>
            </p:cNvSpPr>
            <p:nvPr/>
          </p:nvSpPr>
          <p:spPr bwMode="auto">
            <a:xfrm>
              <a:off x="9026491"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2" name="Freeform 2084"/>
            <p:cNvSpPr>
              <a:spLocks/>
            </p:cNvSpPr>
            <p:nvPr/>
          </p:nvSpPr>
          <p:spPr bwMode="auto">
            <a:xfrm>
              <a:off x="9026491"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3" name="Freeform 2085"/>
            <p:cNvSpPr>
              <a:spLocks noEditPoints="1"/>
            </p:cNvSpPr>
            <p:nvPr/>
          </p:nvSpPr>
          <p:spPr bwMode="auto">
            <a:xfrm>
              <a:off x="10490161" y="0"/>
              <a:ext cx="155574"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4" name="Freeform 2086"/>
            <p:cNvSpPr>
              <a:spLocks noEditPoints="1"/>
            </p:cNvSpPr>
            <p:nvPr/>
          </p:nvSpPr>
          <p:spPr bwMode="auto">
            <a:xfrm>
              <a:off x="10855284" y="0"/>
              <a:ext cx="158749"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5" name="Freeform 2087"/>
            <p:cNvSpPr>
              <a:spLocks/>
            </p:cNvSpPr>
            <p:nvPr/>
          </p:nvSpPr>
          <p:spPr bwMode="auto">
            <a:xfrm>
              <a:off x="10709235"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6" name="Freeform 2088"/>
            <p:cNvSpPr>
              <a:spLocks noEditPoints="1"/>
            </p:cNvSpPr>
            <p:nvPr/>
          </p:nvSpPr>
          <p:spPr bwMode="auto">
            <a:xfrm>
              <a:off x="11074359" y="0"/>
              <a:ext cx="158749"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7" name="Freeform 2089"/>
            <p:cNvSpPr>
              <a:spLocks/>
            </p:cNvSpPr>
            <p:nvPr/>
          </p:nvSpPr>
          <p:spPr bwMode="auto">
            <a:xfrm>
              <a:off x="11296608" y="6350"/>
              <a:ext cx="76199"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8" name="Freeform 2090"/>
            <p:cNvSpPr>
              <a:spLocks/>
            </p:cNvSpPr>
            <p:nvPr/>
          </p:nvSpPr>
          <p:spPr bwMode="auto">
            <a:xfrm>
              <a:off x="11296608" y="6350"/>
              <a:ext cx="76199"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49" name="Freeform 2091"/>
            <p:cNvSpPr>
              <a:spLocks/>
            </p:cNvSpPr>
            <p:nvPr/>
          </p:nvSpPr>
          <p:spPr bwMode="auto">
            <a:xfrm>
              <a:off x="11391858"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0" name="Freeform 2092"/>
            <p:cNvSpPr>
              <a:spLocks/>
            </p:cNvSpPr>
            <p:nvPr/>
          </p:nvSpPr>
          <p:spPr bwMode="auto">
            <a:xfrm>
              <a:off x="11391858" y="6350"/>
              <a:ext cx="76199"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1" name="Freeform 2093"/>
            <p:cNvSpPr>
              <a:spLocks noEditPoints="1"/>
            </p:cNvSpPr>
            <p:nvPr/>
          </p:nvSpPr>
          <p:spPr bwMode="auto">
            <a:xfrm>
              <a:off x="11766506" y="0"/>
              <a:ext cx="158749"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2" name="Freeform 2094"/>
            <p:cNvSpPr>
              <a:spLocks/>
            </p:cNvSpPr>
            <p:nvPr/>
          </p:nvSpPr>
          <p:spPr bwMode="auto">
            <a:xfrm>
              <a:off x="11976055"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3" name="Freeform 2095"/>
            <p:cNvSpPr>
              <a:spLocks noEditPoints="1"/>
            </p:cNvSpPr>
            <p:nvPr/>
          </p:nvSpPr>
          <p:spPr bwMode="auto">
            <a:xfrm>
              <a:off x="11531557" y="12700"/>
              <a:ext cx="171450"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4" name="Freeform 2096"/>
            <p:cNvSpPr>
              <a:spLocks/>
            </p:cNvSpPr>
            <p:nvPr/>
          </p:nvSpPr>
          <p:spPr bwMode="auto">
            <a:xfrm>
              <a:off x="11601406" y="104775"/>
              <a:ext cx="34925"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5" name="Freeform 2097"/>
            <p:cNvSpPr>
              <a:spLocks/>
            </p:cNvSpPr>
            <p:nvPr/>
          </p:nvSpPr>
          <p:spPr bwMode="auto">
            <a:xfrm>
              <a:off x="11531558" y="12700"/>
              <a:ext cx="171450"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6" name="Freeform 2098"/>
            <p:cNvSpPr>
              <a:spLocks noEditPoints="1"/>
            </p:cNvSpPr>
            <p:nvPr/>
          </p:nvSpPr>
          <p:spPr bwMode="auto">
            <a:xfrm>
              <a:off x="7893021" y="3175"/>
              <a:ext cx="298449" cy="231775"/>
            </a:xfrm>
            <a:custGeom>
              <a:avLst/>
              <a:gdLst>
                <a:gd name="T0" fmla="*/ 120 w 188"/>
                <a:gd name="T1" fmla="*/ 112 h 146"/>
                <a:gd name="T2" fmla="*/ 114 w 188"/>
                <a:gd name="T3" fmla="*/ 130 h 146"/>
                <a:gd name="T4" fmla="*/ 8 w 188"/>
                <a:gd name="T5" fmla="*/ 104 h 146"/>
                <a:gd name="T6" fmla="*/ 24 w 188"/>
                <a:gd name="T7" fmla="*/ 116 h 146"/>
                <a:gd name="T8" fmla="*/ 12 w 188"/>
                <a:gd name="T9" fmla="*/ 120 h 146"/>
                <a:gd name="T10" fmla="*/ 10 w 188"/>
                <a:gd name="T11" fmla="*/ 50 h 146"/>
                <a:gd name="T12" fmla="*/ 10 w 188"/>
                <a:gd name="T13" fmla="*/ 66 h 146"/>
                <a:gd name="T14" fmla="*/ 14 w 188"/>
                <a:gd name="T15" fmla="*/ 64 h 146"/>
                <a:gd name="T16" fmla="*/ 8 w 188"/>
                <a:gd name="T17" fmla="*/ 68 h 146"/>
                <a:gd name="T18" fmla="*/ 10 w 188"/>
                <a:gd name="T19" fmla="*/ 50 h 146"/>
                <a:gd name="T20" fmla="*/ 116 w 188"/>
                <a:gd name="T21" fmla="*/ 4 h 146"/>
                <a:gd name="T22" fmla="*/ 150 w 188"/>
                <a:gd name="T23" fmla="*/ 22 h 146"/>
                <a:gd name="T24" fmla="*/ 154 w 188"/>
                <a:gd name="T25" fmla="*/ 42 h 146"/>
                <a:gd name="T26" fmla="*/ 146 w 188"/>
                <a:gd name="T27" fmla="*/ 52 h 146"/>
                <a:gd name="T28" fmla="*/ 152 w 188"/>
                <a:gd name="T29" fmla="*/ 56 h 146"/>
                <a:gd name="T30" fmla="*/ 160 w 188"/>
                <a:gd name="T31" fmla="*/ 60 h 146"/>
                <a:gd name="T32" fmla="*/ 174 w 188"/>
                <a:gd name="T33" fmla="*/ 30 h 146"/>
                <a:gd name="T34" fmla="*/ 186 w 188"/>
                <a:gd name="T35" fmla="*/ 56 h 146"/>
                <a:gd name="T36" fmla="*/ 158 w 188"/>
                <a:gd name="T37" fmla="*/ 88 h 146"/>
                <a:gd name="T38" fmla="*/ 130 w 188"/>
                <a:gd name="T39" fmla="*/ 98 h 146"/>
                <a:gd name="T40" fmla="*/ 144 w 188"/>
                <a:gd name="T41" fmla="*/ 92 h 146"/>
                <a:gd name="T42" fmla="*/ 138 w 188"/>
                <a:gd name="T43" fmla="*/ 102 h 146"/>
                <a:gd name="T44" fmla="*/ 108 w 188"/>
                <a:gd name="T45" fmla="*/ 88 h 146"/>
                <a:gd name="T46" fmla="*/ 100 w 188"/>
                <a:gd name="T47" fmla="*/ 128 h 146"/>
                <a:gd name="T48" fmla="*/ 78 w 188"/>
                <a:gd name="T49" fmla="*/ 140 h 146"/>
                <a:gd name="T50" fmla="*/ 80 w 188"/>
                <a:gd name="T51" fmla="*/ 118 h 146"/>
                <a:gd name="T52" fmla="*/ 68 w 188"/>
                <a:gd name="T53" fmla="*/ 116 h 146"/>
                <a:gd name="T54" fmla="*/ 54 w 188"/>
                <a:gd name="T55" fmla="*/ 112 h 146"/>
                <a:gd name="T56" fmla="*/ 48 w 188"/>
                <a:gd name="T57" fmla="*/ 138 h 146"/>
                <a:gd name="T58" fmla="*/ 26 w 188"/>
                <a:gd name="T59" fmla="*/ 130 h 146"/>
                <a:gd name="T60" fmla="*/ 18 w 188"/>
                <a:gd name="T61" fmla="*/ 96 h 146"/>
                <a:gd name="T62" fmla="*/ 30 w 188"/>
                <a:gd name="T63" fmla="*/ 46 h 146"/>
                <a:gd name="T64" fmla="*/ 44 w 188"/>
                <a:gd name="T65" fmla="*/ 54 h 146"/>
                <a:gd name="T66" fmla="*/ 50 w 188"/>
                <a:gd name="T67" fmla="*/ 84 h 146"/>
                <a:gd name="T68" fmla="*/ 64 w 188"/>
                <a:gd name="T69" fmla="*/ 98 h 146"/>
                <a:gd name="T70" fmla="*/ 96 w 188"/>
                <a:gd name="T71" fmla="*/ 84 h 146"/>
                <a:gd name="T72" fmla="*/ 94 w 188"/>
                <a:gd name="T73" fmla="*/ 60 h 146"/>
                <a:gd name="T74" fmla="*/ 72 w 188"/>
                <a:gd name="T75" fmla="*/ 92 h 146"/>
                <a:gd name="T76" fmla="*/ 54 w 188"/>
                <a:gd name="T77" fmla="*/ 84 h 146"/>
                <a:gd name="T78" fmla="*/ 46 w 188"/>
                <a:gd name="T79" fmla="*/ 66 h 146"/>
                <a:gd name="T80" fmla="*/ 76 w 188"/>
                <a:gd name="T81" fmla="*/ 24 h 146"/>
                <a:gd name="T82" fmla="*/ 114 w 188"/>
                <a:gd name="T83" fmla="*/ 0 h 146"/>
                <a:gd name="T84" fmla="*/ 74 w 188"/>
                <a:gd name="T85" fmla="*/ 22 h 146"/>
                <a:gd name="T86" fmla="*/ 34 w 188"/>
                <a:gd name="T87" fmla="*/ 40 h 146"/>
                <a:gd name="T88" fmla="*/ 12 w 188"/>
                <a:gd name="T89" fmla="*/ 54 h 146"/>
                <a:gd name="T90" fmla="*/ 4 w 188"/>
                <a:gd name="T91" fmla="*/ 50 h 146"/>
                <a:gd name="T92" fmla="*/ 12 w 188"/>
                <a:gd name="T93" fmla="*/ 72 h 146"/>
                <a:gd name="T94" fmla="*/ 6 w 188"/>
                <a:gd name="T95" fmla="*/ 102 h 146"/>
                <a:gd name="T96" fmla="*/ 24 w 188"/>
                <a:gd name="T97" fmla="*/ 128 h 146"/>
                <a:gd name="T98" fmla="*/ 34 w 188"/>
                <a:gd name="T99" fmla="*/ 142 h 146"/>
                <a:gd name="T100" fmla="*/ 52 w 188"/>
                <a:gd name="T101" fmla="*/ 136 h 146"/>
                <a:gd name="T102" fmla="*/ 66 w 188"/>
                <a:gd name="T103" fmla="*/ 128 h 146"/>
                <a:gd name="T104" fmla="*/ 90 w 188"/>
                <a:gd name="T105" fmla="*/ 142 h 146"/>
                <a:gd name="T106" fmla="*/ 120 w 188"/>
                <a:gd name="T107" fmla="*/ 132 h 146"/>
                <a:gd name="T108" fmla="*/ 120 w 188"/>
                <a:gd name="T109" fmla="*/ 104 h 146"/>
                <a:gd name="T110" fmla="*/ 134 w 188"/>
                <a:gd name="T111" fmla="*/ 104 h 146"/>
                <a:gd name="T112" fmla="*/ 152 w 188"/>
                <a:gd name="T113" fmla="*/ 90 h 146"/>
                <a:gd name="T114" fmla="*/ 186 w 188"/>
                <a:gd name="T115" fmla="*/ 72 h 146"/>
                <a:gd name="T116" fmla="*/ 180 w 188"/>
                <a:gd name="T117" fmla="*/ 24 h 146"/>
                <a:gd name="T118" fmla="*/ 164 w 188"/>
                <a:gd name="T119" fmla="*/ 34 h 146"/>
                <a:gd name="T120" fmla="*/ 138 w 188"/>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2" y="126"/>
                  </a:lnTo>
                  <a:lnTo>
                    <a:pt x="122" y="126"/>
                  </a:lnTo>
                  <a:lnTo>
                    <a:pt x="120" y="130"/>
                  </a:lnTo>
                  <a:lnTo>
                    <a:pt x="120" y="130"/>
                  </a:lnTo>
                  <a:lnTo>
                    <a:pt x="118" y="130"/>
                  </a:lnTo>
                  <a:lnTo>
                    <a:pt x="118" y="130"/>
                  </a:lnTo>
                  <a:lnTo>
                    <a:pt x="114" y="130"/>
                  </a:lnTo>
                  <a:lnTo>
                    <a:pt x="114" y="130"/>
                  </a:lnTo>
                  <a:lnTo>
                    <a:pt x="104" y="130"/>
                  </a:lnTo>
                  <a:lnTo>
                    <a:pt x="104" y="130"/>
                  </a:lnTo>
                  <a:lnTo>
                    <a:pt x="104" y="130"/>
                  </a:lnTo>
                  <a:close/>
                  <a:moveTo>
                    <a:pt x="8" y="112"/>
                  </a:moveTo>
                  <a:lnTo>
                    <a:pt x="8" y="112"/>
                  </a:lnTo>
                  <a:lnTo>
                    <a:pt x="6" y="108"/>
                  </a:lnTo>
                  <a:lnTo>
                    <a:pt x="6" y="108"/>
                  </a:lnTo>
                  <a:lnTo>
                    <a:pt x="8" y="104"/>
                  </a:lnTo>
                  <a:lnTo>
                    <a:pt x="8"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8" y="112"/>
                  </a:lnTo>
                  <a:close/>
                  <a:moveTo>
                    <a:pt x="10" y="50"/>
                  </a:move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68"/>
                  </a:lnTo>
                  <a:lnTo>
                    <a:pt x="12" y="68"/>
                  </a:lnTo>
                  <a:lnTo>
                    <a:pt x="10" y="70"/>
                  </a:lnTo>
                  <a:lnTo>
                    <a:pt x="10" y="70"/>
                  </a:lnTo>
                  <a:lnTo>
                    <a:pt x="8" y="68"/>
                  </a:lnTo>
                  <a:lnTo>
                    <a:pt x="8" y="68"/>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8" y="8"/>
                  </a:lnTo>
                  <a:lnTo>
                    <a:pt x="98"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8" y="40"/>
                  </a:lnTo>
                  <a:lnTo>
                    <a:pt x="158" y="40"/>
                  </a:lnTo>
                  <a:lnTo>
                    <a:pt x="160" y="44"/>
                  </a:lnTo>
                  <a:lnTo>
                    <a:pt x="160" y="44"/>
                  </a:lnTo>
                  <a:lnTo>
                    <a:pt x="148" y="46"/>
                  </a:lnTo>
                  <a:lnTo>
                    <a:pt x="148"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6" y="100"/>
                  </a:lnTo>
                  <a:lnTo>
                    <a:pt x="136" y="100"/>
                  </a:lnTo>
                  <a:lnTo>
                    <a:pt x="138" y="98"/>
                  </a:lnTo>
                  <a:lnTo>
                    <a:pt x="138" y="98"/>
                  </a:lnTo>
                  <a:lnTo>
                    <a:pt x="142" y="94"/>
                  </a:lnTo>
                  <a:lnTo>
                    <a:pt x="144" y="92"/>
                  </a:lnTo>
                  <a:lnTo>
                    <a:pt x="144" y="92"/>
                  </a:lnTo>
                  <a:lnTo>
                    <a:pt x="146" y="90"/>
                  </a:lnTo>
                  <a:lnTo>
                    <a:pt x="146" y="90"/>
                  </a:lnTo>
                  <a:lnTo>
                    <a:pt x="144" y="94"/>
                  </a:lnTo>
                  <a:lnTo>
                    <a:pt x="144" y="98"/>
                  </a:lnTo>
                  <a:lnTo>
                    <a:pt x="140" y="100"/>
                  </a:lnTo>
                  <a:lnTo>
                    <a:pt x="138" y="102"/>
                  </a:lnTo>
                  <a:lnTo>
                    <a:pt x="138" y="102"/>
                  </a:lnTo>
                  <a:lnTo>
                    <a:pt x="134" y="102"/>
                  </a:lnTo>
                  <a:lnTo>
                    <a:pt x="134" y="102"/>
                  </a:lnTo>
                  <a:lnTo>
                    <a:pt x="130" y="100"/>
                  </a:lnTo>
                  <a:lnTo>
                    <a:pt x="126" y="98"/>
                  </a:lnTo>
                  <a:lnTo>
                    <a:pt x="126" y="98"/>
                  </a:lnTo>
                  <a:lnTo>
                    <a:pt x="118" y="92"/>
                  </a:lnTo>
                  <a:lnTo>
                    <a:pt x="108" y="88"/>
                  </a:lnTo>
                  <a:lnTo>
                    <a:pt x="108" y="88"/>
                  </a:lnTo>
                  <a:lnTo>
                    <a:pt x="114" y="92"/>
                  </a:lnTo>
                  <a:lnTo>
                    <a:pt x="114" y="92"/>
                  </a:lnTo>
                  <a:lnTo>
                    <a:pt x="116" y="96"/>
                  </a:lnTo>
                  <a:lnTo>
                    <a:pt x="116" y="96"/>
                  </a:lnTo>
                  <a:lnTo>
                    <a:pt x="110" y="112"/>
                  </a:lnTo>
                  <a:lnTo>
                    <a:pt x="106" y="120"/>
                  </a:lnTo>
                  <a:lnTo>
                    <a:pt x="100" y="128"/>
                  </a:lnTo>
                  <a:lnTo>
                    <a:pt x="100" y="128"/>
                  </a:lnTo>
                  <a:lnTo>
                    <a:pt x="90" y="136"/>
                  </a:lnTo>
                  <a:lnTo>
                    <a:pt x="90" y="136"/>
                  </a:lnTo>
                  <a:lnTo>
                    <a:pt x="88" y="140"/>
                  </a:lnTo>
                  <a:lnTo>
                    <a:pt x="88" y="140"/>
                  </a:lnTo>
                  <a:lnTo>
                    <a:pt x="84" y="142"/>
                  </a:lnTo>
                  <a:lnTo>
                    <a:pt x="80" y="142"/>
                  </a:lnTo>
                  <a:lnTo>
                    <a:pt x="80" y="142"/>
                  </a:lnTo>
                  <a:lnTo>
                    <a:pt x="78" y="140"/>
                  </a:lnTo>
                  <a:lnTo>
                    <a:pt x="78" y="140"/>
                  </a:lnTo>
                  <a:lnTo>
                    <a:pt x="70" y="128"/>
                  </a:lnTo>
                  <a:lnTo>
                    <a:pt x="70" y="128"/>
                  </a:lnTo>
                  <a:lnTo>
                    <a:pt x="68" y="126"/>
                  </a:lnTo>
                  <a:lnTo>
                    <a:pt x="72" y="122"/>
                  </a:lnTo>
                  <a:lnTo>
                    <a:pt x="72" y="122"/>
                  </a:lnTo>
                  <a:lnTo>
                    <a:pt x="80" y="118"/>
                  </a:lnTo>
                  <a:lnTo>
                    <a:pt x="80" y="118"/>
                  </a:lnTo>
                  <a:lnTo>
                    <a:pt x="80" y="110"/>
                  </a:lnTo>
                  <a:lnTo>
                    <a:pt x="80" y="110"/>
                  </a:lnTo>
                  <a:lnTo>
                    <a:pt x="78" y="112"/>
                  </a:lnTo>
                  <a:lnTo>
                    <a:pt x="76" y="114"/>
                  </a:lnTo>
                  <a:lnTo>
                    <a:pt x="70" y="116"/>
                  </a:lnTo>
                  <a:lnTo>
                    <a:pt x="70" y="116"/>
                  </a:lnTo>
                  <a:lnTo>
                    <a:pt x="68" y="116"/>
                  </a:lnTo>
                  <a:lnTo>
                    <a:pt x="68" y="116"/>
                  </a:lnTo>
                  <a:lnTo>
                    <a:pt x="62" y="116"/>
                  </a:lnTo>
                  <a:lnTo>
                    <a:pt x="62" y="116"/>
                  </a:lnTo>
                  <a:lnTo>
                    <a:pt x="56" y="116"/>
                  </a:lnTo>
                  <a:lnTo>
                    <a:pt x="56"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6"/>
                  </a:lnTo>
                  <a:lnTo>
                    <a:pt x="16" y="88"/>
                  </a:lnTo>
                  <a:lnTo>
                    <a:pt x="16" y="78"/>
                  </a:lnTo>
                  <a:lnTo>
                    <a:pt x="16" y="78"/>
                  </a:lnTo>
                  <a:lnTo>
                    <a:pt x="18" y="68"/>
                  </a:lnTo>
                  <a:lnTo>
                    <a:pt x="20" y="60"/>
                  </a:lnTo>
                  <a:lnTo>
                    <a:pt x="24" y="52"/>
                  </a:lnTo>
                  <a:lnTo>
                    <a:pt x="30" y="46"/>
                  </a:lnTo>
                  <a:lnTo>
                    <a:pt x="30" y="46"/>
                  </a:lnTo>
                  <a:lnTo>
                    <a:pt x="44" y="38"/>
                  </a:lnTo>
                  <a:lnTo>
                    <a:pt x="58" y="34"/>
                  </a:lnTo>
                  <a:lnTo>
                    <a:pt x="58" y="34"/>
                  </a:lnTo>
                  <a:lnTo>
                    <a:pt x="60" y="34"/>
                  </a:lnTo>
                  <a:lnTo>
                    <a:pt x="60"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98"/>
                  </a:lnTo>
                  <a:lnTo>
                    <a:pt x="64" y="98"/>
                  </a:lnTo>
                  <a:lnTo>
                    <a:pt x="68" y="98"/>
                  </a:lnTo>
                  <a:lnTo>
                    <a:pt x="74" y="96"/>
                  </a:lnTo>
                  <a:lnTo>
                    <a:pt x="74" y="96"/>
                  </a:lnTo>
                  <a:lnTo>
                    <a:pt x="82" y="92"/>
                  </a:lnTo>
                  <a:lnTo>
                    <a:pt x="92" y="88"/>
                  </a:lnTo>
                  <a:lnTo>
                    <a:pt x="92" y="88"/>
                  </a:lnTo>
                  <a:lnTo>
                    <a:pt x="96" y="84"/>
                  </a:lnTo>
                  <a:lnTo>
                    <a:pt x="96" y="84"/>
                  </a:lnTo>
                  <a:lnTo>
                    <a:pt x="98" y="78"/>
                  </a:lnTo>
                  <a:lnTo>
                    <a:pt x="98" y="72"/>
                  </a:lnTo>
                  <a:lnTo>
                    <a:pt x="96" y="58"/>
                  </a:lnTo>
                  <a:lnTo>
                    <a:pt x="96" y="58"/>
                  </a:lnTo>
                  <a:lnTo>
                    <a:pt x="94" y="44"/>
                  </a:lnTo>
                  <a:lnTo>
                    <a:pt x="94" y="44"/>
                  </a:lnTo>
                  <a:lnTo>
                    <a:pt x="94" y="60"/>
                  </a:lnTo>
                  <a:lnTo>
                    <a:pt x="94" y="60"/>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4" y="86"/>
                  </a:lnTo>
                  <a:lnTo>
                    <a:pt x="54" y="84"/>
                  </a:lnTo>
                  <a:lnTo>
                    <a:pt x="54" y="84"/>
                  </a:lnTo>
                  <a:lnTo>
                    <a:pt x="58" y="76"/>
                  </a:lnTo>
                  <a:lnTo>
                    <a:pt x="58"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8" y="22"/>
                  </a:lnTo>
                  <a:lnTo>
                    <a:pt x="88" y="22"/>
                  </a:lnTo>
                  <a:lnTo>
                    <a:pt x="90" y="20"/>
                  </a:lnTo>
                  <a:lnTo>
                    <a:pt x="90" y="20"/>
                  </a:lnTo>
                  <a:lnTo>
                    <a:pt x="84" y="20"/>
                  </a:lnTo>
                  <a:close/>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7" name="Freeform 2099"/>
            <p:cNvSpPr>
              <a:spLocks/>
            </p:cNvSpPr>
            <p:nvPr/>
          </p:nvSpPr>
          <p:spPr bwMode="auto">
            <a:xfrm>
              <a:off x="8058121" y="165100"/>
              <a:ext cx="28574"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8" name="Freeform 2100"/>
            <p:cNvSpPr>
              <a:spLocks/>
            </p:cNvSpPr>
            <p:nvPr/>
          </p:nvSpPr>
          <p:spPr bwMode="auto">
            <a:xfrm>
              <a:off x="7902545" y="161925"/>
              <a:ext cx="28574"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59" name="Freeform 2101"/>
            <p:cNvSpPr>
              <a:spLocks/>
            </p:cNvSpPr>
            <p:nvPr/>
          </p:nvSpPr>
          <p:spPr bwMode="auto">
            <a:xfrm>
              <a:off x="7896196" y="82550"/>
              <a:ext cx="19050"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0 h 20"/>
                <a:gd name="T22" fmla="*/ 4 w 12"/>
                <a:gd name="T23" fmla="*/ 10 h 20"/>
                <a:gd name="T24" fmla="*/ 6 w 12"/>
                <a:gd name="T25" fmla="*/ 14 h 20"/>
                <a:gd name="T26" fmla="*/ 6 w 12"/>
                <a:gd name="T27" fmla="*/ 14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18 h 20"/>
                <a:gd name="T52" fmla="*/ 10 w 12"/>
                <a:gd name="T53" fmla="*/ 18 h 20"/>
                <a:gd name="T54" fmla="*/ 8 w 12"/>
                <a:gd name="T55" fmla="*/ 20 h 20"/>
                <a:gd name="T56" fmla="*/ 8 w 12"/>
                <a:gd name="T57" fmla="*/ 20 h 20"/>
                <a:gd name="T58" fmla="*/ 6 w 12"/>
                <a:gd name="T59" fmla="*/ 18 h 20"/>
                <a:gd name="T60" fmla="*/ 6 w 12"/>
                <a:gd name="T61" fmla="*/ 18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18"/>
                  </a:lnTo>
                  <a:lnTo>
                    <a:pt x="10" y="18"/>
                  </a:lnTo>
                  <a:lnTo>
                    <a:pt x="8" y="20"/>
                  </a:lnTo>
                  <a:lnTo>
                    <a:pt x="8" y="20"/>
                  </a:lnTo>
                  <a:lnTo>
                    <a:pt x="6" y="18"/>
                  </a:lnTo>
                  <a:lnTo>
                    <a:pt x="6" y="18"/>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0" name="Freeform 2102"/>
            <p:cNvSpPr>
              <a:spLocks/>
            </p:cNvSpPr>
            <p:nvPr/>
          </p:nvSpPr>
          <p:spPr bwMode="auto">
            <a:xfrm>
              <a:off x="7918421" y="9525"/>
              <a:ext cx="269874"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2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4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2" y="36"/>
                  </a:lnTo>
                  <a:lnTo>
                    <a:pt x="142" y="36"/>
                  </a:lnTo>
                  <a:lnTo>
                    <a:pt x="144" y="40"/>
                  </a:lnTo>
                  <a:lnTo>
                    <a:pt x="144" y="40"/>
                  </a:lnTo>
                  <a:lnTo>
                    <a:pt x="132" y="42"/>
                  </a:lnTo>
                  <a:lnTo>
                    <a:pt x="132"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28"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4" y="132"/>
                  </a:lnTo>
                  <a:lnTo>
                    <a:pt x="74" y="132"/>
                  </a:lnTo>
                  <a:lnTo>
                    <a:pt x="72" y="136"/>
                  </a:lnTo>
                  <a:lnTo>
                    <a:pt x="72" y="136"/>
                  </a:lnTo>
                  <a:lnTo>
                    <a:pt x="68" y="138"/>
                  </a:lnTo>
                  <a:lnTo>
                    <a:pt x="64" y="138"/>
                  </a:lnTo>
                  <a:lnTo>
                    <a:pt x="64" y="138"/>
                  </a:lnTo>
                  <a:lnTo>
                    <a:pt x="62" y="136"/>
                  </a:lnTo>
                  <a:lnTo>
                    <a:pt x="62" y="136"/>
                  </a:lnTo>
                  <a:lnTo>
                    <a:pt x="54" y="124"/>
                  </a:lnTo>
                  <a:lnTo>
                    <a:pt x="54" y="124"/>
                  </a:lnTo>
                  <a:lnTo>
                    <a:pt x="52" y="122"/>
                  </a:lnTo>
                  <a:lnTo>
                    <a:pt x="56" y="118"/>
                  </a:lnTo>
                  <a:lnTo>
                    <a:pt x="56" y="118"/>
                  </a:lnTo>
                  <a:lnTo>
                    <a:pt x="64" y="114"/>
                  </a:lnTo>
                  <a:lnTo>
                    <a:pt x="64" y="114"/>
                  </a:lnTo>
                  <a:lnTo>
                    <a:pt x="64" y="106"/>
                  </a:lnTo>
                  <a:lnTo>
                    <a:pt x="64" y="106"/>
                  </a:lnTo>
                  <a:lnTo>
                    <a:pt x="62" y="108"/>
                  </a:lnTo>
                  <a:lnTo>
                    <a:pt x="60" y="110"/>
                  </a:lnTo>
                  <a:lnTo>
                    <a:pt x="54" y="112"/>
                  </a:lnTo>
                  <a:lnTo>
                    <a:pt x="54"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8" y="48"/>
                  </a:lnTo>
                  <a:lnTo>
                    <a:pt x="14" y="42"/>
                  </a:lnTo>
                  <a:lnTo>
                    <a:pt x="14"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2" y="18"/>
                  </a:lnTo>
                  <a:lnTo>
                    <a:pt x="72"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1" name="Freeform 2103"/>
            <p:cNvSpPr>
              <a:spLocks/>
            </p:cNvSpPr>
            <p:nvPr/>
          </p:nvSpPr>
          <p:spPr bwMode="auto">
            <a:xfrm>
              <a:off x="7893021" y="3175"/>
              <a:ext cx="298449"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6 h 146"/>
                <a:gd name="T34" fmla="*/ 6 w 188"/>
                <a:gd name="T35" fmla="*/ 118 h 146"/>
                <a:gd name="T36" fmla="*/ 16 w 188"/>
                <a:gd name="T37" fmla="*/ 124 h 146"/>
                <a:gd name="T38" fmla="*/ 22 w 188"/>
                <a:gd name="T39" fmla="*/ 130 h 146"/>
                <a:gd name="T40" fmla="*/ 24 w 188"/>
                <a:gd name="T41" fmla="*/ 138 h 146"/>
                <a:gd name="T42" fmla="*/ 34 w 188"/>
                <a:gd name="T43" fmla="*/ 142 h 146"/>
                <a:gd name="T44" fmla="*/ 46 w 188"/>
                <a:gd name="T45" fmla="*/ 144 h 146"/>
                <a:gd name="T46" fmla="*/ 50 w 188"/>
                <a:gd name="T47" fmla="*/ 142 h 146"/>
                <a:gd name="T48" fmla="*/ 52 w 188"/>
                <a:gd name="T49" fmla="*/ 130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0"/>
                  </a:lnTo>
                  <a:lnTo>
                    <a:pt x="98" y="4"/>
                  </a:lnTo>
                  <a:lnTo>
                    <a:pt x="92" y="6"/>
                  </a:lnTo>
                  <a:lnTo>
                    <a:pt x="86" y="12"/>
                  </a:lnTo>
                  <a:lnTo>
                    <a:pt x="86" y="12"/>
                  </a:lnTo>
                  <a:lnTo>
                    <a:pt x="80" y="18"/>
                  </a:lnTo>
                  <a:lnTo>
                    <a:pt x="76" y="20"/>
                  </a:lnTo>
                  <a:lnTo>
                    <a:pt x="74" y="22"/>
                  </a:lnTo>
                  <a:lnTo>
                    <a:pt x="74" y="22"/>
                  </a:lnTo>
                  <a:lnTo>
                    <a:pt x="70" y="22"/>
                  </a:lnTo>
                  <a:lnTo>
                    <a:pt x="70" y="22"/>
                  </a:lnTo>
                  <a:lnTo>
                    <a:pt x="64" y="28"/>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4" y="90"/>
                  </a:lnTo>
                  <a:lnTo>
                    <a:pt x="12" y="94"/>
                  </a:lnTo>
                  <a:lnTo>
                    <a:pt x="10" y="98"/>
                  </a:lnTo>
                  <a:lnTo>
                    <a:pt x="6" y="102"/>
                  </a:lnTo>
                  <a:lnTo>
                    <a:pt x="6" y="102"/>
                  </a:lnTo>
                  <a:lnTo>
                    <a:pt x="4" y="106"/>
                  </a:lnTo>
                  <a:lnTo>
                    <a:pt x="4" y="112"/>
                  </a:lnTo>
                  <a:lnTo>
                    <a:pt x="4" y="112"/>
                  </a:lnTo>
                  <a:lnTo>
                    <a:pt x="6" y="118"/>
                  </a:lnTo>
                  <a:lnTo>
                    <a:pt x="10" y="120"/>
                  </a:lnTo>
                  <a:lnTo>
                    <a:pt x="10" y="120"/>
                  </a:lnTo>
                  <a:lnTo>
                    <a:pt x="16" y="124"/>
                  </a:lnTo>
                  <a:lnTo>
                    <a:pt x="24" y="128"/>
                  </a:lnTo>
                  <a:lnTo>
                    <a:pt x="24" y="128"/>
                  </a:lnTo>
                  <a:lnTo>
                    <a:pt x="22" y="130"/>
                  </a:lnTo>
                  <a:lnTo>
                    <a:pt x="22" y="130"/>
                  </a:lnTo>
                  <a:lnTo>
                    <a:pt x="22" y="136"/>
                  </a:lnTo>
                  <a:lnTo>
                    <a:pt x="24" y="138"/>
                  </a:lnTo>
                  <a:lnTo>
                    <a:pt x="26" y="138"/>
                  </a:lnTo>
                  <a:lnTo>
                    <a:pt x="26" y="138"/>
                  </a:lnTo>
                  <a:lnTo>
                    <a:pt x="34" y="142"/>
                  </a:lnTo>
                  <a:lnTo>
                    <a:pt x="44" y="144"/>
                  </a:lnTo>
                  <a:lnTo>
                    <a:pt x="44" y="144"/>
                  </a:lnTo>
                  <a:lnTo>
                    <a:pt x="46" y="144"/>
                  </a:lnTo>
                  <a:lnTo>
                    <a:pt x="46" y="144"/>
                  </a:lnTo>
                  <a:lnTo>
                    <a:pt x="48" y="142"/>
                  </a:lnTo>
                  <a:lnTo>
                    <a:pt x="50" y="142"/>
                  </a:lnTo>
                  <a:lnTo>
                    <a:pt x="52" y="136"/>
                  </a:lnTo>
                  <a:lnTo>
                    <a:pt x="52" y="136"/>
                  </a:lnTo>
                  <a:lnTo>
                    <a:pt x="52" y="130"/>
                  </a:lnTo>
                  <a:lnTo>
                    <a:pt x="52" y="130"/>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8" y="134"/>
                  </a:lnTo>
                  <a:lnTo>
                    <a:pt x="118" y="134"/>
                  </a:lnTo>
                  <a:lnTo>
                    <a:pt x="120" y="132"/>
                  </a:lnTo>
                  <a:lnTo>
                    <a:pt x="124" y="130"/>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2" name="Freeform 2104"/>
            <p:cNvSpPr>
              <a:spLocks/>
            </p:cNvSpPr>
            <p:nvPr/>
          </p:nvSpPr>
          <p:spPr bwMode="auto">
            <a:xfrm>
              <a:off x="7902545" y="161925"/>
              <a:ext cx="28574"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3" name="Freeform 2105"/>
            <p:cNvSpPr>
              <a:spLocks/>
            </p:cNvSpPr>
            <p:nvPr/>
          </p:nvSpPr>
          <p:spPr bwMode="auto">
            <a:xfrm>
              <a:off x="7902545" y="161925"/>
              <a:ext cx="28574"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8 w 18"/>
                <a:gd name="T31" fmla="*/ 16 h 22"/>
                <a:gd name="T32" fmla="*/ 18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2" y="12"/>
                  </a:lnTo>
                  <a:lnTo>
                    <a:pt x="2" y="12"/>
                  </a:lnTo>
                  <a:lnTo>
                    <a:pt x="6" y="18"/>
                  </a:lnTo>
                  <a:lnTo>
                    <a:pt x="10" y="20"/>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4" name="Freeform 2106"/>
            <p:cNvSpPr>
              <a:spLocks/>
            </p:cNvSpPr>
            <p:nvPr/>
          </p:nvSpPr>
          <p:spPr bwMode="auto">
            <a:xfrm>
              <a:off x="7902545" y="16192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5" name="Freeform 2107"/>
            <p:cNvSpPr>
              <a:spLocks/>
            </p:cNvSpPr>
            <p:nvPr/>
          </p:nvSpPr>
          <p:spPr bwMode="auto">
            <a:xfrm>
              <a:off x="7902545" y="161925"/>
              <a:ext cx="12700" cy="19050"/>
            </a:xfrm>
            <a:custGeom>
              <a:avLst/>
              <a:gdLst>
                <a:gd name="T0" fmla="*/ 8 w 8"/>
                <a:gd name="T1" fmla="*/ 0 h 12"/>
                <a:gd name="T2" fmla="*/ 8 w 8"/>
                <a:gd name="T3" fmla="*/ 0 h 12"/>
                <a:gd name="T4" fmla="*/ 2 w 8"/>
                <a:gd name="T5" fmla="*/ 4 h 12"/>
                <a:gd name="T6" fmla="*/ 2 w 8"/>
                <a:gd name="T7" fmla="*/ 4 h 12"/>
                <a:gd name="T8" fmla="*/ 0 w 8"/>
                <a:gd name="T9" fmla="*/ 8 h 12"/>
                <a:gd name="T10" fmla="*/ 0 w 8"/>
                <a:gd name="T11" fmla="*/ 8 h 12"/>
                <a:gd name="T12" fmla="*/ 2 w 8"/>
                <a:gd name="T13" fmla="*/ 12 h 12"/>
                <a:gd name="T14" fmla="*/ 2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6" name="Freeform 2108"/>
            <p:cNvSpPr>
              <a:spLocks/>
            </p:cNvSpPr>
            <p:nvPr/>
          </p:nvSpPr>
          <p:spPr bwMode="auto">
            <a:xfrm>
              <a:off x="8058121" y="16827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7" name="Freeform 2109"/>
            <p:cNvSpPr>
              <a:spLocks/>
            </p:cNvSpPr>
            <p:nvPr/>
          </p:nvSpPr>
          <p:spPr bwMode="auto">
            <a:xfrm>
              <a:off x="8058121" y="168275"/>
              <a:ext cx="2540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6 h 26"/>
                <a:gd name="T18" fmla="*/ 16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8" name="Freeform 2110"/>
            <p:cNvSpPr>
              <a:spLocks/>
            </p:cNvSpPr>
            <p:nvPr/>
          </p:nvSpPr>
          <p:spPr bwMode="auto">
            <a:xfrm>
              <a:off x="8058121" y="165100"/>
              <a:ext cx="28574"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69" name="Freeform 2111"/>
            <p:cNvSpPr>
              <a:spLocks/>
            </p:cNvSpPr>
            <p:nvPr/>
          </p:nvSpPr>
          <p:spPr bwMode="auto">
            <a:xfrm>
              <a:off x="8058121" y="165100"/>
              <a:ext cx="28574"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6 w 18"/>
                <a:gd name="T21" fmla="*/ 24 h 28"/>
                <a:gd name="T22" fmla="*/ 16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0" name="Freeform 2112"/>
            <p:cNvSpPr>
              <a:spLocks/>
            </p:cNvSpPr>
            <p:nvPr/>
          </p:nvSpPr>
          <p:spPr bwMode="auto">
            <a:xfrm>
              <a:off x="7896196" y="8255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1" name="Freeform 2113"/>
            <p:cNvSpPr>
              <a:spLocks/>
            </p:cNvSpPr>
            <p:nvPr/>
          </p:nvSpPr>
          <p:spPr bwMode="auto">
            <a:xfrm>
              <a:off x="7896196" y="82550"/>
              <a:ext cx="19050"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4 h 20"/>
                <a:gd name="T46" fmla="*/ 6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12" y="18"/>
                  </a:lnTo>
                  <a:lnTo>
                    <a:pt x="12" y="14"/>
                  </a:lnTo>
                  <a:lnTo>
                    <a:pt x="12" y="14"/>
                  </a:lnTo>
                  <a:lnTo>
                    <a:pt x="10" y="16"/>
                  </a:lnTo>
                  <a:lnTo>
                    <a:pt x="10" y="16"/>
                  </a:lnTo>
                  <a:lnTo>
                    <a:pt x="8" y="16"/>
                  </a:lnTo>
                  <a:lnTo>
                    <a:pt x="8" y="16"/>
                  </a:lnTo>
                  <a:lnTo>
                    <a:pt x="6" y="14"/>
                  </a:lnTo>
                  <a:lnTo>
                    <a:pt x="6"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2" name="Freeform 2114"/>
            <p:cNvSpPr>
              <a:spLocks noEditPoints="1"/>
            </p:cNvSpPr>
            <p:nvPr/>
          </p:nvSpPr>
          <p:spPr bwMode="auto">
            <a:xfrm>
              <a:off x="7896196" y="82550"/>
              <a:ext cx="19050"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18 h 20"/>
                <a:gd name="T34" fmla="*/ 6 w 12"/>
                <a:gd name="T35" fmla="*/ 18 h 20"/>
                <a:gd name="T36" fmla="*/ 8 w 12"/>
                <a:gd name="T37" fmla="*/ 20 h 20"/>
                <a:gd name="T38" fmla="*/ 8 w 12"/>
                <a:gd name="T39" fmla="*/ 20 h 20"/>
                <a:gd name="T40" fmla="*/ 10 w 12"/>
                <a:gd name="T41" fmla="*/ 18 h 20"/>
                <a:gd name="T42" fmla="*/ 10 w 12"/>
                <a:gd name="T43" fmla="*/ 18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3" name="Freeform 2115"/>
            <p:cNvSpPr>
              <a:spLocks/>
            </p:cNvSpPr>
            <p:nvPr/>
          </p:nvSpPr>
          <p:spPr bwMode="auto">
            <a:xfrm>
              <a:off x="7912071" y="104775"/>
              <a:ext cx="3175"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4" name="Freeform 2116"/>
            <p:cNvSpPr>
              <a:spLocks/>
            </p:cNvSpPr>
            <p:nvPr/>
          </p:nvSpPr>
          <p:spPr bwMode="auto">
            <a:xfrm>
              <a:off x="7896196" y="82550"/>
              <a:ext cx="15875"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5" name="Freeform 2117"/>
            <p:cNvSpPr>
              <a:spLocks noEditPoints="1"/>
            </p:cNvSpPr>
            <p:nvPr/>
          </p:nvSpPr>
          <p:spPr bwMode="auto">
            <a:xfrm>
              <a:off x="8080346" y="63500"/>
              <a:ext cx="28574" cy="22225"/>
            </a:xfrm>
            <a:custGeom>
              <a:avLst/>
              <a:gdLst>
                <a:gd name="T0" fmla="*/ 6 w 18"/>
                <a:gd name="T1" fmla="*/ 8 h 14"/>
                <a:gd name="T2" fmla="*/ 6 w 18"/>
                <a:gd name="T3" fmla="*/ 8 h 14"/>
                <a:gd name="T4" fmla="*/ 8 w 18"/>
                <a:gd name="T5" fmla="*/ 6 h 14"/>
                <a:gd name="T6" fmla="*/ 8 w 18"/>
                <a:gd name="T7" fmla="*/ 6 h 14"/>
                <a:gd name="T8" fmla="*/ 10 w 18"/>
                <a:gd name="T9" fmla="*/ 8 h 14"/>
                <a:gd name="T10" fmla="*/ 10 w 18"/>
                <a:gd name="T11" fmla="*/ 8 h 14"/>
                <a:gd name="T12" fmla="*/ 10 w 18"/>
                <a:gd name="T13" fmla="*/ 8 h 14"/>
                <a:gd name="T14" fmla="*/ 10 w 18"/>
                <a:gd name="T15" fmla="*/ 8 h 14"/>
                <a:gd name="T16" fmla="*/ 10 w 18"/>
                <a:gd name="T17" fmla="*/ 8 h 14"/>
                <a:gd name="T18" fmla="*/ 10 w 18"/>
                <a:gd name="T19" fmla="*/ 8 h 14"/>
                <a:gd name="T20" fmla="*/ 6 w 18"/>
                <a:gd name="T21" fmla="*/ 12 h 14"/>
                <a:gd name="T22" fmla="*/ 6 w 18"/>
                <a:gd name="T23" fmla="*/ 12 h 14"/>
                <a:gd name="T24" fmla="*/ 4 w 18"/>
                <a:gd name="T25" fmla="*/ 10 h 14"/>
                <a:gd name="T26" fmla="*/ 4 w 18"/>
                <a:gd name="T27" fmla="*/ 10 h 14"/>
                <a:gd name="T28" fmla="*/ 6 w 18"/>
                <a:gd name="T29" fmla="*/ 8 h 14"/>
                <a:gd name="T30" fmla="*/ 14 w 18"/>
                <a:gd name="T31" fmla="*/ 0 h 14"/>
                <a:gd name="T32" fmla="*/ 14 w 18"/>
                <a:gd name="T33" fmla="*/ 0 h 14"/>
                <a:gd name="T34" fmla="*/ 6 w 18"/>
                <a:gd name="T35" fmla="*/ 2 h 14"/>
                <a:gd name="T36" fmla="*/ 0 w 18"/>
                <a:gd name="T37" fmla="*/ 10 h 14"/>
                <a:gd name="T38" fmla="*/ 0 w 18"/>
                <a:gd name="T39" fmla="*/ 10 h 14"/>
                <a:gd name="T40" fmla="*/ 2 w 18"/>
                <a:gd name="T41" fmla="*/ 8 h 14"/>
                <a:gd name="T42" fmla="*/ 2 w 18"/>
                <a:gd name="T43" fmla="*/ 8 h 14"/>
                <a:gd name="T44" fmla="*/ 6 w 18"/>
                <a:gd name="T45" fmla="*/ 14 h 14"/>
                <a:gd name="T46" fmla="*/ 6 w 18"/>
                <a:gd name="T47" fmla="*/ 14 h 14"/>
                <a:gd name="T48" fmla="*/ 18 w 18"/>
                <a:gd name="T49" fmla="*/ 6 h 14"/>
                <a:gd name="T50" fmla="*/ 18 w 18"/>
                <a:gd name="T51" fmla="*/ 6 h 14"/>
                <a:gd name="T52" fmla="*/ 14 w 18"/>
                <a:gd name="T53" fmla="*/ 4 h 14"/>
                <a:gd name="T54" fmla="*/ 14 w 18"/>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4">
                  <a:moveTo>
                    <a:pt x="6" y="8"/>
                  </a:moveTo>
                  <a:lnTo>
                    <a:pt x="6" y="8"/>
                  </a:lnTo>
                  <a:lnTo>
                    <a:pt x="8" y="6"/>
                  </a:lnTo>
                  <a:lnTo>
                    <a:pt x="8" y="6"/>
                  </a:lnTo>
                  <a:lnTo>
                    <a:pt x="10" y="8"/>
                  </a:lnTo>
                  <a:lnTo>
                    <a:pt x="10" y="8"/>
                  </a:lnTo>
                  <a:lnTo>
                    <a:pt x="10" y="8"/>
                  </a:lnTo>
                  <a:lnTo>
                    <a:pt x="10" y="8"/>
                  </a:lnTo>
                  <a:lnTo>
                    <a:pt x="10" y="8"/>
                  </a:lnTo>
                  <a:lnTo>
                    <a:pt x="10"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6" name="Freeform 2118"/>
            <p:cNvSpPr>
              <a:spLocks/>
            </p:cNvSpPr>
            <p:nvPr/>
          </p:nvSpPr>
          <p:spPr bwMode="auto">
            <a:xfrm>
              <a:off x="8086695" y="73025"/>
              <a:ext cx="9525" cy="9525"/>
            </a:xfrm>
            <a:custGeom>
              <a:avLst/>
              <a:gdLst>
                <a:gd name="T0" fmla="*/ 2 w 6"/>
                <a:gd name="T1" fmla="*/ 2 h 6"/>
                <a:gd name="T2" fmla="*/ 2 w 6"/>
                <a:gd name="T3" fmla="*/ 2 h 6"/>
                <a:gd name="T4" fmla="*/ 4 w 6"/>
                <a:gd name="T5" fmla="*/ 0 h 6"/>
                <a:gd name="T6" fmla="*/ 4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2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2" y="2"/>
                  </a:moveTo>
                  <a:lnTo>
                    <a:pt x="2" y="2"/>
                  </a:lnTo>
                  <a:lnTo>
                    <a:pt x="4" y="0"/>
                  </a:lnTo>
                  <a:lnTo>
                    <a:pt x="4" y="0"/>
                  </a:lnTo>
                  <a:lnTo>
                    <a:pt x="6" y="2"/>
                  </a:lnTo>
                  <a:lnTo>
                    <a:pt x="6" y="2"/>
                  </a:lnTo>
                  <a:lnTo>
                    <a:pt x="6" y="2"/>
                  </a:lnTo>
                  <a:lnTo>
                    <a:pt x="6" y="2"/>
                  </a:lnTo>
                  <a:lnTo>
                    <a:pt x="6" y="2"/>
                  </a:lnTo>
                  <a:lnTo>
                    <a:pt x="6"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7" name="Freeform 2119"/>
            <p:cNvSpPr>
              <a:spLocks/>
            </p:cNvSpPr>
            <p:nvPr/>
          </p:nvSpPr>
          <p:spPr bwMode="auto">
            <a:xfrm>
              <a:off x="8080346" y="63500"/>
              <a:ext cx="28574" cy="22225"/>
            </a:xfrm>
            <a:custGeom>
              <a:avLst/>
              <a:gdLst>
                <a:gd name="T0" fmla="*/ 14 w 18"/>
                <a:gd name="T1" fmla="*/ 0 h 14"/>
                <a:gd name="T2" fmla="*/ 14 w 18"/>
                <a:gd name="T3" fmla="*/ 0 h 14"/>
                <a:gd name="T4" fmla="*/ 6 w 18"/>
                <a:gd name="T5" fmla="*/ 2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4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2"/>
                  </a:lnTo>
                  <a:lnTo>
                    <a:pt x="0" y="10"/>
                  </a:lnTo>
                  <a:lnTo>
                    <a:pt x="0" y="10"/>
                  </a:lnTo>
                  <a:lnTo>
                    <a:pt x="2" y="8"/>
                  </a:lnTo>
                  <a:lnTo>
                    <a:pt x="2" y="8"/>
                  </a:lnTo>
                  <a:lnTo>
                    <a:pt x="6" y="14"/>
                  </a:lnTo>
                  <a:lnTo>
                    <a:pt x="6" y="14"/>
                  </a:lnTo>
                  <a:lnTo>
                    <a:pt x="18" y="6"/>
                  </a:lnTo>
                  <a:lnTo>
                    <a:pt x="18" y="6"/>
                  </a:lnTo>
                  <a:lnTo>
                    <a:pt x="14"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8" name="Freeform 2120"/>
            <p:cNvSpPr>
              <a:spLocks/>
            </p:cNvSpPr>
            <p:nvPr/>
          </p:nvSpPr>
          <p:spPr bwMode="auto">
            <a:xfrm>
              <a:off x="8007320" y="4762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79" name="Freeform 2121"/>
            <p:cNvSpPr>
              <a:spLocks/>
            </p:cNvSpPr>
            <p:nvPr/>
          </p:nvSpPr>
          <p:spPr bwMode="auto">
            <a:xfrm>
              <a:off x="8007320" y="47625"/>
              <a:ext cx="31750" cy="28575"/>
            </a:xfrm>
            <a:custGeom>
              <a:avLst/>
              <a:gdLst>
                <a:gd name="T0" fmla="*/ 16 w 20"/>
                <a:gd name="T1" fmla="*/ 0 h 18"/>
                <a:gd name="T2" fmla="*/ 16 w 20"/>
                <a:gd name="T3" fmla="*/ 0 h 18"/>
                <a:gd name="T4" fmla="*/ 8 w 20"/>
                <a:gd name="T5" fmla="*/ 0 h 18"/>
                <a:gd name="T6" fmla="*/ 4 w 20"/>
                <a:gd name="T7" fmla="*/ 4 h 18"/>
                <a:gd name="T8" fmla="*/ 2 w 20"/>
                <a:gd name="T9" fmla="*/ 10 h 18"/>
                <a:gd name="T10" fmla="*/ 0 w 20"/>
                <a:gd name="T11" fmla="*/ 18 h 18"/>
                <a:gd name="T12" fmla="*/ 0 w 20"/>
                <a:gd name="T13" fmla="*/ 18 h 18"/>
                <a:gd name="T14" fmla="*/ 6 w 20"/>
                <a:gd name="T15" fmla="*/ 6 h 18"/>
                <a:gd name="T16" fmla="*/ 6 w 20"/>
                <a:gd name="T17" fmla="*/ 6 h 18"/>
                <a:gd name="T18" fmla="*/ 6 w 20"/>
                <a:gd name="T19" fmla="*/ 6 h 18"/>
                <a:gd name="T20" fmla="*/ 8 w 20"/>
                <a:gd name="T21" fmla="*/ 10 h 18"/>
                <a:gd name="T22" fmla="*/ 8 w 20"/>
                <a:gd name="T23" fmla="*/ 10 h 18"/>
                <a:gd name="T24" fmla="*/ 12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8" y="0"/>
                  </a:lnTo>
                  <a:lnTo>
                    <a:pt x="4" y="4"/>
                  </a:lnTo>
                  <a:lnTo>
                    <a:pt x="2" y="10"/>
                  </a:lnTo>
                  <a:lnTo>
                    <a:pt x="0" y="18"/>
                  </a:lnTo>
                  <a:lnTo>
                    <a:pt x="0" y="18"/>
                  </a:lnTo>
                  <a:lnTo>
                    <a:pt x="6" y="6"/>
                  </a:lnTo>
                  <a:lnTo>
                    <a:pt x="6" y="6"/>
                  </a:lnTo>
                  <a:lnTo>
                    <a:pt x="6" y="6"/>
                  </a:lnTo>
                  <a:lnTo>
                    <a:pt x="8" y="10"/>
                  </a:lnTo>
                  <a:lnTo>
                    <a:pt x="8" y="10"/>
                  </a:lnTo>
                  <a:lnTo>
                    <a:pt x="12"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0" name="Freeform 2122"/>
            <p:cNvSpPr>
              <a:spLocks/>
            </p:cNvSpPr>
            <p:nvPr/>
          </p:nvSpPr>
          <p:spPr bwMode="auto">
            <a:xfrm>
              <a:off x="8156545" y="5080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1" name="Freeform 2123"/>
            <p:cNvSpPr>
              <a:spLocks/>
            </p:cNvSpPr>
            <p:nvPr/>
          </p:nvSpPr>
          <p:spPr bwMode="auto">
            <a:xfrm>
              <a:off x="8156545" y="50800"/>
              <a:ext cx="15875"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2" name="Freeform 2124"/>
            <p:cNvSpPr>
              <a:spLocks/>
            </p:cNvSpPr>
            <p:nvPr/>
          </p:nvSpPr>
          <p:spPr bwMode="auto">
            <a:xfrm>
              <a:off x="8070821" y="4762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3" name="Freeform 2125"/>
            <p:cNvSpPr>
              <a:spLocks/>
            </p:cNvSpPr>
            <p:nvPr/>
          </p:nvSpPr>
          <p:spPr bwMode="auto">
            <a:xfrm>
              <a:off x="8070821" y="47625"/>
              <a:ext cx="9525"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4" name="Freeform 2126"/>
            <p:cNvSpPr>
              <a:spLocks/>
            </p:cNvSpPr>
            <p:nvPr/>
          </p:nvSpPr>
          <p:spPr bwMode="auto">
            <a:xfrm>
              <a:off x="8093046" y="12700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5" name="Freeform 2127"/>
            <p:cNvSpPr>
              <a:spLocks/>
            </p:cNvSpPr>
            <p:nvPr/>
          </p:nvSpPr>
          <p:spPr bwMode="auto">
            <a:xfrm>
              <a:off x="8093046" y="127000"/>
              <a:ext cx="6350"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6" name="Freeform 2128"/>
            <p:cNvSpPr>
              <a:spLocks/>
            </p:cNvSpPr>
            <p:nvPr/>
          </p:nvSpPr>
          <p:spPr bwMode="auto">
            <a:xfrm>
              <a:off x="8086695" y="7620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close/>
                </a:path>
              </a:pathLst>
            </a:custGeom>
            <a:solidFill>
              <a:srgbClr val="ACD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7" name="Freeform 2129"/>
            <p:cNvSpPr>
              <a:spLocks/>
            </p:cNvSpPr>
            <p:nvPr/>
          </p:nvSpPr>
          <p:spPr bwMode="auto">
            <a:xfrm>
              <a:off x="8086695" y="76200"/>
              <a:ext cx="9525" cy="6350"/>
            </a:xfrm>
            <a:custGeom>
              <a:avLst/>
              <a:gdLst>
                <a:gd name="T0" fmla="*/ 2 w 6"/>
                <a:gd name="T1" fmla="*/ 0 h 4"/>
                <a:gd name="T2" fmla="*/ 2 w 6"/>
                <a:gd name="T3" fmla="*/ 0 h 4"/>
                <a:gd name="T4" fmla="*/ 2 w 6"/>
                <a:gd name="T5" fmla="*/ 0 h 4"/>
                <a:gd name="T6" fmla="*/ 2 w 6"/>
                <a:gd name="T7" fmla="*/ 0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2" y="0"/>
                  </a:ln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8" name="Freeform 2130"/>
            <p:cNvSpPr>
              <a:spLocks/>
            </p:cNvSpPr>
            <p:nvPr/>
          </p:nvSpPr>
          <p:spPr bwMode="auto">
            <a:xfrm>
              <a:off x="8086695" y="7620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close/>
                </a:path>
              </a:pathLst>
            </a:custGeom>
            <a:solidFill>
              <a:srgbClr val="78C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89" name="Freeform 2131"/>
            <p:cNvSpPr>
              <a:spLocks/>
            </p:cNvSpPr>
            <p:nvPr/>
          </p:nvSpPr>
          <p:spPr bwMode="auto">
            <a:xfrm>
              <a:off x="8086695" y="76200"/>
              <a:ext cx="9525"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6 w 6"/>
                <a:gd name="T17" fmla="*/ 0 h 4"/>
                <a:gd name="T18" fmla="*/ 6 w 6"/>
                <a:gd name="T19" fmla="*/ 0 h 4"/>
                <a:gd name="T20" fmla="*/ 2 w 6"/>
                <a:gd name="T21" fmla="*/ 4 h 4"/>
                <a:gd name="T22" fmla="*/ 2 w 6"/>
                <a:gd name="T23" fmla="*/ 4 h 4"/>
                <a:gd name="T24" fmla="*/ 0 w 6"/>
                <a:gd name="T25" fmla="*/ 2 h 4"/>
                <a:gd name="T26" fmla="*/ 0 w 6"/>
                <a:gd name="T27" fmla="*/ 2 h 4"/>
                <a:gd name="T28" fmla="*/ 2 w 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4">
                  <a:moveTo>
                    <a:pt x="2" y="0"/>
                  </a:moveTo>
                  <a:lnTo>
                    <a:pt x="2" y="0"/>
                  </a:lnTo>
                  <a:lnTo>
                    <a:pt x="0" y="2"/>
                  </a:lnTo>
                  <a:lnTo>
                    <a:pt x="0" y="2"/>
                  </a:lnTo>
                  <a:lnTo>
                    <a:pt x="2" y="4"/>
                  </a:lnTo>
                  <a:lnTo>
                    <a:pt x="2" y="4"/>
                  </a:lnTo>
                  <a:lnTo>
                    <a:pt x="6" y="0"/>
                  </a:lnTo>
                  <a:lnTo>
                    <a:pt x="6" y="0"/>
                  </a:lnTo>
                  <a:lnTo>
                    <a:pt x="6" y="0"/>
                  </a:lnTo>
                  <a:lnTo>
                    <a:pt x="6" y="0"/>
                  </a:lnTo>
                  <a:lnTo>
                    <a:pt x="2" y="4"/>
                  </a:lnTo>
                  <a:lnTo>
                    <a:pt x="2" y="4"/>
                  </a:lnTo>
                  <a:lnTo>
                    <a:pt x="0" y="2"/>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0" name="Freeform 2132"/>
            <p:cNvSpPr>
              <a:spLocks/>
            </p:cNvSpPr>
            <p:nvPr/>
          </p:nvSpPr>
          <p:spPr bwMode="auto">
            <a:xfrm>
              <a:off x="10048838" y="9525"/>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1" name="Freeform 2133"/>
            <p:cNvSpPr>
              <a:spLocks/>
            </p:cNvSpPr>
            <p:nvPr/>
          </p:nvSpPr>
          <p:spPr bwMode="auto">
            <a:xfrm>
              <a:off x="10194888" y="9525"/>
              <a:ext cx="85724"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2" name="Freeform 2134"/>
            <p:cNvSpPr>
              <a:spLocks/>
            </p:cNvSpPr>
            <p:nvPr/>
          </p:nvSpPr>
          <p:spPr bwMode="auto">
            <a:xfrm>
              <a:off x="10344114" y="9525"/>
              <a:ext cx="79375"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sp>
          <p:nvSpPr>
            <p:cNvPr id="993" name="Freeform 2135"/>
            <p:cNvSpPr>
              <a:spLocks/>
            </p:cNvSpPr>
            <p:nvPr/>
          </p:nvSpPr>
          <p:spPr bwMode="auto">
            <a:xfrm>
              <a:off x="6092825" y="6350"/>
              <a:ext cx="82550"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a:solidFill>
                  <a:srgbClr val="505050"/>
                </a:solidFill>
              </a:endParaRPr>
            </a:p>
          </p:txBody>
        </p:sp>
      </p:grpSp>
      <p:sp>
        <p:nvSpPr>
          <p:cNvPr id="2994" name="Rectangle 2993"/>
          <p:cNvSpPr/>
          <p:nvPr userDrawn="1"/>
        </p:nvSpPr>
        <p:spPr bwMode="auto">
          <a:xfrm>
            <a:off x="1" y="0"/>
            <a:ext cx="12436475" cy="6994525"/>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995" name="Rectangle 2994"/>
          <p:cNvSpPr/>
          <p:nvPr userDrawn="1"/>
        </p:nvSpPr>
        <p:spPr bwMode="auto">
          <a:xfrm>
            <a:off x="-1" y="1"/>
            <a:ext cx="12436475" cy="7052102"/>
          </a:xfrm>
          <a:prstGeom prst="rect">
            <a:avLst/>
          </a:prstGeom>
          <a:solidFill>
            <a:srgbClr val="0078D7">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996" name="Title 1"/>
          <p:cNvSpPr>
            <a:spLocks noGrp="1"/>
          </p:cNvSpPr>
          <p:nvPr>
            <p:ph type="title" hasCustomPrompt="1"/>
          </p:nvPr>
        </p:nvSpPr>
        <p:spPr bwMode="white">
          <a:xfrm>
            <a:off x="770164" y="2905199"/>
            <a:ext cx="10445796" cy="762786"/>
          </a:xfrm>
        </p:spPr>
        <p:txBody>
          <a:bodyPr anchor="t" anchorCtr="0"/>
          <a:lstStyle>
            <a:lvl1pPr marL="0" algn="l" defTabSz="932597" rtl="0" eaLnBrk="1" latinLnBrk="0" hangingPunct="1">
              <a:lnSpc>
                <a:spcPct val="90000"/>
              </a:lnSpc>
              <a:defRPr lang="en-US" sz="5507" kern="0" baseline="0" dirty="0">
                <a:gradFill>
                  <a:gsLst>
                    <a:gs pos="0">
                      <a:srgbClr val="FFFFFF"/>
                    </a:gs>
                    <a:gs pos="100000">
                      <a:srgbClr val="FFFFFF"/>
                    </a:gs>
                  </a:gsLst>
                  <a:lin ang="5400000" scaled="0"/>
                </a:gradFill>
                <a:latin typeface="+mj-lt"/>
                <a:ea typeface="+mn-ea"/>
                <a:cs typeface="+mn-cs"/>
              </a:defRPr>
            </a:lvl1pPr>
          </a:lstStyle>
          <a:p>
            <a:r>
              <a:rPr lang="en-US" dirty="0"/>
              <a:t>Section Divider</a:t>
            </a:r>
          </a:p>
        </p:txBody>
      </p:sp>
    </p:spTree>
    <p:extLst>
      <p:ext uri="{BB962C8B-B14F-4D97-AF65-F5344CB8AC3E}">
        <p14:creationId xmlns:p14="http://schemas.microsoft.com/office/powerpoint/2010/main" val="23358722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spTree>
    <p:extLst>
      <p:ext uri="{BB962C8B-B14F-4D97-AF65-F5344CB8AC3E}">
        <p14:creationId xmlns:p14="http://schemas.microsoft.com/office/powerpoint/2010/main" val="3390141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25963" y="6177914"/>
            <a:ext cx="1552931" cy="33266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200825" y="1762951"/>
            <a:ext cx="7322208" cy="3219670"/>
          </a:xfrm>
          <a:prstGeom prst="rect">
            <a:avLst/>
          </a:prstGeom>
        </p:spPr>
      </p:pic>
    </p:spTree>
    <p:extLst>
      <p:ext uri="{BB962C8B-B14F-4D97-AF65-F5344CB8AC3E}">
        <p14:creationId xmlns:p14="http://schemas.microsoft.com/office/powerpoint/2010/main" val="1780306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2809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835206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73503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29003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82074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983772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31839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image" Target="../media/image1.png"/><Relationship Id="rId2" Type="http://schemas.openxmlformats.org/officeDocument/2006/relationships/slideLayout" Target="../slideLayouts/slideLayout179.xml"/><Relationship Id="rId16" Type="http://schemas.openxmlformats.org/officeDocument/2006/relationships/theme" Target="../theme/theme10.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image" Target="../media/image1.png"/><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theme" Target="../theme/theme11.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image" Target="../media/image1.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1.png"/><Relationship Id="rId5" Type="http://schemas.openxmlformats.org/officeDocument/2006/relationships/slideLayout" Target="../slideLayouts/slideLayout85.xml"/><Relationship Id="rId10" Type="http://schemas.openxmlformats.org/officeDocument/2006/relationships/theme" Target="../theme/theme5.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image" Target="../media/image19.png"/><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image" Target="../media/image1.png"/><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heme" Target="../theme/theme8.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image" Target="../media/image19.pn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theme" Target="../theme/theme9.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8"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4"/>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167" r:id="rId2"/>
    <p:sldLayoutId id="2147484215" r:id="rId3"/>
    <p:sldLayoutId id="2147484216" r:id="rId4"/>
    <p:sldLayoutId id="2147484105" r:id="rId5"/>
    <p:sldLayoutId id="2147484182" r:id="rId6"/>
    <p:sldLayoutId id="2147484130" r:id="rId7"/>
    <p:sldLayoutId id="2147484101" r:id="rId8"/>
    <p:sldLayoutId id="2147484102" r:id="rId9"/>
    <p:sldLayoutId id="2147484098" r:id="rId10"/>
    <p:sldLayoutId id="2147484086" r:id="rId11"/>
    <p:sldLayoutId id="2147484100" r:id="rId12"/>
    <p:sldLayoutId id="2147484089" r:id="rId13"/>
    <p:sldLayoutId id="2147484092" r:id="rId14"/>
    <p:sldLayoutId id="2147484190" r:id="rId15"/>
    <p:sldLayoutId id="2147484195" r:id="rId16"/>
    <p:sldLayoutId id="2147484209" r:id="rId17"/>
    <p:sldLayoutId id="2147484196" r:id="rId18"/>
    <p:sldLayoutId id="2147484208" r:id="rId19"/>
    <p:sldLayoutId id="2147484192" r:id="rId20"/>
    <p:sldLayoutId id="2147484189" r:id="rId21"/>
    <p:sldLayoutId id="2147484194" r:id="rId22"/>
    <p:sldLayoutId id="2147484127" r:id="rId23"/>
    <p:sldLayoutId id="2147484093" r:id="rId24"/>
    <p:sldLayoutId id="2147484129" r:id="rId25"/>
    <p:sldLayoutId id="2147484207" r:id="rId26"/>
    <p:sldLayoutId id="2147484203" r:id="rId27"/>
    <p:sldLayoutId id="2147484280" r:id="rId28"/>
    <p:sldLayoutId id="2147484303" r:id="rId29"/>
    <p:sldLayoutId id="2147484342" r:id="rId30"/>
    <p:sldLayoutId id="2147484392" r:id="rId31"/>
    <p:sldLayoutId id="2147484393"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6814" y="6626971"/>
            <a:ext cx="3292008" cy="470856"/>
          </a:xfrm>
          <a:prstGeom prst="rect">
            <a:avLst/>
          </a:prstGeom>
          <a:noFill/>
        </p:spPr>
        <p:txBody>
          <a:bodyPr wrap="square" lIns="186521" tIns="149217" rIns="186521" bIns="149217"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pic>
        <p:nvPicPr>
          <p:cNvPr id="5" name="Picture 4"/>
          <p:cNvPicPr>
            <a:picLocks noChangeAspect="1"/>
          </p:cNvPicPr>
          <p:nvPr userDrawn="1"/>
        </p:nvPicPr>
        <p:blipFill>
          <a:blip r:embed="rId17"/>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546811510"/>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444" rtl="0" eaLnBrk="1" latinLnBrk="0" hangingPunct="1">
        <a:lnSpc>
          <a:spcPct val="90000"/>
        </a:lnSpc>
        <a:spcBef>
          <a:spcPct val="0"/>
        </a:spcBef>
        <a:buNone/>
        <a:defRPr lang="en-US" sz="5399" b="0" kern="1200" cap="none" spc="-102"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342790" marR="0" indent="-342790" algn="l" defTabSz="932444"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44" rtl="0" eaLnBrk="1" latinLnBrk="0" hangingPunct="1">
        <a:defRPr sz="1800" kern="1200">
          <a:solidFill>
            <a:schemeClr val="tx1"/>
          </a:solidFill>
          <a:latin typeface="+mn-lt"/>
          <a:ea typeface="+mn-ea"/>
          <a:cs typeface="+mn-cs"/>
        </a:defRPr>
      </a:lvl1pPr>
      <a:lvl2pPr marL="466222" algn="l" defTabSz="932444" rtl="0" eaLnBrk="1" latinLnBrk="0" hangingPunct="1">
        <a:defRPr sz="1800" kern="1200">
          <a:solidFill>
            <a:schemeClr val="tx1"/>
          </a:solidFill>
          <a:latin typeface="+mn-lt"/>
          <a:ea typeface="+mn-ea"/>
          <a:cs typeface="+mn-cs"/>
        </a:defRPr>
      </a:lvl2pPr>
      <a:lvl3pPr marL="932444" algn="l" defTabSz="932444" rtl="0" eaLnBrk="1" latinLnBrk="0" hangingPunct="1">
        <a:defRPr sz="1800" kern="1200">
          <a:solidFill>
            <a:schemeClr val="tx1"/>
          </a:solidFill>
          <a:latin typeface="+mn-lt"/>
          <a:ea typeface="+mn-ea"/>
          <a:cs typeface="+mn-cs"/>
        </a:defRPr>
      </a:lvl3pPr>
      <a:lvl4pPr marL="1398665" algn="l" defTabSz="932444" rtl="0" eaLnBrk="1" latinLnBrk="0" hangingPunct="1">
        <a:defRPr sz="1800" kern="1200">
          <a:solidFill>
            <a:schemeClr val="tx1"/>
          </a:solidFill>
          <a:latin typeface="+mn-lt"/>
          <a:ea typeface="+mn-ea"/>
          <a:cs typeface="+mn-cs"/>
        </a:defRPr>
      </a:lvl4pPr>
      <a:lvl5pPr marL="1864887" algn="l" defTabSz="932444" rtl="0" eaLnBrk="1" latinLnBrk="0" hangingPunct="1">
        <a:defRPr sz="1800" kern="1200">
          <a:solidFill>
            <a:schemeClr val="tx1"/>
          </a:solidFill>
          <a:latin typeface="+mn-lt"/>
          <a:ea typeface="+mn-ea"/>
          <a:cs typeface="+mn-cs"/>
        </a:defRPr>
      </a:lvl5pPr>
      <a:lvl6pPr marL="2331110" algn="l" defTabSz="932444" rtl="0" eaLnBrk="1" latinLnBrk="0" hangingPunct="1">
        <a:defRPr sz="1800" kern="1200">
          <a:solidFill>
            <a:schemeClr val="tx1"/>
          </a:solidFill>
          <a:latin typeface="+mn-lt"/>
          <a:ea typeface="+mn-ea"/>
          <a:cs typeface="+mn-cs"/>
        </a:defRPr>
      </a:lvl6pPr>
      <a:lvl7pPr marL="2797331" algn="l" defTabSz="932444" rtl="0" eaLnBrk="1" latinLnBrk="0" hangingPunct="1">
        <a:defRPr sz="1800" kern="1200">
          <a:solidFill>
            <a:schemeClr val="tx1"/>
          </a:solidFill>
          <a:latin typeface="+mn-lt"/>
          <a:ea typeface="+mn-ea"/>
          <a:cs typeface="+mn-cs"/>
        </a:defRPr>
      </a:lvl7pPr>
      <a:lvl8pPr marL="3263554" algn="l" defTabSz="932444" rtl="0" eaLnBrk="1" latinLnBrk="0" hangingPunct="1">
        <a:defRPr sz="1800" kern="1200">
          <a:solidFill>
            <a:schemeClr val="tx1"/>
          </a:solidFill>
          <a:latin typeface="+mn-lt"/>
          <a:ea typeface="+mn-ea"/>
          <a:cs typeface="+mn-cs"/>
        </a:defRPr>
      </a:lvl8pPr>
      <a:lvl9pPr marL="3729774" algn="l" defTabSz="93244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9"/>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364320209"/>
      </p:ext>
    </p:extLst>
  </p:cSld>
  <p:clrMap bg1="dk1" tx1="lt1" bg2="dk2" tx2="lt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 id="2147484420" r:id="rId26"/>
    <p:sldLayoutId id="2147484421" r:id="rId27"/>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3751706938"/>
      </p:ext>
    </p:extLst>
  </p:cSld>
  <p:clrMap bg1="dk1" tx1="lt1" bg2="dk2" tx2="lt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 id="2147484242" r:id="rId25"/>
    <p:sldLayoutId id="2147484243"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defTabSz="932742"/>
            <a:fld id="{27258FFF-F925-446B-8502-81C933981705}" type="slidenum">
              <a:rPr>
                <a:solidFill>
                  <a:srgbClr val="FFFFFF"/>
                </a:solidFill>
              </a:rPr>
              <a:pPr defTabSz="932742"/>
              <a:t>‹#›</a:t>
            </a:fld>
            <a:endParaRPr dirty="0">
              <a:solidFill>
                <a:srgbClr val="FFFFFF"/>
              </a:solidFill>
            </a:endParaRPr>
          </a:p>
        </p:txBody>
      </p:sp>
    </p:spTree>
    <p:extLst>
      <p:ext uri="{BB962C8B-B14F-4D97-AF65-F5344CB8AC3E}">
        <p14:creationId xmlns:p14="http://schemas.microsoft.com/office/powerpoint/2010/main" val="1971073038"/>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37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13" bIns="0" rtlCol="0" anchor="ctr"/>
          <a:lstStyle>
            <a:lvl1pPr marL="0" algn="l" defTabSz="932468" rtl="0" eaLnBrk="1" latinLnBrk="0" hangingPunct="1">
              <a:defRPr lang="en-US" sz="900"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595104" y="6565392"/>
            <a:ext cx="566737" cy="137160"/>
          </a:xfrm>
          <a:prstGeom prst="rect">
            <a:avLst/>
          </a:prstGeom>
        </p:spPr>
        <p:txBody>
          <a:bodyPr vert="horz" lIns="91413"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47750894"/>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4" r:id="rId3"/>
    <p:sldLayoutId id="2147484265" r:id="rId4"/>
    <p:sldLayoutId id="2147484266" r:id="rId5"/>
    <p:sldLayoutId id="2147484267" r:id="rId6"/>
    <p:sldLayoutId id="2147484268" r:id="rId7"/>
    <p:sldLayoutId id="21474842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914132" rtl="0" eaLnBrk="1" latinLnBrk="0" hangingPunct="1">
        <a:spcBef>
          <a:spcPct val="0"/>
        </a:spcBef>
        <a:buNone/>
        <a:defRPr sz="4400" kern="1200">
          <a:solidFill>
            <a:schemeClr val="tx1"/>
          </a:solidFill>
          <a:latin typeface="+mj-lt"/>
          <a:ea typeface="+mj-ea"/>
          <a:cs typeface="+mj-cs"/>
        </a:defRPr>
      </a:lvl1pPr>
    </p:titleStyle>
    <p:bodyStyle>
      <a:lvl1pPr marL="342800" indent="-342800" algn="l" defTabSz="91413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32" indent="-285666" algn="l" defTabSz="91413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64" indent="-228533" algn="l" defTabSz="91413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29"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94"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6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26"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9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57"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2" rtl="0" eaLnBrk="1" latinLnBrk="0" hangingPunct="1">
        <a:defRPr sz="1800" kern="1200">
          <a:solidFill>
            <a:schemeClr val="tx1"/>
          </a:solidFill>
          <a:latin typeface="+mn-lt"/>
          <a:ea typeface="+mn-ea"/>
          <a:cs typeface="+mn-cs"/>
        </a:defRPr>
      </a:lvl1pPr>
      <a:lvl2pPr marL="457065" algn="l" defTabSz="914132" rtl="0" eaLnBrk="1" latinLnBrk="0" hangingPunct="1">
        <a:defRPr sz="1800" kern="1200">
          <a:solidFill>
            <a:schemeClr val="tx1"/>
          </a:solidFill>
          <a:latin typeface="+mn-lt"/>
          <a:ea typeface="+mn-ea"/>
          <a:cs typeface="+mn-cs"/>
        </a:defRPr>
      </a:lvl2pPr>
      <a:lvl3pPr marL="914132" algn="l" defTabSz="914132" rtl="0" eaLnBrk="1" latinLnBrk="0" hangingPunct="1">
        <a:defRPr sz="1800" kern="1200">
          <a:solidFill>
            <a:schemeClr val="tx1"/>
          </a:solidFill>
          <a:latin typeface="+mn-lt"/>
          <a:ea typeface="+mn-ea"/>
          <a:cs typeface="+mn-cs"/>
        </a:defRPr>
      </a:lvl3pPr>
      <a:lvl4pPr marL="1371197" algn="l" defTabSz="914132" rtl="0" eaLnBrk="1" latinLnBrk="0" hangingPunct="1">
        <a:defRPr sz="1800" kern="1200">
          <a:solidFill>
            <a:schemeClr val="tx1"/>
          </a:solidFill>
          <a:latin typeface="+mn-lt"/>
          <a:ea typeface="+mn-ea"/>
          <a:cs typeface="+mn-cs"/>
        </a:defRPr>
      </a:lvl4pPr>
      <a:lvl5pPr marL="1828263" algn="l" defTabSz="914132" rtl="0" eaLnBrk="1" latinLnBrk="0" hangingPunct="1">
        <a:defRPr sz="1800" kern="1200">
          <a:solidFill>
            <a:schemeClr val="tx1"/>
          </a:solidFill>
          <a:latin typeface="+mn-lt"/>
          <a:ea typeface="+mn-ea"/>
          <a:cs typeface="+mn-cs"/>
        </a:defRPr>
      </a:lvl5pPr>
      <a:lvl6pPr marL="2285328" algn="l" defTabSz="914132" rtl="0" eaLnBrk="1" latinLnBrk="0" hangingPunct="1">
        <a:defRPr sz="1800" kern="1200">
          <a:solidFill>
            <a:schemeClr val="tx1"/>
          </a:solidFill>
          <a:latin typeface="+mn-lt"/>
          <a:ea typeface="+mn-ea"/>
          <a:cs typeface="+mn-cs"/>
        </a:defRPr>
      </a:lvl6pPr>
      <a:lvl7pPr marL="2742394" algn="l" defTabSz="914132" rtl="0" eaLnBrk="1" latinLnBrk="0" hangingPunct="1">
        <a:defRPr sz="1800" kern="1200">
          <a:solidFill>
            <a:schemeClr val="tx1"/>
          </a:solidFill>
          <a:latin typeface="+mn-lt"/>
          <a:ea typeface="+mn-ea"/>
          <a:cs typeface="+mn-cs"/>
        </a:defRPr>
      </a:lvl7pPr>
      <a:lvl8pPr marL="3199459" algn="l" defTabSz="914132" rtl="0" eaLnBrk="1" latinLnBrk="0" hangingPunct="1">
        <a:defRPr sz="1800" kern="1200">
          <a:solidFill>
            <a:schemeClr val="tx1"/>
          </a:solidFill>
          <a:latin typeface="+mn-lt"/>
          <a:ea typeface="+mn-ea"/>
          <a:cs typeface="+mn-cs"/>
        </a:defRPr>
      </a:lvl8pPr>
      <a:lvl9pPr marL="3656526" algn="l" defTabSz="9141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11"/>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974522124"/>
      </p:ext>
    </p:extLst>
  </p:cSld>
  <p:clrMap bg1="dk1" tx1="lt1" bg2="dk2" tx2="lt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rot="5400000">
            <a:off x="10636425" y="1906415"/>
            <a:ext cx="4214127" cy="401304"/>
          </a:xfrm>
          <a:prstGeom prst="rect">
            <a:avLst/>
          </a:prstGeom>
        </p:spPr>
      </p:pic>
    </p:spTree>
    <p:extLst>
      <p:ext uri="{BB962C8B-B14F-4D97-AF65-F5344CB8AC3E}">
        <p14:creationId xmlns:p14="http://schemas.microsoft.com/office/powerpoint/2010/main" val="3357965720"/>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solidFill>
            <a:srgbClr val="505050"/>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rgbClr val="0072C6"/>
        </a:buClr>
        <a:buSzPct val="90000"/>
        <a:buFont typeface="Arial" pitchFamily="34" charset="0"/>
        <a:buChar char="•"/>
        <a:tabLst/>
        <a:defRPr sz="4000" kern="1200" spc="0" baseline="0">
          <a:solidFill>
            <a:srgbClr val="50505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rgbClr val="0072C6"/>
        </a:buClr>
        <a:buSzPct val="90000"/>
        <a:buFont typeface="Arial" pitchFamily="34" charset="0"/>
        <a:buChar char="•"/>
        <a:tabLst/>
        <a:defRPr sz="2400" kern="1200" spc="0" baseline="0">
          <a:solidFill>
            <a:srgbClr val="50505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rgbClr val="0072C6"/>
        </a:buClr>
        <a:buSzPct val="90000"/>
        <a:buFont typeface="Arial" pitchFamily="34" charset="0"/>
        <a:buChar char="•"/>
        <a:tabLst/>
        <a:defRPr sz="2000" kern="1200" spc="0" baseline="0">
          <a:solidFill>
            <a:srgbClr val="50505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rgbClr val="0072C6"/>
        </a:buClr>
        <a:buSzPct val="90000"/>
        <a:buFont typeface="Arial" pitchFamily="34" charset="0"/>
        <a:buChar char="•"/>
        <a:tabLst/>
        <a:defRPr sz="1800" kern="1200" spc="0" baseline="0">
          <a:solidFill>
            <a:srgbClr val="50505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rgbClr val="0072C6"/>
        </a:buClr>
        <a:buSzPct val="90000"/>
        <a:buFont typeface="Arial" pitchFamily="34" charset="0"/>
        <a:buChar char="•"/>
        <a:tabLst/>
        <a:defRPr sz="1800" kern="1200" spc="0" baseline="0">
          <a:solidFill>
            <a:srgbClr val="50505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054848957"/>
      </p:ext>
    </p:extLst>
  </p:cSld>
  <p:clrMap bg1="dk1" tx1="lt1" bg2="dk2" tx2="lt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 id="2147484328" r:id="rId24"/>
    <p:sldLayoutId id="2147484329" r:id="rId25"/>
    <p:sldLayoutId id="2147484330" r:id="rId26"/>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7" cy="2092881"/>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6814" y="6626971"/>
            <a:ext cx="3292008" cy="470856"/>
          </a:xfrm>
          <a:prstGeom prst="rect">
            <a:avLst/>
          </a:prstGeom>
          <a:noFill/>
        </p:spPr>
        <p:txBody>
          <a:bodyPr wrap="square" lIns="186521" tIns="149217" rIns="186521" bIns="149217" rtlCol="0">
            <a:spAutoFit/>
          </a:bodyPr>
          <a:lstStyle/>
          <a:p>
            <a:pPr>
              <a:lnSpc>
                <a:spcPct val="90000"/>
              </a:lnSpc>
            </a:pPr>
            <a:r>
              <a:rPr lang="en-US" sz="1122" dirty="0">
                <a:gradFill>
                  <a:gsLst>
                    <a:gs pos="2917">
                      <a:srgbClr val="505050"/>
                    </a:gs>
                    <a:gs pos="30000">
                      <a:srgbClr val="505050"/>
                    </a:gs>
                  </a:gsLst>
                  <a:lin ang="5400000" scaled="0"/>
                </a:gradFill>
              </a:rPr>
              <a:t>Microsoft Confidential</a:t>
            </a:r>
          </a:p>
        </p:txBody>
      </p:sp>
    </p:spTree>
    <p:extLst>
      <p:ext uri="{BB962C8B-B14F-4D97-AF65-F5344CB8AC3E}">
        <p14:creationId xmlns:p14="http://schemas.microsoft.com/office/powerpoint/2010/main" val="975458172"/>
      </p:ext>
    </p:extLst>
  </p:cSld>
  <p:clrMap bg1="lt1" tx1="dk1" bg2="lt2" tx2="dk2" accent1="accent1" accent2="accent2" accent3="accent3" accent4="accent4" accent5="accent5" accent6="accent6" hlink="hlink" folHlink="folHlink"/>
  <p:sldLayoutIdLst>
    <p:sldLayoutId id="2147484332" r:id="rId1"/>
    <p:sldLayoutId id="2147484333" r:id="rId2"/>
    <p:sldLayoutId id="2147484334" r:id="rId3"/>
    <p:sldLayoutId id="2147484335" r:id="rId4"/>
    <p:sldLayoutId id="2147484336" r:id="rId5"/>
    <p:sldLayoutId id="2147484337" r:id="rId6"/>
    <p:sldLayoutId id="2147484338" r:id="rId7"/>
    <p:sldLayoutId id="2147484339" r:id="rId8"/>
    <p:sldLayoutId id="2147484340" r:id="rId9"/>
    <p:sldLayoutId id="2147484341"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444" rtl="0" eaLnBrk="1" latinLnBrk="0" hangingPunct="1">
        <a:lnSpc>
          <a:spcPct val="90000"/>
        </a:lnSpc>
        <a:spcBef>
          <a:spcPct val="0"/>
        </a:spcBef>
        <a:buNone/>
        <a:defRPr lang="en-US" sz="5399" b="0" kern="1200" cap="none" spc="-102"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342790" marR="0" indent="-342790" algn="l" defTabSz="932444"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44" rtl="0" eaLnBrk="1" latinLnBrk="0" hangingPunct="1">
        <a:defRPr sz="1800" kern="1200">
          <a:solidFill>
            <a:schemeClr val="tx1"/>
          </a:solidFill>
          <a:latin typeface="+mn-lt"/>
          <a:ea typeface="+mn-ea"/>
          <a:cs typeface="+mn-cs"/>
        </a:defRPr>
      </a:lvl1pPr>
      <a:lvl2pPr marL="466222" algn="l" defTabSz="932444" rtl="0" eaLnBrk="1" latinLnBrk="0" hangingPunct="1">
        <a:defRPr sz="1800" kern="1200">
          <a:solidFill>
            <a:schemeClr val="tx1"/>
          </a:solidFill>
          <a:latin typeface="+mn-lt"/>
          <a:ea typeface="+mn-ea"/>
          <a:cs typeface="+mn-cs"/>
        </a:defRPr>
      </a:lvl2pPr>
      <a:lvl3pPr marL="932444" algn="l" defTabSz="932444" rtl="0" eaLnBrk="1" latinLnBrk="0" hangingPunct="1">
        <a:defRPr sz="1800" kern="1200">
          <a:solidFill>
            <a:schemeClr val="tx1"/>
          </a:solidFill>
          <a:latin typeface="+mn-lt"/>
          <a:ea typeface="+mn-ea"/>
          <a:cs typeface="+mn-cs"/>
        </a:defRPr>
      </a:lvl3pPr>
      <a:lvl4pPr marL="1398665" algn="l" defTabSz="932444" rtl="0" eaLnBrk="1" latinLnBrk="0" hangingPunct="1">
        <a:defRPr sz="1800" kern="1200">
          <a:solidFill>
            <a:schemeClr val="tx1"/>
          </a:solidFill>
          <a:latin typeface="+mn-lt"/>
          <a:ea typeface="+mn-ea"/>
          <a:cs typeface="+mn-cs"/>
        </a:defRPr>
      </a:lvl4pPr>
      <a:lvl5pPr marL="1864887" algn="l" defTabSz="932444" rtl="0" eaLnBrk="1" latinLnBrk="0" hangingPunct="1">
        <a:defRPr sz="1800" kern="1200">
          <a:solidFill>
            <a:schemeClr val="tx1"/>
          </a:solidFill>
          <a:latin typeface="+mn-lt"/>
          <a:ea typeface="+mn-ea"/>
          <a:cs typeface="+mn-cs"/>
        </a:defRPr>
      </a:lvl5pPr>
      <a:lvl6pPr marL="2331110" algn="l" defTabSz="932444" rtl="0" eaLnBrk="1" latinLnBrk="0" hangingPunct="1">
        <a:defRPr sz="1800" kern="1200">
          <a:solidFill>
            <a:schemeClr val="tx1"/>
          </a:solidFill>
          <a:latin typeface="+mn-lt"/>
          <a:ea typeface="+mn-ea"/>
          <a:cs typeface="+mn-cs"/>
        </a:defRPr>
      </a:lvl6pPr>
      <a:lvl7pPr marL="2797331" algn="l" defTabSz="932444" rtl="0" eaLnBrk="1" latinLnBrk="0" hangingPunct="1">
        <a:defRPr sz="1800" kern="1200">
          <a:solidFill>
            <a:schemeClr val="tx1"/>
          </a:solidFill>
          <a:latin typeface="+mn-lt"/>
          <a:ea typeface="+mn-ea"/>
          <a:cs typeface="+mn-cs"/>
        </a:defRPr>
      </a:lvl7pPr>
      <a:lvl8pPr marL="3263554" algn="l" defTabSz="932444" rtl="0" eaLnBrk="1" latinLnBrk="0" hangingPunct="1">
        <a:defRPr sz="1800" kern="1200">
          <a:solidFill>
            <a:schemeClr val="tx1"/>
          </a:solidFill>
          <a:latin typeface="+mn-lt"/>
          <a:ea typeface="+mn-ea"/>
          <a:cs typeface="+mn-cs"/>
        </a:defRPr>
      </a:lvl8pPr>
      <a:lvl9pPr marL="3729774" algn="l" defTabSz="93244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81022137"/>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 id="2147484355" r:id="rId12"/>
    <p:sldLayoutId id="2147484356" r:id="rId13"/>
    <p:sldLayoutId id="2147484357" r:id="rId14"/>
    <p:sldLayoutId id="2147484358" r:id="rId15"/>
    <p:sldLayoutId id="2147484359" r:id="rId16"/>
    <p:sldLayoutId id="2147484360" r:id="rId17"/>
    <p:sldLayoutId id="2147484361" r:id="rId18"/>
    <p:sldLayoutId id="2147484362" r:id="rId19"/>
    <p:sldLayoutId id="2147484363" r:id="rId20"/>
    <p:sldLayoutId id="2147484364" r:id="rId21"/>
    <p:sldLayoutId id="2147484365" r:id="rId22"/>
    <p:sldLayoutId id="2147484366" r:id="rId23"/>
    <p:sldLayoutId id="2147484367" r:id="rId24"/>
    <p:sldLayoutId id="2147484368" r:id="rId25"/>
    <p:sldLayoutId id="2147484369" r:id="rId26"/>
    <p:sldLayoutId id="2147484370" r:id="rId27"/>
    <p:sldLayoutId id="2147484371" r:id="rId28"/>
    <p:sldLayoutId id="2147484372" r:id="rId29"/>
    <p:sldLayoutId id="2147484373" r:id="rId30"/>
    <p:sldLayoutId id="2147484374" r:id="rId31"/>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28.xml"/><Relationship Id="rId6" Type="http://schemas.openxmlformats.org/officeDocument/2006/relationships/image" Target="../media/image38.png"/><Relationship Id="rId5" Type="http://schemas.microsoft.com/office/2007/relationships/hdphoto" Target="../media/hdphoto4.wdp"/><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28.xml"/><Relationship Id="rId6" Type="http://schemas.openxmlformats.org/officeDocument/2006/relationships/image" Target="../media/image38.png"/><Relationship Id="rId5" Type="http://schemas.microsoft.com/office/2007/relationships/hdphoto" Target="../media/hdphoto4.wdp"/><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hyperlink" Target="https://github.com/aisley/Hybrid_DR_APS_SQLDW" TargetMode="External"/><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hyperlink" Target="mailto:paul.emond@Microsoft.com" TargetMode="External"/><Relationship Id="rId4" Type="http://schemas.openxmlformats.org/officeDocument/2006/relationships/hyperlink" Target="mailto:charis@Microsoft.com"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infopedia/SMSG/Pages/MDWHadoop.aspx" TargetMode="External"/><Relationship Id="rId2" Type="http://schemas.openxmlformats.org/officeDocument/2006/relationships/notesSlide" Target="../notesSlides/notesSlide27.xml"/><Relationship Id="rId1" Type="http://schemas.openxmlformats.org/officeDocument/2006/relationships/slideLayout" Target="../slideLayouts/slideLayout20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517587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828800"/>
            <a:ext cx="11887200" cy="2954655"/>
          </a:xfrm>
        </p:spPr>
        <p:txBody>
          <a:bodyPr/>
          <a:lstStyle/>
          <a:p>
            <a:pPr lvl="1"/>
            <a:r>
              <a:rPr lang="en-GB" sz="2400" dirty="0">
                <a:solidFill>
                  <a:schemeClr val="accent6"/>
                </a:solidFill>
              </a:rPr>
              <a:t>RTO – Recovery time objective (restoration commitment to the customer)</a:t>
            </a:r>
          </a:p>
          <a:p>
            <a:pPr marL="571500" lvl="2" indent="-342900">
              <a:buFont typeface="Arial" panose="020B0604020202020204" pitchFamily="34" charset="0"/>
              <a:buChar char="•"/>
            </a:pPr>
            <a:r>
              <a:rPr lang="en-GB" dirty="0">
                <a:solidFill>
                  <a:schemeClr val="tx1"/>
                </a:solidFill>
              </a:rPr>
              <a:t>Defines the SLA RTO</a:t>
            </a:r>
          </a:p>
          <a:p>
            <a:pPr marL="571500" lvl="2" indent="-342900">
              <a:buFont typeface="Arial" panose="020B0604020202020204" pitchFamily="34" charset="0"/>
              <a:buChar char="•"/>
            </a:pPr>
            <a:r>
              <a:rPr lang="en-GB" dirty="0">
                <a:solidFill>
                  <a:schemeClr val="tx1"/>
                </a:solidFill>
              </a:rPr>
              <a:t>Defines or leverages existing technology capabilities or process</a:t>
            </a:r>
          </a:p>
          <a:p>
            <a:pPr marL="571500" lvl="2" indent="-342900">
              <a:buFont typeface="Arial" panose="020B0604020202020204" pitchFamily="34" charset="0"/>
              <a:buChar char="•"/>
            </a:pPr>
            <a:r>
              <a:rPr lang="en-US" dirty="0">
                <a:solidFill>
                  <a:schemeClr val="tx1"/>
                </a:solidFill>
              </a:rPr>
              <a:t>Interfaces with other operational services</a:t>
            </a:r>
            <a:endParaRPr lang="en-GB" dirty="0">
              <a:solidFill>
                <a:schemeClr val="tx1"/>
              </a:solidFill>
            </a:endParaRPr>
          </a:p>
          <a:p>
            <a:pPr lvl="1"/>
            <a:r>
              <a:rPr lang="en-GB" sz="2400" dirty="0">
                <a:solidFill>
                  <a:schemeClr val="accent6"/>
                </a:solidFill>
              </a:rPr>
              <a:t>RPO – Recovery point objective (revenue is protected up to the disaster)</a:t>
            </a:r>
          </a:p>
          <a:p>
            <a:pPr marL="571500" lvl="2" indent="-342900">
              <a:buFont typeface="Arial" panose="020B0604020202020204" pitchFamily="34" charset="0"/>
              <a:buChar char="•"/>
            </a:pPr>
            <a:r>
              <a:rPr lang="en-GB" dirty="0">
                <a:solidFill>
                  <a:schemeClr val="tx1"/>
                </a:solidFill>
              </a:rPr>
              <a:t>Defines the SLA RPO</a:t>
            </a:r>
          </a:p>
          <a:p>
            <a:pPr marL="571500" lvl="2" indent="-342900">
              <a:buFont typeface="Arial" panose="020B0604020202020204" pitchFamily="34" charset="0"/>
              <a:buChar char="•"/>
            </a:pPr>
            <a:r>
              <a:rPr lang="en-GB" dirty="0">
                <a:solidFill>
                  <a:schemeClr val="tx1"/>
                </a:solidFill>
              </a:rPr>
              <a:t>Defines the methods available to the SLA RPO due to ‘shop floor’ criteria</a:t>
            </a:r>
          </a:p>
        </p:txBody>
      </p:sp>
      <p:sp>
        <p:nvSpPr>
          <p:cNvPr id="2" name="Title 1"/>
          <p:cNvSpPr>
            <a:spLocks noGrp="1"/>
          </p:cNvSpPr>
          <p:nvPr>
            <p:ph type="title"/>
          </p:nvPr>
        </p:nvSpPr>
        <p:spPr/>
        <p:txBody>
          <a:bodyPr/>
          <a:lstStyle/>
          <a:p>
            <a:pPr marL="0" marR="0" lvl="1" indent="0" defTabSz="932742" rtl="0" eaLnBrk="1" fontAlgn="auto" latinLnBrk="0" hangingPunct="1">
              <a:lnSpc>
                <a:spcPct val="90000"/>
              </a:lnSpc>
              <a:spcBef>
                <a:spcPct val="0"/>
              </a:spcBef>
              <a:spcAft>
                <a:spcPts val="0"/>
              </a:spcAft>
              <a:tabLst/>
              <a:defRPr/>
            </a:pPr>
            <a:r>
              <a:rPr kumimoji="0" lang="en-GB" sz="5400" b="0" i="0" u="none" strike="noStrike" kern="1200" cap="none" spc="-102" normalizeH="0" baseline="0" noProof="0" dirty="0">
                <a:ln w="3175">
                  <a:noFill/>
                </a:ln>
                <a:solidFill>
                  <a:schemeClr val="tx1"/>
                </a:solidFill>
                <a:effectLst/>
                <a:uLnTx/>
                <a:uFillTx/>
                <a:latin typeface="Segoe UI Light"/>
                <a:ea typeface="+mn-ea"/>
                <a:cs typeface="Segoe UI" pitchFamily="34" charset="0"/>
              </a:rPr>
              <a:t>OLAs (Operational level agreements)</a:t>
            </a:r>
            <a:r>
              <a:rPr kumimoji="0" lang="en-GB" sz="5400" b="0" i="0" u="none" strike="noStrike" kern="0" cap="none" spc="0" normalizeH="0" baseline="0" noProof="0" dirty="0">
                <a:ln>
                  <a:noFill/>
                </a:ln>
                <a:solidFill>
                  <a:schemeClr val="tx1"/>
                </a:solidFill>
                <a:effectLst/>
                <a:uLnTx/>
                <a:uFillTx/>
                <a:latin typeface="Segoe UI"/>
                <a:ea typeface="+mn-ea"/>
                <a:cs typeface="+mn-cs"/>
              </a:rPr>
              <a:t/>
            </a:r>
            <a:br>
              <a:rPr kumimoji="0" lang="en-GB" sz="5400" b="0" i="0" u="none" strike="noStrike" kern="0" cap="none" spc="0" normalizeH="0" baseline="0" noProof="0" dirty="0">
                <a:ln>
                  <a:noFill/>
                </a:ln>
                <a:solidFill>
                  <a:schemeClr val="tx1"/>
                </a:solidFill>
                <a:effectLst/>
                <a:uLnTx/>
                <a:uFillTx/>
                <a:latin typeface="Segoe UI"/>
                <a:ea typeface="+mn-ea"/>
                <a:cs typeface="+mn-cs"/>
              </a:rPr>
            </a:br>
            <a:r>
              <a:rPr kumimoji="0" lang="en-GB" sz="4000" b="0" i="0" u="none" strike="noStrike" kern="0" cap="none" spc="-102" normalizeH="0" baseline="0" noProof="0" dirty="0">
                <a:ln w="3175">
                  <a:noFill/>
                </a:ln>
                <a:solidFill>
                  <a:schemeClr val="tx1"/>
                </a:solidFill>
                <a:effectLst/>
                <a:uLnTx/>
                <a:uFillTx/>
                <a:latin typeface="Segoe UI Light"/>
                <a:ea typeface="+mn-ea"/>
                <a:cs typeface="Segoe UI" pitchFamily="34" charset="0"/>
              </a:rPr>
              <a:t>Technical considerations</a:t>
            </a:r>
            <a:endParaRPr lang="en-US" dirty="0">
              <a:solidFill>
                <a:schemeClr val="tx1"/>
              </a:solidFill>
            </a:endParaRPr>
          </a:p>
        </p:txBody>
      </p:sp>
    </p:spTree>
    <p:extLst>
      <p:ext uri="{BB962C8B-B14F-4D97-AF65-F5344CB8AC3E}">
        <p14:creationId xmlns:p14="http://schemas.microsoft.com/office/powerpoint/2010/main" val="208495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wipe(left)">
                                      <p:cBhvr>
                                        <p:cTn id="15" dur="1000"/>
                                        <p:tgtEl>
                                          <p:spTgt spid="6">
                                            <p:txEl>
                                              <p:pRg st="2" end="2"/>
                                            </p:txEl>
                                          </p:spTgt>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wipe(left)">
                                      <p:cBhvr>
                                        <p:cTn id="19" dur="500"/>
                                        <p:tgtEl>
                                          <p:spTgt spid="6">
                                            <p:txEl>
                                              <p:pRg st="3" end="3"/>
                                            </p:txEl>
                                          </p:spTgt>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wipe(left)">
                                      <p:cBhvr>
                                        <p:cTn id="27" dur="500"/>
                                        <p:tgtEl>
                                          <p:spTgt spid="6">
                                            <p:txEl>
                                              <p:pRg st="5" end="5"/>
                                            </p:txEl>
                                          </p:spTgt>
                                        </p:tgtEl>
                                      </p:cBhvr>
                                    </p:animEffect>
                                  </p:childTnLst>
                                </p:cTn>
                              </p:par>
                            </p:childTnLst>
                          </p:cTn>
                        </p:par>
                        <p:par>
                          <p:cTn id="28" fill="hold">
                            <p:stCondLst>
                              <p:cond delay="3500"/>
                            </p:stCondLst>
                            <p:childTnLst>
                              <p:par>
                                <p:cTn id="29" presetID="22" presetClass="entr" presetSubtype="8" fill="hold" nodeType="after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Effect transition="in" filter="wipe(left)">
                                      <p:cBhvr>
                                        <p:cTn id="31"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7709" y="1363662"/>
            <a:ext cx="11591728" cy="5464401"/>
          </a:xfrm>
          <a:prstGeom prst="rect">
            <a:avLst/>
          </a:prstGeom>
          <a:solidFill>
            <a:schemeClr val="tx1">
              <a:lumMod val="9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25" name="Group 224"/>
          <p:cNvGrpSpPr/>
          <p:nvPr/>
        </p:nvGrpSpPr>
        <p:grpSpPr>
          <a:xfrm>
            <a:off x="10398263" y="4798613"/>
            <a:ext cx="1215606" cy="1005840"/>
            <a:chOff x="10398263" y="4749495"/>
            <a:chExt cx="1215606" cy="1005840"/>
          </a:xfrm>
          <a:solidFill>
            <a:schemeClr val="accent1"/>
          </a:solidFill>
        </p:grpSpPr>
        <p:sp>
          <p:nvSpPr>
            <p:cNvPr id="76" name="Rectangle 75"/>
            <p:cNvSpPr/>
            <p:nvPr/>
          </p:nvSpPr>
          <p:spPr>
            <a:xfrm>
              <a:off x="10398263" y="4749495"/>
              <a:ext cx="1215606" cy="1005840"/>
            </a:xfrm>
            <a:prstGeom prst="rect">
              <a:avLst/>
            </a:prstGeom>
            <a:grpFill/>
          </p:spPr>
          <p:txBody>
            <a:bodyPr wrap="square" lIns="76799" tIns="38399" rIns="76799" bIns="38399" anchor="b" anchorCtr="0">
              <a:noAutofit/>
            </a:bodyPr>
            <a:lstStyle/>
            <a:p>
              <a:pPr algn="ctr" defTabSz="576144"/>
              <a:r>
                <a:rPr lang="it-IT" sz="900" b="1" dirty="0">
                  <a:solidFill>
                    <a:srgbClr val="FFFFFF"/>
                  </a:solidFill>
                </a:rPr>
                <a:t>Performance Scorecards</a:t>
              </a:r>
            </a:p>
          </p:txBody>
        </p:sp>
        <p:sp>
          <p:nvSpPr>
            <p:cNvPr id="89" name="Freeform 18"/>
            <p:cNvSpPr>
              <a:spLocks noEditPoints="1"/>
            </p:cNvSpPr>
            <p:nvPr/>
          </p:nvSpPr>
          <p:spPr bwMode="black">
            <a:xfrm>
              <a:off x="10799292" y="4876161"/>
              <a:ext cx="413548" cy="49744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solidFill>
            <a:ln>
              <a:noFill/>
            </a:ln>
          </p:spPr>
          <p:txBody>
            <a:bodyPr vert="horz" wrap="square" lIns="61745" tIns="30873" rIns="61745" bIns="30873" numCol="1" anchor="t" anchorCtr="0" compatLnSpc="1">
              <a:prstTxWarp prst="textNoShape">
                <a:avLst/>
              </a:prstTxWarp>
            </a:bodyPr>
            <a:lstStyle/>
            <a:p>
              <a:pPr defTabSz="685983"/>
              <a:endParaRPr lang="en-US" sz="1200" dirty="0">
                <a:solidFill>
                  <a:srgbClr val="FFFFFF"/>
                </a:solidFill>
              </a:endParaRPr>
            </a:p>
          </p:txBody>
        </p:sp>
      </p:grpSp>
      <p:sp>
        <p:nvSpPr>
          <p:cNvPr id="2" name="Title 1"/>
          <p:cNvSpPr>
            <a:spLocks noGrp="1"/>
          </p:cNvSpPr>
          <p:nvPr>
            <p:ph type="title"/>
          </p:nvPr>
        </p:nvSpPr>
        <p:spPr/>
        <p:txBody>
          <a:bodyPr/>
          <a:lstStyle/>
          <a:p>
            <a:r>
              <a:rPr lang="en-GB" dirty="0"/>
              <a:t>Modern Data Warehouse</a:t>
            </a:r>
          </a:p>
        </p:txBody>
      </p:sp>
      <p:cxnSp>
        <p:nvCxnSpPr>
          <p:cNvPr id="6" name="Straight Connector 5"/>
          <p:cNvCxnSpPr>
            <a:stCxn id="21" idx="2"/>
          </p:cNvCxnSpPr>
          <p:nvPr/>
        </p:nvCxnSpPr>
        <p:spPr>
          <a:xfrm>
            <a:off x="1799309" y="3730201"/>
            <a:ext cx="532728"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rot="16200000">
            <a:off x="1465495" y="3622172"/>
            <a:ext cx="872365" cy="216047"/>
          </a:xfrm>
          <a:prstGeom prst="rect">
            <a:avLst/>
          </a:prstGeom>
          <a:noFill/>
        </p:spPr>
        <p:txBody>
          <a:bodyPr wrap="square" lIns="76799" tIns="38399" rIns="76799" bIns="38399" rtlCol="0">
            <a:spAutoFit/>
          </a:bodyPr>
          <a:lstStyle/>
          <a:p>
            <a:pPr algn="ctr" defTabSz="576144"/>
            <a:r>
              <a:rPr lang="en-US" sz="900" b="1" dirty="0">
                <a:solidFill>
                  <a:srgbClr val="9B4F96"/>
                </a:solidFill>
                <a:cs typeface="Segoe"/>
              </a:rPr>
              <a:t>Fast</a:t>
            </a:r>
            <a:r>
              <a:rPr lang="en-US" sz="800" b="1" dirty="0">
                <a:solidFill>
                  <a:srgbClr val="9B4F96"/>
                </a:solidFill>
                <a:cs typeface="Segoe"/>
              </a:rPr>
              <a:t>   Load</a:t>
            </a:r>
          </a:p>
        </p:txBody>
      </p:sp>
      <p:cxnSp>
        <p:nvCxnSpPr>
          <p:cNvPr id="10" name="Straight Arrow Connector 9"/>
          <p:cNvCxnSpPr/>
          <p:nvPr/>
        </p:nvCxnSpPr>
        <p:spPr>
          <a:xfrm flipV="1">
            <a:off x="5467409" y="5541124"/>
            <a:ext cx="0" cy="677339"/>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4891909" y="6612016"/>
            <a:ext cx="1151001" cy="216047"/>
          </a:xfrm>
          <a:prstGeom prst="rect">
            <a:avLst/>
          </a:prstGeom>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0072C6"/>
                </a:solidFill>
                <a:cs typeface="Segoe"/>
              </a:rPr>
              <a:t>Source Systems</a:t>
            </a:r>
          </a:p>
        </p:txBody>
      </p:sp>
      <p:sp>
        <p:nvSpPr>
          <p:cNvPr id="13" name="TextBox 12"/>
          <p:cNvSpPr txBox="1"/>
          <p:nvPr/>
        </p:nvSpPr>
        <p:spPr>
          <a:xfrm>
            <a:off x="2984559" y="4404916"/>
            <a:ext cx="1714944" cy="354547"/>
          </a:xfrm>
          <a:prstGeom prst="rect">
            <a:avLst/>
          </a:prstGeom>
          <a:noFill/>
          <a:ln w="9525">
            <a:noFill/>
            <a:miter lim="800000"/>
            <a:headEnd/>
            <a:tailEnd/>
          </a:ln>
          <a:effectLst/>
        </p:spPr>
        <p:txBody>
          <a:bodyPr wrap="square" lIns="76799" tIns="38399" rIns="76799" bIns="38399">
            <a:spAutoFit/>
          </a:bodyPr>
          <a:lstStyle>
            <a:defPPr>
              <a:defRPr lang="en-US"/>
            </a:defPPr>
            <a:lvl1pPr algn="ctr" eaLnBrk="0" hangingPunct="0">
              <a:lnSpc>
                <a:spcPct val="90000"/>
              </a:lnSpc>
              <a:spcBef>
                <a:spcPct val="30000"/>
              </a:spcBef>
              <a:defRPr sz="1400" b="1">
                <a:solidFill>
                  <a:schemeClr val="accent1">
                    <a:lumMod val="50000"/>
                  </a:schemeClr>
                </a:solidFill>
                <a:latin typeface="Segoe Semibold" pitchFamily="34" charset="0"/>
              </a:defRPr>
            </a:lvl1pPr>
          </a:lstStyle>
          <a:p>
            <a:pPr defTabSz="576144"/>
            <a:r>
              <a:rPr lang="en-US" sz="1000" dirty="0">
                <a:solidFill>
                  <a:srgbClr val="008A00"/>
                </a:solidFill>
                <a:latin typeface="+mn-lt"/>
                <a:cs typeface="Segoe"/>
              </a:rPr>
              <a:t>Historical Data</a:t>
            </a:r>
            <a:br>
              <a:rPr lang="en-US" sz="1000" dirty="0">
                <a:solidFill>
                  <a:srgbClr val="008A00"/>
                </a:solidFill>
                <a:latin typeface="+mn-lt"/>
                <a:cs typeface="Segoe"/>
              </a:rPr>
            </a:br>
            <a:r>
              <a:rPr lang="en-US" sz="1000" dirty="0">
                <a:solidFill>
                  <a:srgbClr val="008A00"/>
                </a:solidFill>
                <a:latin typeface="+mn-lt"/>
                <a:cs typeface="Segoe"/>
              </a:rPr>
              <a:t>(Beyond Active Window)</a:t>
            </a:r>
          </a:p>
        </p:txBody>
      </p:sp>
      <p:cxnSp>
        <p:nvCxnSpPr>
          <p:cNvPr id="14" name="Straight Arrow Connector 13"/>
          <p:cNvCxnSpPr/>
          <p:nvPr/>
        </p:nvCxnSpPr>
        <p:spPr>
          <a:xfrm flipV="1">
            <a:off x="5467410" y="4396953"/>
            <a:ext cx="0" cy="603842"/>
          </a:xfrm>
          <a:prstGeom prst="straightConnector1">
            <a:avLst/>
          </a:prstGeom>
          <a:ln w="28575">
            <a:solidFill>
              <a:srgbClr val="9B4F96"/>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endCxn id="71" idx="1"/>
          </p:cNvCxnSpPr>
          <p:nvPr/>
        </p:nvCxnSpPr>
        <p:spPr>
          <a:xfrm flipV="1">
            <a:off x="5907884" y="2926104"/>
            <a:ext cx="860144" cy="45090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endCxn id="72" idx="1"/>
          </p:cNvCxnSpPr>
          <p:nvPr/>
        </p:nvCxnSpPr>
        <p:spPr>
          <a:xfrm>
            <a:off x="5873483" y="3623739"/>
            <a:ext cx="886630" cy="307745"/>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73" idx="1"/>
          </p:cNvCxnSpPr>
          <p:nvPr/>
        </p:nvCxnSpPr>
        <p:spPr>
          <a:xfrm>
            <a:off x="5716967" y="3824232"/>
            <a:ext cx="1043146" cy="105697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4160837" y="3725862"/>
            <a:ext cx="846072" cy="0"/>
          </a:xfrm>
          <a:prstGeom prst="straightConnector1">
            <a:avLst/>
          </a:prstGeom>
          <a:ln w="28575" cap="flat" cmpd="sng" algn="ctr">
            <a:solidFill>
              <a:srgbClr val="9B4F96"/>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 name="Rectangle 9"/>
          <p:cNvSpPr>
            <a:spLocks noChangeArrowheads="1"/>
          </p:cNvSpPr>
          <p:nvPr/>
        </p:nvSpPr>
        <p:spPr bwMode="auto">
          <a:xfrm>
            <a:off x="4164868" y="3371775"/>
            <a:ext cx="901735" cy="3545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cs typeface="Segoe"/>
              </a:rPr>
              <a:t>Summarize &amp; Load</a:t>
            </a:r>
          </a:p>
        </p:txBody>
      </p:sp>
      <p:sp>
        <p:nvSpPr>
          <p:cNvPr id="21" name="Right Bracket 20"/>
          <p:cNvSpPr/>
          <p:nvPr/>
        </p:nvSpPr>
        <p:spPr>
          <a:xfrm>
            <a:off x="1616568" y="2125878"/>
            <a:ext cx="182741" cy="3208646"/>
          </a:xfrm>
          <a:prstGeom prst="rightBracket">
            <a:avLst/>
          </a:prstGeom>
          <a:ln w="28575" cap="flat" cmpd="sng" algn="ctr">
            <a:solidFill>
              <a:srgbClr val="9B4F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76799" tIns="38399" rIns="76799" bIns="38399" rtlCol="0" anchor="ctr"/>
          <a:lstStyle/>
          <a:p>
            <a:pPr algn="ctr" defTabSz="576144"/>
            <a:endParaRPr lang="en-US" sz="900" dirty="0">
              <a:solidFill>
                <a:srgbClr val="FFFFFF"/>
              </a:solidFill>
            </a:endParaRPr>
          </a:p>
        </p:txBody>
      </p:sp>
      <p:cxnSp>
        <p:nvCxnSpPr>
          <p:cNvPr id="22" name="Straight Connector 21"/>
          <p:cNvCxnSpPr/>
          <p:nvPr/>
        </p:nvCxnSpPr>
        <p:spPr>
          <a:xfrm>
            <a:off x="2126709" y="2078478"/>
            <a:ext cx="2530833"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732038" y="2067402"/>
            <a:ext cx="2373361"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4" name="Text Box 14"/>
          <p:cNvSpPr txBox="1">
            <a:spLocks noChangeArrowheads="1"/>
          </p:cNvSpPr>
          <p:nvPr/>
        </p:nvSpPr>
        <p:spPr bwMode="auto">
          <a:xfrm>
            <a:off x="6093492" y="1836384"/>
            <a:ext cx="1450885" cy="2160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ea typeface="Segoe UI" pitchFamily="34" charset="0"/>
                <a:cs typeface="Segoe"/>
              </a:rPr>
              <a:t>Alerts, Notifications</a:t>
            </a:r>
          </a:p>
        </p:txBody>
      </p:sp>
      <p:cxnSp>
        <p:nvCxnSpPr>
          <p:cNvPr id="25" name="Straight Connector 24"/>
          <p:cNvCxnSpPr/>
          <p:nvPr/>
        </p:nvCxnSpPr>
        <p:spPr>
          <a:xfrm flipV="1">
            <a:off x="2126706" y="2063412"/>
            <a:ext cx="0" cy="1666784"/>
          </a:xfrm>
          <a:prstGeom prst="line">
            <a:avLst/>
          </a:prstGeom>
          <a:ln w="28575" cap="flat" cmpd="sng" algn="ctr">
            <a:solidFill>
              <a:srgbClr val="9B4F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67" idx="2"/>
          </p:cNvCxnSpPr>
          <p:nvPr/>
        </p:nvCxnSpPr>
        <p:spPr>
          <a:xfrm>
            <a:off x="5227638" y="2466308"/>
            <a:ext cx="0" cy="35106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2" name="Rectangle 41"/>
          <p:cNvSpPr/>
          <p:nvPr/>
        </p:nvSpPr>
        <p:spPr>
          <a:xfrm>
            <a:off x="2162541" y="2131156"/>
            <a:ext cx="1250333" cy="400110"/>
          </a:xfrm>
          <a:prstGeom prst="rect">
            <a:avLst/>
          </a:prstGeom>
        </p:spPr>
        <p:txBody>
          <a:bodyPr wrap="square">
            <a:spAutoFit/>
          </a:bodyPr>
          <a:lstStyle/>
          <a:p>
            <a:pPr algn="ctr" defTabSz="576144"/>
            <a:r>
              <a:rPr lang="en-US" sz="1000" b="1" dirty="0">
                <a:solidFill>
                  <a:srgbClr val="9B4F96"/>
                </a:solidFill>
                <a:latin typeface="Segoe UI" panose="020B0502040204020203" pitchFamily="34" charset="0"/>
                <a:ea typeface="Segoe UI" panose="020B0502040204020203" pitchFamily="34" charset="0"/>
                <a:cs typeface="Segoe UI" panose="020B0502040204020203" pitchFamily="34" charset="0"/>
              </a:rPr>
              <a:t>Data &amp; Compute Intensive App</a:t>
            </a:r>
          </a:p>
        </p:txBody>
      </p:sp>
      <p:cxnSp>
        <p:nvCxnSpPr>
          <p:cNvPr id="43" name="Elbow Connector 42"/>
          <p:cNvCxnSpPr/>
          <p:nvPr/>
        </p:nvCxnSpPr>
        <p:spPr>
          <a:xfrm rot="16200000" flipH="1">
            <a:off x="3815344" y="3244399"/>
            <a:ext cx="11158" cy="2323368"/>
          </a:xfrm>
          <a:prstGeom prst="bentConnector3">
            <a:avLst>
              <a:gd name="adj1" fmla="val 3455691"/>
            </a:avLst>
          </a:prstGeom>
          <a:ln w="28575">
            <a:solidFill>
              <a:srgbClr val="9B4F96"/>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8" name="Group 47"/>
          <p:cNvGrpSpPr/>
          <p:nvPr/>
        </p:nvGrpSpPr>
        <p:grpSpPr bwMode="black">
          <a:xfrm flipH="1">
            <a:off x="8133343" y="1682316"/>
            <a:ext cx="212233" cy="443596"/>
            <a:chOff x="8920162" y="3943878"/>
            <a:chExt cx="419101" cy="889001"/>
          </a:xfrm>
          <a:solidFill>
            <a:srgbClr val="0072C6"/>
          </a:solidFill>
        </p:grpSpPr>
        <p:sp>
          <p:nvSpPr>
            <p:cNvPr id="49"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0"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1"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2"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3"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4"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grpSp>
      <p:grpSp>
        <p:nvGrpSpPr>
          <p:cNvPr id="55" name="Group 54"/>
          <p:cNvGrpSpPr/>
          <p:nvPr/>
        </p:nvGrpSpPr>
        <p:grpSpPr bwMode="black">
          <a:xfrm>
            <a:off x="5151437" y="5021262"/>
            <a:ext cx="630438" cy="515514"/>
            <a:chOff x="5184775" y="225425"/>
            <a:chExt cx="1500188" cy="1220788"/>
          </a:xfrm>
          <a:solidFill>
            <a:srgbClr val="0072C6"/>
          </a:solidFill>
        </p:grpSpPr>
        <p:sp>
          <p:nvSpPr>
            <p:cNvPr id="5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grpSp>
      <p:sp>
        <p:nvSpPr>
          <p:cNvPr id="59" name="Rectangle 58"/>
          <p:cNvSpPr/>
          <p:nvPr/>
        </p:nvSpPr>
        <p:spPr>
          <a:xfrm>
            <a:off x="5456237" y="4572479"/>
            <a:ext cx="790004" cy="354547"/>
          </a:xfrm>
          <a:prstGeom prst="rect">
            <a:avLst/>
          </a:prstGeom>
        </p:spPr>
        <p:txBody>
          <a:bodyPr wrap="square" lIns="76799" tIns="38399" rIns="76799" bIns="38399">
            <a:spAutoFit/>
          </a:bodyPr>
          <a:lstStyle/>
          <a:p>
            <a:pPr defTabSz="576144" eaLnBrk="0" hangingPunct="0">
              <a:lnSpc>
                <a:spcPct val="90000"/>
              </a:lnSpc>
              <a:spcBef>
                <a:spcPct val="30000"/>
              </a:spcBef>
              <a:defRPr/>
            </a:pPr>
            <a:r>
              <a:rPr lang="en-US" sz="1000" b="1" dirty="0">
                <a:solidFill>
                  <a:srgbClr val="9B4F96"/>
                </a:solidFill>
                <a:cs typeface="Segoe"/>
              </a:rPr>
              <a:t>Integrate/Enrich</a:t>
            </a:r>
          </a:p>
        </p:txBody>
      </p:sp>
      <p:sp>
        <p:nvSpPr>
          <p:cNvPr id="60" name="Freeform 81"/>
          <p:cNvSpPr>
            <a:spLocks noEditPoints="1"/>
          </p:cNvSpPr>
          <p:nvPr/>
        </p:nvSpPr>
        <p:spPr bwMode="black">
          <a:xfrm>
            <a:off x="4892985" y="1515707"/>
            <a:ext cx="669304" cy="40545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0072C6"/>
          </a:solidFill>
          <a:ln>
            <a:noFill/>
          </a:ln>
        </p:spPr>
        <p:txBody>
          <a:bodyPr vert="horz" wrap="square" lIns="51858" tIns="25930" rIns="51858" bIns="25930" numCol="1" anchor="t" anchorCtr="0" compatLnSpc="1">
            <a:prstTxWarp prst="textNoShape">
              <a:avLst/>
            </a:prstTxWarp>
          </a:bodyPr>
          <a:lstStyle/>
          <a:p>
            <a:pPr defTabSz="576144"/>
            <a:endParaRPr lang="en-US" sz="1000" dirty="0">
              <a:solidFill>
                <a:srgbClr val="FFFFFF"/>
              </a:solidFill>
            </a:endParaRPr>
          </a:p>
        </p:txBody>
      </p:sp>
      <p:sp>
        <p:nvSpPr>
          <p:cNvPr id="61" name="Freeform 23"/>
          <p:cNvSpPr>
            <a:spLocks noEditPoints="1"/>
          </p:cNvSpPr>
          <p:nvPr/>
        </p:nvSpPr>
        <p:spPr bwMode="black">
          <a:xfrm>
            <a:off x="7221905" y="4256132"/>
            <a:ext cx="421704" cy="43185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2C6"/>
          </a:solidFill>
          <a:ln>
            <a:noFill/>
          </a:ln>
        </p:spPr>
        <p:txBody>
          <a:bodyPr vert="horz" wrap="square" lIns="51858" tIns="25930" rIns="51858" bIns="25930" numCol="1" anchor="t" anchorCtr="0" compatLnSpc="1">
            <a:prstTxWarp prst="textNoShape">
              <a:avLst/>
            </a:prstTxWarp>
          </a:bodyPr>
          <a:lstStyle/>
          <a:p>
            <a:pPr defTabSz="576144"/>
            <a:endParaRPr lang="en-US" sz="1000" dirty="0">
              <a:solidFill>
                <a:srgbClr val="FFFFFF"/>
              </a:solidFill>
            </a:endParaRPr>
          </a:p>
        </p:txBody>
      </p:sp>
      <p:sp>
        <p:nvSpPr>
          <p:cNvPr id="67" name="Rectangle 66"/>
          <p:cNvSpPr/>
          <p:nvPr/>
        </p:nvSpPr>
        <p:spPr>
          <a:xfrm>
            <a:off x="4670637" y="1973262"/>
            <a:ext cx="1114001" cy="493046"/>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Azure Stream Analytics / StreamInsight</a:t>
            </a:r>
          </a:p>
        </p:txBody>
      </p:sp>
      <p:sp>
        <p:nvSpPr>
          <p:cNvPr id="68" name="Rectangle 67"/>
          <p:cNvSpPr/>
          <p:nvPr/>
        </p:nvSpPr>
        <p:spPr>
          <a:xfrm>
            <a:off x="4956046" y="5756566"/>
            <a:ext cx="1022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ETL with SSIS, DQS, MDS</a:t>
            </a:r>
          </a:p>
        </p:txBody>
      </p:sp>
      <p:sp>
        <p:nvSpPr>
          <p:cNvPr id="70" name="Rectangle 69"/>
          <p:cNvSpPr/>
          <p:nvPr/>
        </p:nvSpPr>
        <p:spPr>
          <a:xfrm>
            <a:off x="3233156" y="4031083"/>
            <a:ext cx="1163978"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HDInsight on Windows Server</a:t>
            </a:r>
          </a:p>
        </p:txBody>
      </p:sp>
      <p:sp>
        <p:nvSpPr>
          <p:cNvPr id="71" name="Rectangle 70"/>
          <p:cNvSpPr/>
          <p:nvPr/>
        </p:nvSpPr>
        <p:spPr>
          <a:xfrm>
            <a:off x="6768028" y="2748830"/>
            <a:ext cx="132945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FTDW Data Marts</a:t>
            </a:r>
          </a:p>
        </p:txBody>
      </p:sp>
      <p:sp>
        <p:nvSpPr>
          <p:cNvPr id="72" name="Rectangle 71"/>
          <p:cNvSpPr/>
          <p:nvPr/>
        </p:nvSpPr>
        <p:spPr>
          <a:xfrm>
            <a:off x="6760113" y="3754210"/>
            <a:ext cx="134528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Reporting Services</a:t>
            </a:r>
          </a:p>
        </p:txBody>
      </p:sp>
      <p:sp>
        <p:nvSpPr>
          <p:cNvPr id="73" name="Rectangle 72"/>
          <p:cNvSpPr/>
          <p:nvPr/>
        </p:nvSpPr>
        <p:spPr>
          <a:xfrm>
            <a:off x="6760113" y="4703934"/>
            <a:ext cx="134528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Analysis Server</a:t>
            </a:r>
          </a:p>
        </p:txBody>
      </p:sp>
      <p:sp>
        <p:nvSpPr>
          <p:cNvPr id="81" name="Rectangle 80"/>
          <p:cNvSpPr/>
          <p:nvPr/>
        </p:nvSpPr>
        <p:spPr>
          <a:xfrm>
            <a:off x="4658326" y="4023691"/>
            <a:ext cx="1138622" cy="369331"/>
          </a:xfrm>
          <a:prstGeom prst="rect">
            <a:avLst/>
          </a:prstGeom>
          <a:solidFill>
            <a:srgbClr val="00B050"/>
          </a:solidFill>
        </p:spPr>
        <p:txBody>
          <a:bodyPr wrap="square">
            <a:spAutoFit/>
          </a:bodyPr>
          <a:lstStyle/>
          <a:p>
            <a:pPr algn="ctr" defTabSz="576144"/>
            <a:r>
              <a:rPr lang="it-IT" sz="900" b="1" dirty="0">
                <a:solidFill>
                  <a:srgbClr val="FFFFFF"/>
                </a:solidFill>
              </a:rPr>
              <a:t>Analytics Platform System</a:t>
            </a:r>
          </a:p>
        </p:txBody>
      </p:sp>
      <p:sp>
        <p:nvSpPr>
          <p:cNvPr id="84" name="Rectangle 83"/>
          <p:cNvSpPr/>
          <p:nvPr/>
        </p:nvSpPr>
        <p:spPr>
          <a:xfrm>
            <a:off x="2771410" y="5000795"/>
            <a:ext cx="1022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Azure Market Place</a:t>
            </a:r>
            <a:endParaRPr lang="it-IT" sz="900" dirty="0">
              <a:solidFill>
                <a:srgbClr val="FFFFFF"/>
              </a:solidFill>
            </a:endParaRPr>
          </a:p>
        </p:txBody>
      </p:sp>
      <p:sp>
        <p:nvSpPr>
          <p:cNvPr id="74" name="Rectangle 73"/>
          <p:cNvSpPr/>
          <p:nvPr/>
        </p:nvSpPr>
        <p:spPr>
          <a:xfrm>
            <a:off x="10398263" y="2022380"/>
            <a:ext cx="1215606" cy="1005840"/>
          </a:xfrm>
          <a:prstGeom prst="rect">
            <a:avLst/>
          </a:prstGeom>
          <a:solidFill>
            <a:schemeClr val="accent1"/>
          </a:solidFill>
        </p:spPr>
        <p:txBody>
          <a:bodyPr wrap="square" lIns="76799" tIns="38399" rIns="76799" bIns="38399" anchor="b" anchorCtr="0">
            <a:noAutofit/>
          </a:bodyPr>
          <a:lstStyle/>
          <a:p>
            <a:pPr algn="ctr" defTabSz="576144"/>
            <a:r>
              <a:rPr lang="it-IT" sz="900" b="1" dirty="0">
                <a:solidFill>
                  <a:srgbClr val="FFFFFF"/>
                </a:solidFill>
              </a:rPr>
              <a:t>Business Insights</a:t>
            </a:r>
          </a:p>
        </p:txBody>
      </p:sp>
      <p:sp>
        <p:nvSpPr>
          <p:cNvPr id="75" name="Rectangle 74"/>
          <p:cNvSpPr/>
          <p:nvPr/>
        </p:nvSpPr>
        <p:spPr>
          <a:xfrm>
            <a:off x="10398263" y="3405822"/>
            <a:ext cx="1215606" cy="1005840"/>
          </a:xfrm>
          <a:prstGeom prst="rect">
            <a:avLst/>
          </a:prstGeom>
          <a:solidFill>
            <a:schemeClr val="accent1"/>
          </a:solidFill>
        </p:spPr>
        <p:txBody>
          <a:bodyPr wrap="square" lIns="76799" tIns="38399" rIns="76799" bIns="38399" anchor="b" anchorCtr="0">
            <a:noAutofit/>
          </a:bodyPr>
          <a:lstStyle/>
          <a:p>
            <a:pPr algn="ctr" defTabSz="576144"/>
            <a:r>
              <a:rPr lang="it-IT" sz="900" b="1" dirty="0">
                <a:solidFill>
                  <a:srgbClr val="FFFFFF"/>
                </a:solidFill>
              </a:rPr>
              <a:t>Interactive Reports</a:t>
            </a:r>
          </a:p>
        </p:txBody>
      </p:sp>
      <p:cxnSp>
        <p:nvCxnSpPr>
          <p:cNvPr id="113" name="Straight Arrow Connector 112"/>
          <p:cNvCxnSpPr/>
          <p:nvPr/>
        </p:nvCxnSpPr>
        <p:spPr>
          <a:xfrm>
            <a:off x="3932237" y="3040062"/>
            <a:ext cx="1049572" cy="0"/>
          </a:xfrm>
          <a:prstGeom prst="straightConnector1">
            <a:avLst/>
          </a:prstGeom>
          <a:ln w="28575" cap="flat" cmpd="sng" algn="ctr">
            <a:solidFill>
              <a:srgbClr val="9B4F96"/>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4" name="Rectangle 9"/>
          <p:cNvSpPr>
            <a:spLocks noChangeArrowheads="1"/>
          </p:cNvSpPr>
          <p:nvPr/>
        </p:nvSpPr>
        <p:spPr bwMode="auto">
          <a:xfrm>
            <a:off x="3785006" y="2472603"/>
            <a:ext cx="1295609" cy="493046"/>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cs typeface="Segoe"/>
              </a:rPr>
              <a:t>Summarize &amp; Load via PDW Hadoop Connector</a:t>
            </a:r>
          </a:p>
        </p:txBody>
      </p:sp>
      <p:grpSp>
        <p:nvGrpSpPr>
          <p:cNvPr id="115" name="Group 114"/>
          <p:cNvGrpSpPr/>
          <p:nvPr/>
        </p:nvGrpSpPr>
        <p:grpSpPr bwMode="black">
          <a:xfrm>
            <a:off x="3581842" y="2906149"/>
            <a:ext cx="415134" cy="414957"/>
            <a:chOff x="3422650" y="3467107"/>
            <a:chExt cx="533400" cy="549268"/>
          </a:xfrm>
          <a:solidFill>
            <a:srgbClr val="0072C6"/>
          </a:solidFill>
        </p:grpSpPr>
        <p:sp>
          <p:nvSpPr>
            <p:cNvPr id="116"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68598" tIns="34299" rIns="68598" bIns="34299" numCol="1" anchor="t" anchorCtr="0" compatLnSpc="1">
              <a:prstTxWarp prst="textNoShape">
                <a:avLst/>
              </a:prstTxWarp>
            </a:bodyPr>
            <a:lstStyle/>
            <a:p>
              <a:pPr defTabSz="576144"/>
              <a:endParaRPr lang="en-US" sz="1200" dirty="0">
                <a:solidFill>
                  <a:srgbClr val="FFFFFF"/>
                </a:solidFill>
              </a:endParaRPr>
            </a:p>
          </p:txBody>
        </p:sp>
        <p:sp>
          <p:nvSpPr>
            <p:cNvPr id="117"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68598" tIns="34299" rIns="68598" bIns="34299" numCol="1" anchor="t" anchorCtr="0" compatLnSpc="1">
              <a:prstTxWarp prst="textNoShape">
                <a:avLst/>
              </a:prstTxWarp>
            </a:bodyPr>
            <a:lstStyle/>
            <a:p>
              <a:pPr defTabSz="576144"/>
              <a:endParaRPr lang="en-US" sz="1200" dirty="0">
                <a:solidFill>
                  <a:srgbClr val="FFFFFF"/>
                </a:solidFill>
              </a:endParaRPr>
            </a:p>
          </p:txBody>
        </p:sp>
      </p:grpSp>
      <p:cxnSp>
        <p:nvCxnSpPr>
          <p:cNvPr id="128" name="Straight Arrow Connector 127"/>
          <p:cNvCxnSpPr/>
          <p:nvPr/>
        </p:nvCxnSpPr>
        <p:spPr>
          <a:xfrm>
            <a:off x="8097323" y="2901454"/>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p:cNvCxnSpPr/>
          <p:nvPr/>
        </p:nvCxnSpPr>
        <p:spPr>
          <a:xfrm>
            <a:off x="8097323" y="3906834"/>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0" name="Straight Arrow Connector 129"/>
          <p:cNvCxnSpPr/>
          <p:nvPr/>
        </p:nvCxnSpPr>
        <p:spPr>
          <a:xfrm>
            <a:off x="8097323" y="4877916"/>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135" name="Group 134"/>
          <p:cNvGrpSpPr/>
          <p:nvPr/>
        </p:nvGrpSpPr>
        <p:grpSpPr>
          <a:xfrm>
            <a:off x="4618037" y="6259963"/>
            <a:ext cx="1698745" cy="386407"/>
            <a:chOff x="1985253" y="3642357"/>
            <a:chExt cx="1698745" cy="386407"/>
          </a:xfrm>
        </p:grpSpPr>
        <p:grpSp>
          <p:nvGrpSpPr>
            <p:cNvPr id="136" name="Group 135"/>
            <p:cNvGrpSpPr/>
            <p:nvPr/>
          </p:nvGrpSpPr>
          <p:grpSpPr>
            <a:xfrm>
              <a:off x="1985253" y="3642357"/>
              <a:ext cx="398885" cy="386407"/>
              <a:chOff x="2559998" y="2803510"/>
              <a:chExt cx="398885" cy="540307"/>
            </a:xfrm>
          </p:grpSpPr>
          <p:sp>
            <p:nvSpPr>
              <p:cNvPr id="149"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50"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ERP</a:t>
                </a:r>
              </a:p>
            </p:txBody>
          </p:sp>
          <p:sp>
            <p:nvSpPr>
              <p:cNvPr id="151"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7" name="Group 136"/>
            <p:cNvGrpSpPr/>
            <p:nvPr/>
          </p:nvGrpSpPr>
          <p:grpSpPr>
            <a:xfrm>
              <a:off x="2418540" y="3642357"/>
              <a:ext cx="398885" cy="386407"/>
              <a:chOff x="2559998" y="2803510"/>
              <a:chExt cx="398885" cy="540307"/>
            </a:xfrm>
          </p:grpSpPr>
          <p:sp>
            <p:nvSpPr>
              <p:cNvPr id="146"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7"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CRM</a:t>
                </a:r>
              </a:p>
            </p:txBody>
          </p:sp>
          <p:sp>
            <p:nvSpPr>
              <p:cNvPr id="148"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8" name="Group 137"/>
            <p:cNvGrpSpPr/>
            <p:nvPr/>
          </p:nvGrpSpPr>
          <p:grpSpPr>
            <a:xfrm>
              <a:off x="2851827" y="3642357"/>
              <a:ext cx="398885" cy="386407"/>
              <a:chOff x="2559998" y="2803510"/>
              <a:chExt cx="398885" cy="540307"/>
            </a:xfrm>
          </p:grpSpPr>
          <p:sp>
            <p:nvSpPr>
              <p:cNvPr id="143"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4"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LOB</a:t>
                </a:r>
              </a:p>
            </p:txBody>
          </p:sp>
          <p:sp>
            <p:nvSpPr>
              <p:cNvPr id="145"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9" name="Group 138"/>
            <p:cNvGrpSpPr/>
            <p:nvPr/>
          </p:nvGrpSpPr>
          <p:grpSpPr>
            <a:xfrm>
              <a:off x="3285113" y="3642357"/>
              <a:ext cx="398885" cy="386407"/>
              <a:chOff x="2559998" y="2803510"/>
              <a:chExt cx="398885" cy="540307"/>
            </a:xfrm>
          </p:grpSpPr>
          <p:sp>
            <p:nvSpPr>
              <p:cNvPr id="140"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1"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APPS</a:t>
                </a:r>
              </a:p>
            </p:txBody>
          </p:sp>
          <p:sp>
            <p:nvSpPr>
              <p:cNvPr id="142"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sp>
        <p:nvSpPr>
          <p:cNvPr id="191" name="Freeform 113"/>
          <p:cNvSpPr>
            <a:spLocks noEditPoints="1"/>
          </p:cNvSpPr>
          <p:nvPr/>
        </p:nvSpPr>
        <p:spPr bwMode="auto">
          <a:xfrm>
            <a:off x="5091642" y="2851933"/>
            <a:ext cx="681805" cy="1024544"/>
          </a:xfrm>
          <a:custGeom>
            <a:avLst/>
            <a:gdLst>
              <a:gd name="T0" fmla="*/ 523 w 1094"/>
              <a:gd name="T1" fmla="*/ 0 h 1149"/>
              <a:gd name="T2" fmla="*/ 0 w 1094"/>
              <a:gd name="T3" fmla="*/ 68 h 1149"/>
              <a:gd name="T4" fmla="*/ 0 w 1094"/>
              <a:gd name="T5" fmla="*/ 1065 h 1149"/>
              <a:gd name="T6" fmla="*/ 523 w 1094"/>
              <a:gd name="T7" fmla="*/ 1149 h 1149"/>
              <a:gd name="T8" fmla="*/ 1094 w 1094"/>
              <a:gd name="T9" fmla="*/ 946 h 1149"/>
              <a:gd name="T10" fmla="*/ 1094 w 1094"/>
              <a:gd name="T11" fmla="*/ 173 h 1149"/>
              <a:gd name="T12" fmla="*/ 523 w 1094"/>
              <a:gd name="T13" fmla="*/ 0 h 1149"/>
              <a:gd name="T14" fmla="*/ 475 w 1094"/>
              <a:gd name="T15" fmla="*/ 562 h 1149"/>
              <a:gd name="T16" fmla="*/ 46 w 1094"/>
              <a:gd name="T17" fmla="*/ 559 h 1149"/>
              <a:gd name="T18" fmla="*/ 46 w 1094"/>
              <a:gd name="T19" fmla="*/ 490 h 1149"/>
              <a:gd name="T20" fmla="*/ 475 w 1094"/>
              <a:gd name="T21" fmla="*/ 486 h 1149"/>
              <a:gd name="T22" fmla="*/ 475 w 1094"/>
              <a:gd name="T23" fmla="*/ 562 h 1149"/>
              <a:gd name="T24" fmla="*/ 45 w 1094"/>
              <a:gd name="T25" fmla="*/ 591 h 1149"/>
              <a:gd name="T26" fmla="*/ 474 w 1094"/>
              <a:gd name="T27" fmla="*/ 593 h 1149"/>
              <a:gd name="T28" fmla="*/ 474 w 1094"/>
              <a:gd name="T29" fmla="*/ 676 h 1149"/>
              <a:gd name="T30" fmla="*/ 45 w 1094"/>
              <a:gd name="T31" fmla="*/ 661 h 1149"/>
              <a:gd name="T32" fmla="*/ 45 w 1094"/>
              <a:gd name="T33" fmla="*/ 591 h 1149"/>
              <a:gd name="T34" fmla="*/ 475 w 1094"/>
              <a:gd name="T35" fmla="*/ 455 h 1149"/>
              <a:gd name="T36" fmla="*/ 46 w 1094"/>
              <a:gd name="T37" fmla="*/ 459 h 1149"/>
              <a:gd name="T38" fmla="*/ 46 w 1094"/>
              <a:gd name="T39" fmla="*/ 390 h 1149"/>
              <a:gd name="T40" fmla="*/ 475 w 1094"/>
              <a:gd name="T41" fmla="*/ 374 h 1149"/>
              <a:gd name="T42" fmla="*/ 475 w 1094"/>
              <a:gd name="T43" fmla="*/ 455 h 1149"/>
              <a:gd name="T44" fmla="*/ 46 w 1094"/>
              <a:gd name="T45" fmla="*/ 89 h 1149"/>
              <a:gd name="T46" fmla="*/ 475 w 1094"/>
              <a:gd name="T47" fmla="*/ 37 h 1149"/>
              <a:gd name="T48" fmla="*/ 475 w 1094"/>
              <a:gd name="T49" fmla="*/ 116 h 1149"/>
              <a:gd name="T50" fmla="*/ 46 w 1094"/>
              <a:gd name="T51" fmla="*/ 157 h 1149"/>
              <a:gd name="T52" fmla="*/ 46 w 1094"/>
              <a:gd name="T53" fmla="*/ 89 h 1149"/>
              <a:gd name="T54" fmla="*/ 46 w 1094"/>
              <a:gd name="T55" fmla="*/ 190 h 1149"/>
              <a:gd name="T56" fmla="*/ 475 w 1094"/>
              <a:gd name="T57" fmla="*/ 148 h 1149"/>
              <a:gd name="T58" fmla="*/ 475 w 1094"/>
              <a:gd name="T59" fmla="*/ 226 h 1149"/>
              <a:gd name="T60" fmla="*/ 46 w 1094"/>
              <a:gd name="T61" fmla="*/ 260 h 1149"/>
              <a:gd name="T62" fmla="*/ 46 w 1094"/>
              <a:gd name="T63" fmla="*/ 190 h 1149"/>
              <a:gd name="T64" fmla="*/ 475 w 1094"/>
              <a:gd name="T65" fmla="*/ 258 h 1149"/>
              <a:gd name="T66" fmla="*/ 475 w 1094"/>
              <a:gd name="T67" fmla="*/ 342 h 1149"/>
              <a:gd name="T68" fmla="*/ 46 w 1094"/>
              <a:gd name="T69" fmla="*/ 358 h 1149"/>
              <a:gd name="T70" fmla="*/ 46 w 1094"/>
              <a:gd name="T71" fmla="*/ 292 h 1149"/>
              <a:gd name="T72" fmla="*/ 475 w 1094"/>
              <a:gd name="T73" fmla="*/ 258 h 1149"/>
              <a:gd name="T74" fmla="*/ 45 w 1094"/>
              <a:gd name="T75" fmla="*/ 1047 h 1149"/>
              <a:gd name="T76" fmla="*/ 45 w 1094"/>
              <a:gd name="T77" fmla="*/ 693 h 1149"/>
              <a:gd name="T78" fmla="*/ 474 w 1094"/>
              <a:gd name="T79" fmla="*/ 707 h 1149"/>
              <a:gd name="T80" fmla="*/ 474 w 1094"/>
              <a:gd name="T81" fmla="*/ 1112 h 1149"/>
              <a:gd name="T82" fmla="*/ 45 w 1094"/>
              <a:gd name="T83" fmla="*/ 104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4" h="1149">
                <a:moveTo>
                  <a:pt x="523" y="0"/>
                </a:moveTo>
                <a:lnTo>
                  <a:pt x="0" y="68"/>
                </a:lnTo>
                <a:lnTo>
                  <a:pt x="0" y="1065"/>
                </a:lnTo>
                <a:lnTo>
                  <a:pt x="523" y="1149"/>
                </a:lnTo>
                <a:lnTo>
                  <a:pt x="1094" y="946"/>
                </a:lnTo>
                <a:lnTo>
                  <a:pt x="1094" y="173"/>
                </a:lnTo>
                <a:lnTo>
                  <a:pt x="523" y="0"/>
                </a:lnTo>
                <a:close/>
                <a:moveTo>
                  <a:pt x="475" y="562"/>
                </a:moveTo>
                <a:lnTo>
                  <a:pt x="46" y="559"/>
                </a:lnTo>
                <a:lnTo>
                  <a:pt x="46" y="490"/>
                </a:lnTo>
                <a:lnTo>
                  <a:pt x="475" y="486"/>
                </a:lnTo>
                <a:lnTo>
                  <a:pt x="475" y="562"/>
                </a:lnTo>
                <a:close/>
                <a:moveTo>
                  <a:pt x="45" y="591"/>
                </a:moveTo>
                <a:lnTo>
                  <a:pt x="474" y="593"/>
                </a:lnTo>
                <a:lnTo>
                  <a:pt x="474" y="676"/>
                </a:lnTo>
                <a:lnTo>
                  <a:pt x="45" y="661"/>
                </a:lnTo>
                <a:lnTo>
                  <a:pt x="45" y="591"/>
                </a:lnTo>
                <a:close/>
                <a:moveTo>
                  <a:pt x="475" y="455"/>
                </a:moveTo>
                <a:lnTo>
                  <a:pt x="46" y="459"/>
                </a:lnTo>
                <a:lnTo>
                  <a:pt x="46" y="390"/>
                </a:lnTo>
                <a:lnTo>
                  <a:pt x="475" y="374"/>
                </a:lnTo>
                <a:lnTo>
                  <a:pt x="475" y="455"/>
                </a:lnTo>
                <a:close/>
                <a:moveTo>
                  <a:pt x="46" y="89"/>
                </a:moveTo>
                <a:lnTo>
                  <a:pt x="475" y="37"/>
                </a:lnTo>
                <a:lnTo>
                  <a:pt x="475" y="116"/>
                </a:lnTo>
                <a:lnTo>
                  <a:pt x="46" y="157"/>
                </a:lnTo>
                <a:lnTo>
                  <a:pt x="46" y="89"/>
                </a:lnTo>
                <a:close/>
                <a:moveTo>
                  <a:pt x="46" y="190"/>
                </a:moveTo>
                <a:lnTo>
                  <a:pt x="475" y="148"/>
                </a:lnTo>
                <a:lnTo>
                  <a:pt x="475" y="226"/>
                </a:lnTo>
                <a:lnTo>
                  <a:pt x="46" y="260"/>
                </a:lnTo>
                <a:lnTo>
                  <a:pt x="46" y="190"/>
                </a:lnTo>
                <a:close/>
                <a:moveTo>
                  <a:pt x="475" y="258"/>
                </a:moveTo>
                <a:lnTo>
                  <a:pt x="475" y="342"/>
                </a:lnTo>
                <a:lnTo>
                  <a:pt x="46" y="358"/>
                </a:lnTo>
                <a:lnTo>
                  <a:pt x="46" y="292"/>
                </a:lnTo>
                <a:lnTo>
                  <a:pt x="475" y="258"/>
                </a:lnTo>
                <a:close/>
                <a:moveTo>
                  <a:pt x="45" y="1047"/>
                </a:moveTo>
                <a:lnTo>
                  <a:pt x="45" y="693"/>
                </a:lnTo>
                <a:lnTo>
                  <a:pt x="474" y="707"/>
                </a:lnTo>
                <a:lnTo>
                  <a:pt x="474" y="1112"/>
                </a:lnTo>
                <a:lnTo>
                  <a:pt x="45" y="1047"/>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Segoe UI"/>
            </a:endParaRPr>
          </a:p>
        </p:txBody>
      </p:sp>
      <p:sp>
        <p:nvSpPr>
          <p:cNvPr id="192" name="Rectangle 191"/>
          <p:cNvSpPr/>
          <p:nvPr/>
        </p:nvSpPr>
        <p:spPr bwMode="auto">
          <a:xfrm>
            <a:off x="8800426" y="2577393"/>
            <a:ext cx="1356949" cy="262785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b="1" dirty="0">
                <a:gradFill>
                  <a:gsLst>
                    <a:gs pos="0">
                      <a:srgbClr val="FFFFFF"/>
                    </a:gs>
                    <a:gs pos="100000">
                      <a:srgbClr val="FFFFFF"/>
                    </a:gs>
                  </a:gsLst>
                  <a:lin ang="5400000" scaled="0"/>
                </a:gradFill>
              </a:rPr>
              <a:t>Users /</a:t>
            </a:r>
            <a:br>
              <a:rPr lang="en-US" sz="1100" b="1" dirty="0">
                <a:gradFill>
                  <a:gsLst>
                    <a:gs pos="0">
                      <a:srgbClr val="FFFFFF"/>
                    </a:gs>
                    <a:gs pos="100000">
                      <a:srgbClr val="FFFFFF"/>
                    </a:gs>
                  </a:gsLst>
                  <a:lin ang="5400000" scaled="0"/>
                </a:gradFill>
              </a:rPr>
            </a:br>
            <a:r>
              <a:rPr lang="en-US" sz="1100" b="1" dirty="0">
                <a:gradFill>
                  <a:gsLst>
                    <a:gs pos="0">
                      <a:srgbClr val="FFFFFF"/>
                    </a:gs>
                    <a:gs pos="100000">
                      <a:srgbClr val="FFFFFF"/>
                    </a:gs>
                  </a:gsLst>
                  <a:lin ang="5400000" scaled="0"/>
                </a:gradFill>
              </a:rPr>
              <a:t>Consumers</a:t>
            </a:r>
          </a:p>
        </p:txBody>
      </p:sp>
      <p:grpSp>
        <p:nvGrpSpPr>
          <p:cNvPr id="193" name="Group 192"/>
          <p:cNvGrpSpPr>
            <a:grpSpLocks noChangeAspect="1"/>
          </p:cNvGrpSpPr>
          <p:nvPr/>
        </p:nvGrpSpPr>
        <p:grpSpPr>
          <a:xfrm>
            <a:off x="8900519" y="4641225"/>
            <a:ext cx="387901" cy="460164"/>
            <a:chOff x="9195707" y="4191471"/>
            <a:chExt cx="637236" cy="755949"/>
          </a:xfrm>
          <a:solidFill>
            <a:schemeClr val="bg1"/>
          </a:solidFill>
        </p:grpSpPr>
        <p:sp>
          <p:nvSpPr>
            <p:cNvPr id="194" name="Oval 193"/>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195" name="Freeform 194"/>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196" name="Group 195"/>
          <p:cNvGrpSpPr>
            <a:grpSpLocks noChangeAspect="1"/>
          </p:cNvGrpSpPr>
          <p:nvPr/>
        </p:nvGrpSpPr>
        <p:grpSpPr>
          <a:xfrm>
            <a:off x="8900519" y="2627113"/>
            <a:ext cx="387901" cy="460164"/>
            <a:chOff x="9195707" y="4191471"/>
            <a:chExt cx="637236" cy="755949"/>
          </a:xfrm>
          <a:solidFill>
            <a:schemeClr val="bg1"/>
          </a:solidFill>
        </p:grpSpPr>
        <p:sp>
          <p:nvSpPr>
            <p:cNvPr id="197" name="Oval 196"/>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198" name="Freeform 197"/>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199" name="Group 198"/>
          <p:cNvGrpSpPr>
            <a:grpSpLocks noChangeAspect="1"/>
          </p:cNvGrpSpPr>
          <p:nvPr/>
        </p:nvGrpSpPr>
        <p:grpSpPr>
          <a:xfrm>
            <a:off x="9648519" y="4641225"/>
            <a:ext cx="387901" cy="460164"/>
            <a:chOff x="9195707" y="4191471"/>
            <a:chExt cx="637236" cy="755949"/>
          </a:xfrm>
          <a:solidFill>
            <a:schemeClr val="bg1"/>
          </a:solidFill>
        </p:grpSpPr>
        <p:sp>
          <p:nvSpPr>
            <p:cNvPr id="200" name="Oval 199"/>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201" name="Freeform 200"/>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202" name="Group 201"/>
          <p:cNvGrpSpPr>
            <a:grpSpLocks noChangeAspect="1"/>
          </p:cNvGrpSpPr>
          <p:nvPr/>
        </p:nvGrpSpPr>
        <p:grpSpPr>
          <a:xfrm>
            <a:off x="9648519" y="2627113"/>
            <a:ext cx="387901" cy="460164"/>
            <a:chOff x="9195707" y="4191471"/>
            <a:chExt cx="637236" cy="755949"/>
          </a:xfrm>
          <a:solidFill>
            <a:schemeClr val="bg1"/>
          </a:solidFill>
        </p:grpSpPr>
        <p:sp>
          <p:nvSpPr>
            <p:cNvPr id="203" name="Oval 202"/>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204" name="Freeform 203"/>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sp>
        <p:nvSpPr>
          <p:cNvPr id="230" name="Freeform 90"/>
          <p:cNvSpPr>
            <a:spLocks noEditPoints="1"/>
          </p:cNvSpPr>
          <p:nvPr/>
        </p:nvSpPr>
        <p:spPr bwMode="black">
          <a:xfrm>
            <a:off x="3079501" y="5422719"/>
            <a:ext cx="406544" cy="445916"/>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0072C6"/>
          </a:solidFill>
          <a:ln>
            <a:noFill/>
          </a:ln>
          <a:extLst/>
        </p:spPr>
        <p:txBody>
          <a:bodyPr vert="horz" wrap="square" lIns="109740" tIns="54871" rIns="109740" bIns="54871" numCol="1" anchor="t" anchorCtr="0" compatLnSpc="1">
            <a:prstTxWarp prst="textNoShape">
              <a:avLst/>
            </a:prstTxWarp>
          </a:bodyPr>
          <a:lstStyle/>
          <a:p>
            <a:pPr defTabSz="1219170"/>
            <a:endParaRPr lang="en-US" sz="2133">
              <a:solidFill>
                <a:srgbClr val="FFFFFF"/>
              </a:solidFill>
              <a:latin typeface="Calibri"/>
            </a:endParaRPr>
          </a:p>
        </p:txBody>
      </p:sp>
      <p:grpSp>
        <p:nvGrpSpPr>
          <p:cNvPr id="4" name="Group 3"/>
          <p:cNvGrpSpPr/>
          <p:nvPr/>
        </p:nvGrpSpPr>
        <p:grpSpPr>
          <a:xfrm>
            <a:off x="417709" y="2152115"/>
            <a:ext cx="1469884" cy="3145723"/>
            <a:chOff x="417709" y="2152115"/>
            <a:chExt cx="1469884" cy="3145723"/>
          </a:xfrm>
        </p:grpSpPr>
        <p:sp>
          <p:nvSpPr>
            <p:cNvPr id="20" name="Text Box 14"/>
            <p:cNvSpPr txBox="1">
              <a:spLocks noChangeArrowheads="1"/>
            </p:cNvSpPr>
            <p:nvPr/>
          </p:nvSpPr>
          <p:spPr bwMode="auto">
            <a:xfrm>
              <a:off x="417709" y="2152115"/>
              <a:ext cx="1469884" cy="3545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0072C6"/>
                  </a:solidFill>
                  <a:cs typeface="Segoe"/>
                </a:rPr>
                <a:t>Big Data Sources</a:t>
              </a:r>
              <a:br>
                <a:rPr lang="en-US" sz="1000" b="1" dirty="0">
                  <a:solidFill>
                    <a:srgbClr val="0072C6"/>
                  </a:solidFill>
                  <a:cs typeface="Segoe"/>
                </a:rPr>
              </a:br>
              <a:r>
                <a:rPr lang="en-US" sz="1000" b="1" dirty="0">
                  <a:solidFill>
                    <a:srgbClr val="0072C6"/>
                  </a:solidFill>
                  <a:cs typeface="Segoe"/>
                </a:rPr>
                <a:t>(Raw, Unstructured)</a:t>
              </a:r>
            </a:p>
          </p:txBody>
        </p:sp>
        <p:sp>
          <p:nvSpPr>
            <p:cNvPr id="77" name="Rectangle 76"/>
            <p:cNvSpPr/>
            <p:nvPr/>
          </p:nvSpPr>
          <p:spPr>
            <a:xfrm>
              <a:off x="795161" y="4696858"/>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Crawlers</a:t>
              </a:r>
            </a:p>
          </p:txBody>
        </p:sp>
        <p:sp>
          <p:nvSpPr>
            <p:cNvPr id="78" name="Rectangle 77"/>
            <p:cNvSpPr/>
            <p:nvPr/>
          </p:nvSpPr>
          <p:spPr>
            <a:xfrm>
              <a:off x="795161" y="3981211"/>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Bots</a:t>
              </a:r>
            </a:p>
          </p:txBody>
        </p:sp>
        <p:sp>
          <p:nvSpPr>
            <p:cNvPr id="79" name="Rectangle 78"/>
            <p:cNvSpPr/>
            <p:nvPr/>
          </p:nvSpPr>
          <p:spPr>
            <a:xfrm>
              <a:off x="795161" y="3241001"/>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Devices</a:t>
              </a:r>
            </a:p>
          </p:txBody>
        </p:sp>
        <p:sp>
          <p:nvSpPr>
            <p:cNvPr id="80" name="Rectangle 79"/>
            <p:cNvSpPr/>
            <p:nvPr/>
          </p:nvSpPr>
          <p:spPr>
            <a:xfrm>
              <a:off x="795161" y="2563818"/>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Sensors</a:t>
              </a:r>
            </a:p>
          </p:txBody>
        </p:sp>
        <p:sp>
          <p:nvSpPr>
            <p:cNvPr id="27" name="Freeform 7"/>
            <p:cNvSpPr>
              <a:spLocks noEditPoints="1"/>
            </p:cNvSpPr>
            <p:nvPr/>
          </p:nvSpPr>
          <p:spPr bwMode="auto">
            <a:xfrm>
              <a:off x="927840" y="2634463"/>
              <a:ext cx="449623" cy="343950"/>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bg1"/>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sp>
          <p:nvSpPr>
            <p:cNvPr id="28" name="Freeform 12"/>
            <p:cNvSpPr>
              <a:spLocks noEditPoints="1"/>
            </p:cNvSpPr>
            <p:nvPr/>
          </p:nvSpPr>
          <p:spPr bwMode="auto">
            <a:xfrm>
              <a:off x="940550" y="4041680"/>
              <a:ext cx="424202" cy="343950"/>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bg1"/>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sp>
          <p:nvSpPr>
            <p:cNvPr id="29" name="Freeform 51"/>
            <p:cNvSpPr>
              <a:spLocks noEditPoints="1"/>
            </p:cNvSpPr>
            <p:nvPr/>
          </p:nvSpPr>
          <p:spPr bwMode="auto">
            <a:xfrm>
              <a:off x="983571" y="4749495"/>
              <a:ext cx="338160" cy="343949"/>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bg1"/>
            </a:solidFill>
            <a:ln>
              <a:noFill/>
            </a:ln>
          </p:spPr>
          <p:txBody>
            <a:bodyPr vert="horz" wrap="square" lIns="57614" tIns="28807" rIns="57614" bIns="28807" numCol="1" anchor="t" anchorCtr="0" compatLnSpc="1">
              <a:prstTxWarp prst="textNoShape">
                <a:avLst/>
              </a:prstTxWarp>
            </a:bodyPr>
            <a:lstStyle/>
            <a:p>
              <a:pPr defTabSz="576144"/>
              <a:endParaRPr lang="en-US" sz="1200" dirty="0">
                <a:solidFill>
                  <a:srgbClr val="FFFFFF"/>
                </a:solidFill>
              </a:endParaRPr>
            </a:p>
          </p:txBody>
        </p:sp>
        <p:grpSp>
          <p:nvGrpSpPr>
            <p:cNvPr id="231" name="Group 230"/>
            <p:cNvGrpSpPr/>
            <p:nvPr/>
          </p:nvGrpSpPr>
          <p:grpSpPr>
            <a:xfrm>
              <a:off x="862058" y="3422296"/>
              <a:ext cx="581186" cy="193728"/>
              <a:chOff x="2032001" y="1405334"/>
              <a:chExt cx="1208642" cy="402879"/>
            </a:xfrm>
          </p:grpSpPr>
          <p:grpSp>
            <p:nvGrpSpPr>
              <p:cNvPr id="232" name="Group 231"/>
              <p:cNvGrpSpPr/>
              <p:nvPr/>
            </p:nvGrpSpPr>
            <p:grpSpPr bwMode="black">
              <a:xfrm>
                <a:off x="2032001" y="1405334"/>
                <a:ext cx="408463" cy="402879"/>
                <a:chOff x="2916435" y="3914152"/>
                <a:chExt cx="930763" cy="918513"/>
              </a:xfrm>
            </p:grpSpPr>
            <p:pic>
              <p:nvPicPr>
                <p:cNvPr id="235" name="Picture 234"/>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36"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121920" tIns="60960" rIns="121920" bIns="60960" numCol="1" anchor="t" anchorCtr="0" compatLnSpc="1">
                  <a:prstTxWarp prst="textNoShape">
                    <a:avLst/>
                  </a:prstTxWarp>
                </a:bodyPr>
                <a:lstStyle/>
                <a:p>
                  <a:pPr defTabSz="1219170"/>
                  <a:endParaRPr lang="en-US" sz="1200" dirty="0">
                    <a:solidFill>
                      <a:srgbClr val="FFFFFF"/>
                    </a:solidFill>
                    <a:latin typeface="Calibri"/>
                  </a:endParaRPr>
                </a:p>
              </p:txBody>
            </p:sp>
          </p:grpSp>
          <p:sp>
            <p:nvSpPr>
              <p:cNvPr id="233" name="Freeform 20"/>
              <p:cNvSpPr>
                <a:spLocks noEditPoints="1"/>
              </p:cNvSpPr>
              <p:nvPr/>
            </p:nvSpPr>
            <p:spPr bwMode="black">
              <a:xfrm>
                <a:off x="2498289" y="1411891"/>
                <a:ext cx="508248"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109740" tIns="54871" rIns="109740" bIns="54871" numCol="1" anchor="t" anchorCtr="0" compatLnSpc="1">
                <a:prstTxWarp prst="textNoShape">
                  <a:avLst/>
                </a:prstTxWarp>
              </a:bodyPr>
              <a:lstStyle/>
              <a:p>
                <a:pPr defTabSz="1219170"/>
                <a:endParaRPr lang="en-US" sz="1200" dirty="0">
                  <a:solidFill>
                    <a:srgbClr val="FFFFFF"/>
                  </a:solidFill>
                  <a:latin typeface="Calibri"/>
                </a:endParaRPr>
              </a:p>
            </p:txBody>
          </p:sp>
          <p:pic>
            <p:nvPicPr>
              <p:cNvPr id="234" name="Picture 23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056680" y="1411892"/>
                <a:ext cx="183963" cy="353259"/>
              </a:xfrm>
              <a:prstGeom prst="rect">
                <a:avLst/>
              </a:prstGeom>
            </p:spPr>
          </p:pic>
        </p:grpSp>
      </p:grpSp>
      <p:cxnSp>
        <p:nvCxnSpPr>
          <p:cNvPr id="240" name="Elbow Connector 239"/>
          <p:cNvCxnSpPr>
            <a:stCxn id="84" idx="0"/>
            <a:endCxn id="81" idx="2"/>
          </p:cNvCxnSpPr>
          <p:nvPr/>
        </p:nvCxnSpPr>
        <p:spPr>
          <a:xfrm rot="5400000" flipH="1" flipV="1">
            <a:off x="3951319" y="3724478"/>
            <a:ext cx="607773" cy="1944863"/>
          </a:xfrm>
          <a:prstGeom prst="bentConnector3">
            <a:avLst>
              <a:gd name="adj1" fmla="val 15970"/>
            </a:avLst>
          </a:prstGeom>
          <a:ln w="28575">
            <a:solidFill>
              <a:srgbClr val="9B4F96"/>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259" y="2190509"/>
            <a:ext cx="533668" cy="562032"/>
          </a:xfrm>
          <a:prstGeom prst="rect">
            <a:avLst/>
          </a:prstGeom>
        </p:spPr>
      </p:pic>
      <p:grpSp>
        <p:nvGrpSpPr>
          <p:cNvPr id="127" name="Group 126"/>
          <p:cNvGrpSpPr/>
          <p:nvPr/>
        </p:nvGrpSpPr>
        <p:grpSpPr>
          <a:xfrm>
            <a:off x="7097600" y="2248749"/>
            <a:ext cx="635324" cy="463032"/>
            <a:chOff x="5569475" y="1403063"/>
            <a:chExt cx="714090" cy="520438"/>
          </a:xfrm>
        </p:grpSpPr>
        <p:grpSp>
          <p:nvGrpSpPr>
            <p:cNvPr id="131" name="Group 130"/>
            <p:cNvGrpSpPr>
              <a:grpSpLocks noChangeAspect="1"/>
            </p:cNvGrpSpPr>
            <p:nvPr/>
          </p:nvGrpSpPr>
          <p:grpSpPr>
            <a:xfrm>
              <a:off x="5569475" y="1403063"/>
              <a:ext cx="343962" cy="446669"/>
              <a:chOff x="377825" y="1184276"/>
              <a:chExt cx="1020763" cy="1325563"/>
            </a:xfrm>
            <a:solidFill>
              <a:srgbClr val="0072C6"/>
            </a:solidFill>
          </p:grpSpPr>
          <p:sp>
            <p:nvSpPr>
              <p:cNvPr id="161"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6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nvGrpSpPr>
            <p:cNvPr id="132" name="Group 131"/>
            <p:cNvGrpSpPr>
              <a:grpSpLocks noChangeAspect="1"/>
            </p:cNvGrpSpPr>
            <p:nvPr/>
          </p:nvGrpSpPr>
          <p:grpSpPr>
            <a:xfrm>
              <a:off x="5939603" y="1476832"/>
              <a:ext cx="343962" cy="446669"/>
              <a:chOff x="377825" y="1184276"/>
              <a:chExt cx="1020763" cy="1325563"/>
            </a:xfrm>
            <a:solidFill>
              <a:srgbClr val="0072C6"/>
            </a:solidFill>
          </p:grpSpPr>
          <p:sp>
            <p:nvSpPr>
              <p:cNvPr id="133"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3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grpSp>
        <p:nvGrpSpPr>
          <p:cNvPr id="163" name="Group 162"/>
          <p:cNvGrpSpPr/>
          <p:nvPr/>
        </p:nvGrpSpPr>
        <p:grpSpPr>
          <a:xfrm>
            <a:off x="7199314" y="3233204"/>
            <a:ext cx="466724" cy="494746"/>
            <a:chOff x="6702673" y="2908412"/>
            <a:chExt cx="566377" cy="600384"/>
          </a:xfrm>
        </p:grpSpPr>
        <p:sp>
          <p:nvSpPr>
            <p:cNvPr id="164" name="Freeform 83"/>
            <p:cNvSpPr>
              <a:spLocks noEditPoints="1"/>
            </p:cNvSpPr>
            <p:nvPr/>
          </p:nvSpPr>
          <p:spPr bwMode="black">
            <a:xfrm>
              <a:off x="6702673" y="2945013"/>
              <a:ext cx="566377" cy="56378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0072C6"/>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grpSp>
          <p:nvGrpSpPr>
            <p:cNvPr id="165" name="Group 164"/>
            <p:cNvGrpSpPr/>
            <p:nvPr/>
          </p:nvGrpSpPr>
          <p:grpSpPr>
            <a:xfrm>
              <a:off x="6885278" y="2908412"/>
              <a:ext cx="201167" cy="261237"/>
              <a:chOff x="6070913" y="2947212"/>
              <a:chExt cx="343962" cy="446669"/>
            </a:xfrm>
          </p:grpSpPr>
          <p:sp>
            <p:nvSpPr>
              <p:cNvPr id="166" name="Rectangle 165"/>
              <p:cNvSpPr/>
              <p:nvPr/>
            </p:nvSpPr>
            <p:spPr bwMode="auto">
              <a:xfrm>
                <a:off x="6079358" y="2973457"/>
                <a:ext cx="329632" cy="35168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67" name="Group 166"/>
              <p:cNvGrpSpPr>
                <a:grpSpLocks noChangeAspect="1"/>
              </p:cNvGrpSpPr>
              <p:nvPr/>
            </p:nvGrpSpPr>
            <p:grpSpPr>
              <a:xfrm>
                <a:off x="6070913" y="2947212"/>
                <a:ext cx="343962" cy="446669"/>
                <a:chOff x="377825" y="1184276"/>
                <a:chExt cx="1020763" cy="1325563"/>
              </a:xfrm>
              <a:solidFill>
                <a:srgbClr val="0072C6"/>
              </a:solidFill>
            </p:grpSpPr>
            <p:sp>
              <p:nvSpPr>
                <p:cNvPr id="168"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grpSp>
      <p:pic>
        <p:nvPicPr>
          <p:cNvPr id="2050" name="Picture 2" descr="https://106c4.wpc.azureedge.net/80106C4/Gallery-Prod/cdn/2015-02-24/prod20151001-microsoft-windowsazure-gallery/microsoft_com.HDInsightConnector.0.2.2/Icons/large-icon.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6121" y="3504020"/>
            <a:ext cx="439720" cy="43972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2072830" y="3047371"/>
            <a:ext cx="1319276" cy="1338259"/>
            <a:chOff x="2072830" y="3047371"/>
            <a:chExt cx="1319276" cy="1338259"/>
          </a:xfrm>
        </p:grpSpPr>
        <p:sp>
          <p:nvSpPr>
            <p:cNvPr id="69" name="Rectangle 68"/>
            <p:cNvSpPr/>
            <p:nvPr/>
          </p:nvSpPr>
          <p:spPr>
            <a:xfrm>
              <a:off x="2072830" y="4031083"/>
              <a:ext cx="1029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HDInsight on Windows Azure</a:t>
              </a:r>
            </a:p>
          </p:txBody>
        </p:sp>
        <p:sp>
          <p:nvSpPr>
            <p:cNvPr id="118" name="Rectangle 117"/>
            <p:cNvSpPr/>
            <p:nvPr/>
          </p:nvSpPr>
          <p:spPr>
            <a:xfrm>
              <a:off x="2228128" y="3047371"/>
              <a:ext cx="1163978" cy="354547"/>
            </a:xfrm>
            <a:prstGeom prst="rect">
              <a:avLst/>
            </a:prstGeom>
            <a:solidFill>
              <a:srgbClr val="0071BC"/>
            </a:solidFill>
          </p:spPr>
          <p:txBody>
            <a:bodyPr wrap="square" lIns="76799" tIns="38399" rIns="76799" bIns="38399">
              <a:spAutoFit/>
            </a:bodyPr>
            <a:lstStyle/>
            <a:p>
              <a:pPr algn="ctr" defTabSz="576144"/>
              <a:r>
                <a:rPr lang="it-IT" sz="900" b="1" dirty="0">
                  <a:solidFill>
                    <a:srgbClr val="FFFFFF"/>
                  </a:solidFill>
                </a:rPr>
                <a:t>Hortonworks or Cloudera Hadoop</a:t>
              </a:r>
            </a:p>
          </p:txBody>
        </p:sp>
        <p:sp>
          <p:nvSpPr>
            <p:cNvPr id="170" name="Freeform 169"/>
            <p:cNvSpPr>
              <a:spLocks/>
            </p:cNvSpPr>
            <p:nvPr/>
          </p:nvSpPr>
          <p:spPr bwMode="auto">
            <a:xfrm>
              <a:off x="2355784" y="3558883"/>
              <a:ext cx="626014" cy="43904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72C6"/>
            </a:solidFill>
            <a:ln>
              <a:noFill/>
            </a:ln>
          </p:spPr>
          <p:txBody>
            <a:bodyPr vert="horz" wrap="square" lIns="87843" tIns="43920" rIns="87843" bIns="43920" numCol="1" anchor="t" anchorCtr="0" compatLnSpc="1">
              <a:prstTxWarp prst="textNoShape">
                <a:avLst/>
              </a:prstTxWarp>
            </a:bodyPr>
            <a:lstStyle/>
            <a:p>
              <a:pPr defTabSz="894993" fontAlgn="base">
                <a:spcBef>
                  <a:spcPct val="0"/>
                </a:spcBef>
                <a:spcAft>
                  <a:spcPct val="0"/>
                </a:spcAft>
                <a:defRPr/>
              </a:pPr>
              <a:endParaRPr lang="en-IN" sz="2307" kern="0">
                <a:solidFill>
                  <a:srgbClr val="000000"/>
                </a:solidFill>
                <a:latin typeface="Calibri" panose="020F0502020204030204"/>
                <a:ea typeface="MS PGothic" charset="0"/>
              </a:endParaRPr>
            </a:p>
          </p:txBody>
        </p:sp>
      </p:grpSp>
      <p:sp>
        <p:nvSpPr>
          <p:cNvPr id="175" name="Freeform 174"/>
          <p:cNvSpPr/>
          <p:nvPr/>
        </p:nvSpPr>
        <p:spPr bwMode="auto">
          <a:xfrm rot="16200000">
            <a:off x="10775051" y="3551447"/>
            <a:ext cx="464336" cy="620083"/>
          </a:xfrm>
          <a:custGeom>
            <a:avLst/>
            <a:gdLst>
              <a:gd name="connsiteX0" fmla="*/ 549300 w 2234268"/>
              <a:gd name="connsiteY0" fmla="*/ 289746 h 2983685"/>
              <a:gd name="connsiteX1" fmla="*/ 549300 w 2234268"/>
              <a:gd name="connsiteY1" fmla="*/ 1548407 h 2983685"/>
              <a:gd name="connsiteX2" fmla="*/ 503581 w 2234268"/>
              <a:gd name="connsiteY2" fmla="*/ 1548407 h 2983685"/>
              <a:gd name="connsiteX3" fmla="*/ 503581 w 2234268"/>
              <a:gd name="connsiteY3" fmla="*/ 289746 h 2983685"/>
              <a:gd name="connsiteX4" fmla="*/ 615234 w 2234268"/>
              <a:gd name="connsiteY4" fmla="*/ 1941428 h 2983685"/>
              <a:gd name="connsiteX5" fmla="*/ 300909 w 2234268"/>
              <a:gd name="connsiteY5" fmla="*/ 1941428 h 2983685"/>
              <a:gd name="connsiteX6" fmla="*/ 300909 w 2234268"/>
              <a:gd name="connsiteY6" fmla="*/ 2255753 h 2983685"/>
              <a:gd name="connsiteX7" fmla="*/ 615234 w 2234268"/>
              <a:gd name="connsiteY7" fmla="*/ 2255753 h 2983685"/>
              <a:gd name="connsiteX8" fmla="*/ 619433 w 2234268"/>
              <a:gd name="connsiteY8" fmla="*/ 2288455 h 2983685"/>
              <a:gd name="connsiteX9" fmla="*/ 305108 w 2234268"/>
              <a:gd name="connsiteY9" fmla="*/ 2288455 h 2983685"/>
              <a:gd name="connsiteX10" fmla="*/ 305108 w 2234268"/>
              <a:gd name="connsiteY10" fmla="*/ 2602780 h 2983685"/>
              <a:gd name="connsiteX11" fmla="*/ 619433 w 2234268"/>
              <a:gd name="connsiteY11" fmla="*/ 2602780 h 2983685"/>
              <a:gd name="connsiteX12" fmla="*/ 924858 w 2234268"/>
              <a:gd name="connsiteY12" fmla="*/ 805457 h 2983685"/>
              <a:gd name="connsiteX13" fmla="*/ 924858 w 2234268"/>
              <a:gd name="connsiteY13" fmla="*/ 1032696 h 2983685"/>
              <a:gd name="connsiteX14" fmla="*/ 629583 w 2234268"/>
              <a:gd name="connsiteY14" fmla="*/ 1032696 h 2983685"/>
              <a:gd name="connsiteX15" fmla="*/ 629583 w 2234268"/>
              <a:gd name="connsiteY15" fmla="*/ 805457 h 2983685"/>
              <a:gd name="connsiteX16" fmla="*/ 969020 w 2234268"/>
              <a:gd name="connsiteY16" fmla="*/ 1941429 h 2983685"/>
              <a:gd name="connsiteX17" fmla="*/ 654695 w 2234268"/>
              <a:gd name="connsiteY17" fmla="*/ 1941429 h 2983685"/>
              <a:gd name="connsiteX18" fmla="*/ 654695 w 2234268"/>
              <a:gd name="connsiteY18" fmla="*/ 2255754 h 2983685"/>
              <a:gd name="connsiteX19" fmla="*/ 969020 w 2234268"/>
              <a:gd name="connsiteY19" fmla="*/ 2255754 h 2983685"/>
              <a:gd name="connsiteX20" fmla="*/ 973219 w 2234268"/>
              <a:gd name="connsiteY20" fmla="*/ 2288456 h 2983685"/>
              <a:gd name="connsiteX21" fmla="*/ 658894 w 2234268"/>
              <a:gd name="connsiteY21" fmla="*/ 2288456 h 2983685"/>
              <a:gd name="connsiteX22" fmla="*/ 658894 w 2234268"/>
              <a:gd name="connsiteY22" fmla="*/ 2602781 h 2983685"/>
              <a:gd name="connsiteX23" fmla="*/ 973219 w 2234268"/>
              <a:gd name="connsiteY23" fmla="*/ 2602781 h 2983685"/>
              <a:gd name="connsiteX24" fmla="*/ 1258232 w 2234268"/>
              <a:gd name="connsiteY24" fmla="*/ 428539 h 2983685"/>
              <a:gd name="connsiteX25" fmla="*/ 1258232 w 2234268"/>
              <a:gd name="connsiteY25" fmla="*/ 655778 h 2983685"/>
              <a:gd name="connsiteX26" fmla="*/ 629582 w 2234268"/>
              <a:gd name="connsiteY26" fmla="*/ 655778 h 2983685"/>
              <a:gd name="connsiteX27" fmla="*/ 629582 w 2234268"/>
              <a:gd name="connsiteY27" fmla="*/ 428539 h 2983685"/>
              <a:gd name="connsiteX28" fmla="*/ 1322806 w 2234268"/>
              <a:gd name="connsiteY28" fmla="*/ 1941430 h 2983685"/>
              <a:gd name="connsiteX29" fmla="*/ 1008481 w 2234268"/>
              <a:gd name="connsiteY29" fmla="*/ 1941430 h 2983685"/>
              <a:gd name="connsiteX30" fmla="*/ 1008481 w 2234268"/>
              <a:gd name="connsiteY30" fmla="*/ 2255755 h 2983685"/>
              <a:gd name="connsiteX31" fmla="*/ 1322806 w 2234268"/>
              <a:gd name="connsiteY31" fmla="*/ 2255755 h 2983685"/>
              <a:gd name="connsiteX32" fmla="*/ 1327005 w 2234268"/>
              <a:gd name="connsiteY32" fmla="*/ 2288457 h 2983685"/>
              <a:gd name="connsiteX33" fmla="*/ 1012680 w 2234268"/>
              <a:gd name="connsiteY33" fmla="*/ 2288457 h 2983685"/>
              <a:gd name="connsiteX34" fmla="*/ 1012680 w 2234268"/>
              <a:gd name="connsiteY34" fmla="*/ 2602782 h 2983685"/>
              <a:gd name="connsiteX35" fmla="*/ 1327005 w 2234268"/>
              <a:gd name="connsiteY35" fmla="*/ 2602782 h 2983685"/>
              <a:gd name="connsiteX36" fmla="*/ 1484111 w 2234268"/>
              <a:gd name="connsiteY36" fmla="*/ 1182375 h 2983685"/>
              <a:gd name="connsiteX37" fmla="*/ 1484111 w 2234268"/>
              <a:gd name="connsiteY37" fmla="*/ 1409614 h 2983685"/>
              <a:gd name="connsiteX38" fmla="*/ 629582 w 2234268"/>
              <a:gd name="connsiteY38" fmla="*/ 1409614 h 2983685"/>
              <a:gd name="connsiteX39" fmla="*/ 629582 w 2234268"/>
              <a:gd name="connsiteY39" fmla="*/ 1182375 h 2983685"/>
              <a:gd name="connsiteX40" fmla="*/ 1676592 w 2234268"/>
              <a:gd name="connsiteY40" fmla="*/ 1941431 h 2983685"/>
              <a:gd name="connsiteX41" fmla="*/ 1362267 w 2234268"/>
              <a:gd name="connsiteY41" fmla="*/ 1941431 h 2983685"/>
              <a:gd name="connsiteX42" fmla="*/ 1362267 w 2234268"/>
              <a:gd name="connsiteY42" fmla="*/ 2255756 h 2983685"/>
              <a:gd name="connsiteX43" fmla="*/ 1676592 w 2234268"/>
              <a:gd name="connsiteY43" fmla="*/ 2255756 h 2983685"/>
              <a:gd name="connsiteX44" fmla="*/ 1680791 w 2234268"/>
              <a:gd name="connsiteY44" fmla="*/ 2288458 h 2983685"/>
              <a:gd name="connsiteX45" fmla="*/ 1366466 w 2234268"/>
              <a:gd name="connsiteY45" fmla="*/ 2288458 h 2983685"/>
              <a:gd name="connsiteX46" fmla="*/ 1366466 w 2234268"/>
              <a:gd name="connsiteY46" fmla="*/ 2602783 h 2983685"/>
              <a:gd name="connsiteX47" fmla="*/ 1680791 w 2234268"/>
              <a:gd name="connsiteY47" fmla="*/ 2602783 h 2983685"/>
              <a:gd name="connsiteX48" fmla="*/ 1719514 w 2234268"/>
              <a:gd name="connsiteY48" fmla="*/ 1907232 h 2983685"/>
              <a:gd name="connsiteX49" fmla="*/ 1719514 w 2234268"/>
              <a:gd name="connsiteY49" fmla="*/ 2636978 h 2983685"/>
              <a:gd name="connsiteX50" fmla="*/ 262186 w 2234268"/>
              <a:gd name="connsiteY50" fmla="*/ 2636978 h 2983685"/>
              <a:gd name="connsiteX51" fmla="*/ 262186 w 2234268"/>
              <a:gd name="connsiteY51" fmla="*/ 1907232 h 2983685"/>
              <a:gd name="connsiteX52" fmla="*/ 1926192 w 2234268"/>
              <a:gd name="connsiteY52" fmla="*/ 81462 h 2983685"/>
              <a:gd name="connsiteX53" fmla="*/ 60009 w 2234268"/>
              <a:gd name="connsiteY53" fmla="*/ 81462 h 2983685"/>
              <a:gd name="connsiteX54" fmla="*/ 60009 w 2234268"/>
              <a:gd name="connsiteY54" fmla="*/ 2902223 h 2983685"/>
              <a:gd name="connsiteX55" fmla="*/ 1926192 w 2234268"/>
              <a:gd name="connsiteY55" fmla="*/ 2902223 h 2983685"/>
              <a:gd name="connsiteX56" fmla="*/ 2150066 w 2234268"/>
              <a:gd name="connsiteY56" fmla="*/ 2751184 h 2983685"/>
              <a:gd name="connsiteX57" fmla="*/ 1999027 w 2234268"/>
              <a:gd name="connsiteY57" fmla="*/ 2751184 h 2983685"/>
              <a:gd name="connsiteX58" fmla="*/ 1999027 w 2234268"/>
              <a:gd name="connsiteY58" fmla="*/ 2902223 h 2983685"/>
              <a:gd name="connsiteX59" fmla="*/ 2150066 w 2234268"/>
              <a:gd name="connsiteY59" fmla="*/ 2902223 h 2983685"/>
              <a:gd name="connsiteX60" fmla="*/ 2150066 w 2234268"/>
              <a:gd name="connsiteY60" fmla="*/ 1863998 h 2983685"/>
              <a:gd name="connsiteX61" fmla="*/ 1999027 w 2234268"/>
              <a:gd name="connsiteY61" fmla="*/ 1863998 h 2983685"/>
              <a:gd name="connsiteX62" fmla="*/ 1999027 w 2234268"/>
              <a:gd name="connsiteY62" fmla="*/ 2605587 h 2983685"/>
              <a:gd name="connsiteX63" fmla="*/ 2150066 w 2234268"/>
              <a:gd name="connsiteY63" fmla="*/ 2605587 h 2983685"/>
              <a:gd name="connsiteX64" fmla="*/ 2150066 w 2234268"/>
              <a:gd name="connsiteY64" fmla="*/ 378098 h 2983685"/>
              <a:gd name="connsiteX65" fmla="*/ 1999027 w 2234268"/>
              <a:gd name="connsiteY65" fmla="*/ 378098 h 2983685"/>
              <a:gd name="connsiteX66" fmla="*/ 1999027 w 2234268"/>
              <a:gd name="connsiteY66" fmla="*/ 1119687 h 2983685"/>
              <a:gd name="connsiteX67" fmla="*/ 2150066 w 2234268"/>
              <a:gd name="connsiteY67" fmla="*/ 1119687 h 2983685"/>
              <a:gd name="connsiteX68" fmla="*/ 2150066 w 2234268"/>
              <a:gd name="connsiteY68" fmla="*/ 81462 h 2983685"/>
              <a:gd name="connsiteX69" fmla="*/ 1999027 w 2234268"/>
              <a:gd name="connsiteY69" fmla="*/ 81462 h 2983685"/>
              <a:gd name="connsiteX70" fmla="*/ 1999027 w 2234268"/>
              <a:gd name="connsiteY70" fmla="*/ 232501 h 2983685"/>
              <a:gd name="connsiteX71" fmla="*/ 2150066 w 2234268"/>
              <a:gd name="connsiteY71" fmla="*/ 232501 h 2983685"/>
              <a:gd name="connsiteX72" fmla="*/ 2234268 w 2234268"/>
              <a:gd name="connsiteY72" fmla="*/ 0 h 2983685"/>
              <a:gd name="connsiteX73" fmla="*/ 2234268 w 2234268"/>
              <a:gd name="connsiteY73" fmla="*/ 2983685 h 2983685"/>
              <a:gd name="connsiteX74" fmla="*/ 0 w 2234268"/>
              <a:gd name="connsiteY74" fmla="*/ 2983685 h 2983685"/>
              <a:gd name="connsiteX75" fmla="*/ 0 w 2234268"/>
              <a:gd name="connsiteY75" fmla="*/ 0 h 298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234268" h="2983685">
                <a:moveTo>
                  <a:pt x="549300" y="289746"/>
                </a:moveTo>
                <a:lnTo>
                  <a:pt x="549300" y="1548407"/>
                </a:lnTo>
                <a:lnTo>
                  <a:pt x="503581" y="1548407"/>
                </a:lnTo>
                <a:lnTo>
                  <a:pt x="503581" y="289746"/>
                </a:lnTo>
                <a:close/>
                <a:moveTo>
                  <a:pt x="615234" y="1941428"/>
                </a:moveTo>
                <a:lnTo>
                  <a:pt x="300909" y="1941428"/>
                </a:lnTo>
                <a:lnTo>
                  <a:pt x="300909" y="2255753"/>
                </a:lnTo>
                <a:lnTo>
                  <a:pt x="615234" y="2255753"/>
                </a:lnTo>
                <a:close/>
                <a:moveTo>
                  <a:pt x="619433" y="2288455"/>
                </a:moveTo>
                <a:lnTo>
                  <a:pt x="305108" y="2288455"/>
                </a:lnTo>
                <a:lnTo>
                  <a:pt x="305108" y="2602780"/>
                </a:lnTo>
                <a:lnTo>
                  <a:pt x="619433" y="2602780"/>
                </a:lnTo>
                <a:close/>
                <a:moveTo>
                  <a:pt x="924858" y="805457"/>
                </a:moveTo>
                <a:lnTo>
                  <a:pt x="924858" y="1032696"/>
                </a:lnTo>
                <a:lnTo>
                  <a:pt x="629583" y="1032696"/>
                </a:lnTo>
                <a:lnTo>
                  <a:pt x="629583" y="805457"/>
                </a:lnTo>
                <a:close/>
                <a:moveTo>
                  <a:pt x="969020" y="1941429"/>
                </a:moveTo>
                <a:lnTo>
                  <a:pt x="654695" y="1941429"/>
                </a:lnTo>
                <a:lnTo>
                  <a:pt x="654695" y="2255754"/>
                </a:lnTo>
                <a:lnTo>
                  <a:pt x="969020" y="2255754"/>
                </a:lnTo>
                <a:close/>
                <a:moveTo>
                  <a:pt x="973219" y="2288456"/>
                </a:moveTo>
                <a:lnTo>
                  <a:pt x="658894" y="2288456"/>
                </a:lnTo>
                <a:lnTo>
                  <a:pt x="658894" y="2602781"/>
                </a:lnTo>
                <a:lnTo>
                  <a:pt x="973219" y="2602781"/>
                </a:lnTo>
                <a:close/>
                <a:moveTo>
                  <a:pt x="1258232" y="428539"/>
                </a:moveTo>
                <a:lnTo>
                  <a:pt x="1258232" y="655778"/>
                </a:lnTo>
                <a:lnTo>
                  <a:pt x="629582" y="655778"/>
                </a:lnTo>
                <a:lnTo>
                  <a:pt x="629582" y="428539"/>
                </a:lnTo>
                <a:close/>
                <a:moveTo>
                  <a:pt x="1322806" y="1941430"/>
                </a:moveTo>
                <a:lnTo>
                  <a:pt x="1008481" y="1941430"/>
                </a:lnTo>
                <a:lnTo>
                  <a:pt x="1008481" y="2255755"/>
                </a:lnTo>
                <a:lnTo>
                  <a:pt x="1322806" y="2255755"/>
                </a:lnTo>
                <a:close/>
                <a:moveTo>
                  <a:pt x="1327005" y="2288457"/>
                </a:moveTo>
                <a:lnTo>
                  <a:pt x="1012680" y="2288457"/>
                </a:lnTo>
                <a:lnTo>
                  <a:pt x="1012680" y="2602782"/>
                </a:lnTo>
                <a:lnTo>
                  <a:pt x="1327005" y="2602782"/>
                </a:lnTo>
                <a:close/>
                <a:moveTo>
                  <a:pt x="1484111" y="1182375"/>
                </a:moveTo>
                <a:lnTo>
                  <a:pt x="1484111" y="1409614"/>
                </a:lnTo>
                <a:lnTo>
                  <a:pt x="629582" y="1409614"/>
                </a:lnTo>
                <a:lnTo>
                  <a:pt x="629582" y="1182375"/>
                </a:lnTo>
                <a:close/>
                <a:moveTo>
                  <a:pt x="1676592" y="1941431"/>
                </a:moveTo>
                <a:lnTo>
                  <a:pt x="1362267" y="1941431"/>
                </a:lnTo>
                <a:lnTo>
                  <a:pt x="1362267" y="2255756"/>
                </a:lnTo>
                <a:lnTo>
                  <a:pt x="1676592" y="2255756"/>
                </a:lnTo>
                <a:close/>
                <a:moveTo>
                  <a:pt x="1680791" y="2288458"/>
                </a:moveTo>
                <a:lnTo>
                  <a:pt x="1366466" y="2288458"/>
                </a:lnTo>
                <a:lnTo>
                  <a:pt x="1366466" y="2602783"/>
                </a:lnTo>
                <a:lnTo>
                  <a:pt x="1680791" y="2602783"/>
                </a:lnTo>
                <a:close/>
                <a:moveTo>
                  <a:pt x="1719514" y="1907232"/>
                </a:moveTo>
                <a:lnTo>
                  <a:pt x="1719514" y="2636978"/>
                </a:lnTo>
                <a:lnTo>
                  <a:pt x="262186" y="2636978"/>
                </a:lnTo>
                <a:lnTo>
                  <a:pt x="262186" y="1907232"/>
                </a:lnTo>
                <a:close/>
                <a:moveTo>
                  <a:pt x="1926192" y="81462"/>
                </a:moveTo>
                <a:lnTo>
                  <a:pt x="60009" y="81462"/>
                </a:lnTo>
                <a:lnTo>
                  <a:pt x="60009" y="2902223"/>
                </a:lnTo>
                <a:lnTo>
                  <a:pt x="1926192" y="2902223"/>
                </a:lnTo>
                <a:close/>
                <a:moveTo>
                  <a:pt x="2150066" y="2751184"/>
                </a:moveTo>
                <a:lnTo>
                  <a:pt x="1999027" y="2751184"/>
                </a:lnTo>
                <a:lnTo>
                  <a:pt x="1999027" y="2902223"/>
                </a:lnTo>
                <a:lnTo>
                  <a:pt x="2150066" y="2902223"/>
                </a:lnTo>
                <a:close/>
                <a:moveTo>
                  <a:pt x="2150066" y="1863998"/>
                </a:moveTo>
                <a:lnTo>
                  <a:pt x="1999027" y="1863998"/>
                </a:lnTo>
                <a:lnTo>
                  <a:pt x="1999027" y="2605587"/>
                </a:lnTo>
                <a:lnTo>
                  <a:pt x="2150066" y="2605587"/>
                </a:lnTo>
                <a:close/>
                <a:moveTo>
                  <a:pt x="2150066" y="378098"/>
                </a:moveTo>
                <a:lnTo>
                  <a:pt x="1999027" y="378098"/>
                </a:lnTo>
                <a:lnTo>
                  <a:pt x="1999027" y="1119687"/>
                </a:lnTo>
                <a:lnTo>
                  <a:pt x="2150066" y="1119687"/>
                </a:lnTo>
                <a:close/>
                <a:moveTo>
                  <a:pt x="2150066" y="81462"/>
                </a:moveTo>
                <a:lnTo>
                  <a:pt x="1999027" y="81462"/>
                </a:lnTo>
                <a:lnTo>
                  <a:pt x="1999027" y="232501"/>
                </a:lnTo>
                <a:lnTo>
                  <a:pt x="2150066" y="232501"/>
                </a:lnTo>
                <a:close/>
                <a:moveTo>
                  <a:pt x="2234268" y="0"/>
                </a:moveTo>
                <a:lnTo>
                  <a:pt x="2234268" y="2983685"/>
                </a:lnTo>
                <a:lnTo>
                  <a:pt x="0" y="2983685"/>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8953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wipe(left)">
                                      <p:cBhvr>
                                        <p:cTn id="14" dur="500"/>
                                        <p:tgtEl>
                                          <p:spTgt spid="21"/>
                                        </p:tgtEl>
                                      </p:cBhvr>
                                    </p:animEffect>
                                  </p:childTnLst>
                                </p:cTn>
                              </p:par>
                              <p:par>
                                <p:cTn id="15" presetID="22" presetClass="entr" presetSubtype="8"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left)">
                                      <p:cBhvr>
                                        <p:cTn id="25" dur="500"/>
                                        <p:tgtEl>
                                          <p:spTgt spid="42"/>
                                        </p:tgtEl>
                                      </p:cBhvr>
                                    </p:animEffect>
                                  </p:childTnLst>
                                </p:cTn>
                              </p:par>
                              <p:par>
                                <p:cTn id="26" presetID="22" presetClass="entr" presetSubtype="8"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left)">
                                      <p:cBhvr>
                                        <p:cTn id="31" dur="500"/>
                                        <p:tgtEl>
                                          <p:spTgt spid="22"/>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fade">
                                      <p:cBhvr>
                                        <p:cTn id="35" dur="500"/>
                                        <p:tgtEl>
                                          <p:spTgt spid="6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childTnLst>
                          </p:cTn>
                        </p:par>
                        <p:par>
                          <p:cTn id="39" fill="hold">
                            <p:stCondLst>
                              <p:cond delay="2500"/>
                            </p:stCondLst>
                            <p:childTnLst>
                              <p:par>
                                <p:cTn id="40" presetID="22" presetClass="entr" presetSubtype="8" fill="hold" nodeType="after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wipe(left)">
                                      <p:cBhvr>
                                        <p:cTn id="42" dur="500"/>
                                        <p:tgtEl>
                                          <p:spTgt spid="4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fade">
                                      <p:cBhvr>
                                        <p:cTn id="49" dur="500"/>
                                        <p:tgtEl>
                                          <p:spTgt spid="8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1"/>
                                        </p:tgtEl>
                                        <p:attrNameLst>
                                          <p:attrName>style.visibility</p:attrName>
                                        </p:attrNameLst>
                                      </p:cBhvr>
                                      <p:to>
                                        <p:strVal val="visible"/>
                                      </p:to>
                                    </p:set>
                                    <p:animEffect transition="in" filter="fade">
                                      <p:cBhvr>
                                        <p:cTn id="52" dur="500"/>
                                        <p:tgtEl>
                                          <p:spTgt spid="191"/>
                                        </p:tgtEl>
                                      </p:cBhvr>
                                    </p:animEffect>
                                  </p:childTnLst>
                                </p:cTn>
                              </p:par>
                            </p:childTnLst>
                          </p:cTn>
                        </p:par>
                        <p:par>
                          <p:cTn id="53" fill="hold">
                            <p:stCondLst>
                              <p:cond delay="3500"/>
                            </p:stCondLst>
                            <p:childTnLst>
                              <p:par>
                                <p:cTn id="54" presetID="22" presetClass="entr" presetSubtype="1" fill="hold" nodeType="afterEffect">
                                  <p:stCondLst>
                                    <p:cond delay="0"/>
                                  </p:stCondLst>
                                  <p:childTnLst>
                                    <p:set>
                                      <p:cBhvr>
                                        <p:cTn id="55" dur="1" fill="hold">
                                          <p:stCondLst>
                                            <p:cond delay="0"/>
                                          </p:stCondLst>
                                        </p:cTn>
                                        <p:tgtEl>
                                          <p:spTgt spid="26"/>
                                        </p:tgtEl>
                                        <p:attrNameLst>
                                          <p:attrName>style.visibility</p:attrName>
                                        </p:attrNameLst>
                                      </p:cBhvr>
                                      <p:to>
                                        <p:strVal val="visible"/>
                                      </p:to>
                                    </p:set>
                                    <p:animEffect transition="in" filter="wipe(up)">
                                      <p:cBhvr>
                                        <p:cTn id="56" dur="500"/>
                                        <p:tgtEl>
                                          <p:spTgt spid="26"/>
                                        </p:tgtEl>
                                      </p:cBhvr>
                                    </p:animEffect>
                                  </p:childTnLst>
                                </p:cTn>
                              </p:par>
                              <p:par>
                                <p:cTn id="57" presetID="22" presetClass="entr" presetSubtype="2"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wipe(right)">
                                      <p:cBhvr>
                                        <p:cTn id="59" dur="500"/>
                                        <p:tgtEl>
                                          <p:spTgt spid="18"/>
                                        </p:tgtEl>
                                      </p:cBhvr>
                                    </p:animEffect>
                                  </p:childTnLst>
                                </p:cTn>
                              </p:par>
                            </p:childTnLst>
                          </p:cTn>
                        </p:par>
                        <p:par>
                          <p:cTn id="60" fill="hold">
                            <p:stCondLst>
                              <p:cond delay="4000"/>
                            </p:stCondLst>
                            <p:childTnLst>
                              <p:par>
                                <p:cTn id="61" presetID="22" presetClass="entr" presetSubtype="2"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wipe(right)">
                                      <p:cBhvr>
                                        <p:cTn id="63" dur="500"/>
                                        <p:tgtEl>
                                          <p:spTgt spid="19"/>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114"/>
                                        </p:tgtEl>
                                        <p:attrNameLst>
                                          <p:attrName>style.visibility</p:attrName>
                                        </p:attrNameLst>
                                      </p:cBhvr>
                                      <p:to>
                                        <p:strVal val="visible"/>
                                      </p:to>
                                    </p:set>
                                    <p:animEffect transition="in" filter="wipe(right)">
                                      <p:cBhvr>
                                        <p:cTn id="66" dur="500"/>
                                        <p:tgtEl>
                                          <p:spTgt spid="114"/>
                                        </p:tgtEl>
                                      </p:cBhvr>
                                    </p:animEffect>
                                  </p:childTnLst>
                                </p:cTn>
                              </p:par>
                              <p:par>
                                <p:cTn id="67" presetID="22" presetClass="entr" presetSubtype="2" fill="hold" nodeType="withEffect">
                                  <p:stCondLst>
                                    <p:cond delay="0"/>
                                  </p:stCondLst>
                                  <p:childTnLst>
                                    <p:set>
                                      <p:cBhvr>
                                        <p:cTn id="68" dur="1" fill="hold">
                                          <p:stCondLst>
                                            <p:cond delay="0"/>
                                          </p:stCondLst>
                                        </p:cTn>
                                        <p:tgtEl>
                                          <p:spTgt spid="113"/>
                                        </p:tgtEl>
                                        <p:attrNameLst>
                                          <p:attrName>style.visibility</p:attrName>
                                        </p:attrNameLst>
                                      </p:cBhvr>
                                      <p:to>
                                        <p:strVal val="visible"/>
                                      </p:to>
                                    </p:set>
                                    <p:animEffect transition="in" filter="wipe(right)">
                                      <p:cBhvr>
                                        <p:cTn id="69" dur="500"/>
                                        <p:tgtEl>
                                          <p:spTgt spid="113"/>
                                        </p:tgtEl>
                                      </p:cBhvr>
                                    </p:animEffect>
                                  </p:childTnLst>
                                </p:cTn>
                              </p:par>
                            </p:childTnLst>
                          </p:cTn>
                        </p:par>
                        <p:par>
                          <p:cTn id="70" fill="hold">
                            <p:stCondLst>
                              <p:cond delay="4500"/>
                            </p:stCondLst>
                            <p:childTnLst>
                              <p:par>
                                <p:cTn id="71" presetID="10" presetClass="entr" presetSubtype="0" fill="hold" nodeType="after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par>
                                <p:cTn id="74" presetID="10" presetClass="entr" presetSubtype="0" fill="hold" nodeType="withEffect">
                                  <p:stCondLst>
                                    <p:cond delay="0"/>
                                  </p:stCondLst>
                                  <p:childTnLst>
                                    <p:set>
                                      <p:cBhvr>
                                        <p:cTn id="75" dur="1" fill="hold">
                                          <p:stCondLst>
                                            <p:cond delay="0"/>
                                          </p:stCondLst>
                                        </p:cTn>
                                        <p:tgtEl>
                                          <p:spTgt spid="2050"/>
                                        </p:tgtEl>
                                        <p:attrNameLst>
                                          <p:attrName>style.visibility</p:attrName>
                                        </p:attrNameLst>
                                      </p:cBhvr>
                                      <p:to>
                                        <p:strVal val="visible"/>
                                      </p:to>
                                    </p:set>
                                    <p:animEffect transition="in" filter="fade">
                                      <p:cBhvr>
                                        <p:cTn id="76" dur="500"/>
                                        <p:tgtEl>
                                          <p:spTgt spid="2050"/>
                                        </p:tgtEl>
                                      </p:cBhvr>
                                    </p:animEffect>
                                  </p:childTnLst>
                                </p:cTn>
                              </p:par>
                            </p:childTnLst>
                          </p:cTn>
                        </p:par>
                        <p:par>
                          <p:cTn id="77" fill="hold">
                            <p:stCondLst>
                              <p:cond delay="5000"/>
                            </p:stCondLst>
                            <p:childTnLst>
                              <p:par>
                                <p:cTn id="78" presetID="10" presetClass="entr" presetSubtype="0" fill="hold" grpId="0" nodeType="after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childTnLst>
                          </p:cTn>
                        </p:par>
                        <p:par>
                          <p:cTn id="81" fill="hold">
                            <p:stCondLst>
                              <p:cond delay="5500"/>
                            </p:stCondLst>
                            <p:childTnLst>
                              <p:par>
                                <p:cTn id="82" presetID="10" presetClass="entr" presetSubtype="0" fill="hold" grpId="0" nodeType="afterEffect">
                                  <p:stCondLst>
                                    <p:cond delay="0"/>
                                  </p:stCondLst>
                                  <p:childTnLst>
                                    <p:set>
                                      <p:cBhvr>
                                        <p:cTn id="83" dur="1" fill="hold">
                                          <p:stCondLst>
                                            <p:cond delay="0"/>
                                          </p:stCondLst>
                                        </p:cTn>
                                        <p:tgtEl>
                                          <p:spTgt spid="230"/>
                                        </p:tgtEl>
                                        <p:attrNameLst>
                                          <p:attrName>style.visibility</p:attrName>
                                        </p:attrNameLst>
                                      </p:cBhvr>
                                      <p:to>
                                        <p:strVal val="visible"/>
                                      </p:to>
                                    </p:set>
                                    <p:animEffect transition="in" filter="fade">
                                      <p:cBhvr>
                                        <p:cTn id="84" dur="500"/>
                                        <p:tgtEl>
                                          <p:spTgt spid="23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84"/>
                                        </p:tgtEl>
                                        <p:attrNameLst>
                                          <p:attrName>style.visibility</p:attrName>
                                        </p:attrNameLst>
                                      </p:cBhvr>
                                      <p:to>
                                        <p:strVal val="visible"/>
                                      </p:to>
                                    </p:set>
                                    <p:animEffect transition="in" filter="fade">
                                      <p:cBhvr>
                                        <p:cTn id="87" dur="500"/>
                                        <p:tgtEl>
                                          <p:spTgt spid="84"/>
                                        </p:tgtEl>
                                      </p:cBhvr>
                                    </p:animEffect>
                                  </p:childTnLst>
                                </p:cTn>
                              </p:par>
                            </p:childTnLst>
                          </p:cTn>
                        </p:par>
                        <p:par>
                          <p:cTn id="88" fill="hold">
                            <p:stCondLst>
                              <p:cond delay="6000"/>
                            </p:stCondLst>
                            <p:childTnLst>
                              <p:par>
                                <p:cTn id="89" presetID="22" presetClass="entr" presetSubtype="8" fill="hold" nodeType="afterEffect">
                                  <p:stCondLst>
                                    <p:cond delay="0"/>
                                  </p:stCondLst>
                                  <p:childTnLst>
                                    <p:set>
                                      <p:cBhvr>
                                        <p:cTn id="90" dur="1" fill="hold">
                                          <p:stCondLst>
                                            <p:cond delay="0"/>
                                          </p:stCondLst>
                                        </p:cTn>
                                        <p:tgtEl>
                                          <p:spTgt spid="240"/>
                                        </p:tgtEl>
                                        <p:attrNameLst>
                                          <p:attrName>style.visibility</p:attrName>
                                        </p:attrNameLst>
                                      </p:cBhvr>
                                      <p:to>
                                        <p:strVal val="visible"/>
                                      </p:to>
                                    </p:set>
                                    <p:animEffect transition="in" filter="wipe(left)">
                                      <p:cBhvr>
                                        <p:cTn id="91" dur="500"/>
                                        <p:tgtEl>
                                          <p:spTgt spid="240"/>
                                        </p:tgtEl>
                                      </p:cBhvr>
                                    </p:animEffect>
                                  </p:childTnLst>
                                </p:cTn>
                              </p:par>
                            </p:childTnLst>
                          </p:cTn>
                        </p:par>
                        <p:par>
                          <p:cTn id="92" fill="hold">
                            <p:stCondLst>
                              <p:cond delay="6500"/>
                            </p:stCondLst>
                            <p:childTnLst>
                              <p:par>
                                <p:cTn id="93" presetID="10" presetClass="entr" presetSubtype="0" fill="hold" grpId="0" nodeType="afterEffect">
                                  <p:stCondLst>
                                    <p:cond delay="0"/>
                                  </p:stCondLst>
                                  <p:childTnLst>
                                    <p:set>
                                      <p:cBhvr>
                                        <p:cTn id="94" dur="1" fill="hold">
                                          <p:stCondLst>
                                            <p:cond delay="0"/>
                                          </p:stCondLst>
                                        </p:cTn>
                                        <p:tgtEl>
                                          <p:spTgt spid="12"/>
                                        </p:tgtEl>
                                        <p:attrNameLst>
                                          <p:attrName>style.visibility</p:attrName>
                                        </p:attrNameLst>
                                      </p:cBhvr>
                                      <p:to>
                                        <p:strVal val="visible"/>
                                      </p:to>
                                    </p:set>
                                    <p:animEffect transition="in" filter="fade">
                                      <p:cBhvr>
                                        <p:cTn id="95" dur="500"/>
                                        <p:tgtEl>
                                          <p:spTgt spid="12"/>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8"/>
                                        </p:tgtEl>
                                        <p:attrNameLst>
                                          <p:attrName>style.visibility</p:attrName>
                                        </p:attrNameLst>
                                      </p:cBhvr>
                                      <p:to>
                                        <p:strVal val="visible"/>
                                      </p:to>
                                    </p:set>
                                    <p:animEffect transition="in" filter="fade">
                                      <p:cBhvr>
                                        <p:cTn id="98" dur="500"/>
                                        <p:tgtEl>
                                          <p:spTgt spid="68"/>
                                        </p:tgtEl>
                                      </p:cBhvr>
                                    </p:animEffect>
                                  </p:childTnLst>
                                </p:cTn>
                              </p:par>
                              <p:par>
                                <p:cTn id="99" presetID="10" presetClass="entr" presetSubtype="0" fill="hold" nodeType="withEffect">
                                  <p:stCondLst>
                                    <p:cond delay="0"/>
                                  </p:stCondLst>
                                  <p:childTnLst>
                                    <p:set>
                                      <p:cBhvr>
                                        <p:cTn id="100" dur="1" fill="hold">
                                          <p:stCondLst>
                                            <p:cond delay="0"/>
                                          </p:stCondLst>
                                        </p:cTn>
                                        <p:tgtEl>
                                          <p:spTgt spid="135"/>
                                        </p:tgtEl>
                                        <p:attrNameLst>
                                          <p:attrName>style.visibility</p:attrName>
                                        </p:attrNameLst>
                                      </p:cBhvr>
                                      <p:to>
                                        <p:strVal val="visible"/>
                                      </p:to>
                                    </p:set>
                                    <p:animEffect transition="in" filter="fade">
                                      <p:cBhvr>
                                        <p:cTn id="101" dur="500"/>
                                        <p:tgtEl>
                                          <p:spTgt spid="135"/>
                                        </p:tgtEl>
                                      </p:cBhvr>
                                    </p:animEffect>
                                  </p:childTnLst>
                                </p:cTn>
                              </p:par>
                              <p:par>
                                <p:cTn id="102" presetID="10" presetClass="entr" presetSubtype="0" fill="hold" nodeType="withEffect">
                                  <p:stCondLst>
                                    <p:cond delay="0"/>
                                  </p:stCondLst>
                                  <p:childTnLst>
                                    <p:set>
                                      <p:cBhvr>
                                        <p:cTn id="103" dur="1" fill="hold">
                                          <p:stCondLst>
                                            <p:cond delay="0"/>
                                          </p:stCondLst>
                                        </p:cTn>
                                        <p:tgtEl>
                                          <p:spTgt spid="10"/>
                                        </p:tgtEl>
                                        <p:attrNameLst>
                                          <p:attrName>style.visibility</p:attrName>
                                        </p:attrNameLst>
                                      </p:cBhvr>
                                      <p:to>
                                        <p:strVal val="visible"/>
                                      </p:to>
                                    </p:set>
                                    <p:animEffect transition="in" filter="fade">
                                      <p:cBhvr>
                                        <p:cTn id="104" dur="500"/>
                                        <p:tgtEl>
                                          <p:spTgt spid="10"/>
                                        </p:tgtEl>
                                      </p:cBhvr>
                                    </p:animEffect>
                                  </p:childTnLst>
                                </p:cTn>
                              </p:par>
                              <p:par>
                                <p:cTn id="105" presetID="10" presetClass="entr" presetSubtype="0" fill="hold" nodeType="withEffect">
                                  <p:stCondLst>
                                    <p:cond delay="0"/>
                                  </p:stCondLst>
                                  <p:childTnLst>
                                    <p:set>
                                      <p:cBhvr>
                                        <p:cTn id="106" dur="1" fill="hold">
                                          <p:stCondLst>
                                            <p:cond delay="0"/>
                                          </p:stCondLst>
                                        </p:cTn>
                                        <p:tgtEl>
                                          <p:spTgt spid="55"/>
                                        </p:tgtEl>
                                        <p:attrNameLst>
                                          <p:attrName>style.visibility</p:attrName>
                                        </p:attrNameLst>
                                      </p:cBhvr>
                                      <p:to>
                                        <p:strVal val="visible"/>
                                      </p:to>
                                    </p:set>
                                    <p:animEffect transition="in" filter="fade">
                                      <p:cBhvr>
                                        <p:cTn id="107" dur="500"/>
                                        <p:tgtEl>
                                          <p:spTgt spid="55"/>
                                        </p:tgtEl>
                                      </p:cBhvr>
                                    </p:animEffect>
                                  </p:childTnLst>
                                </p:cTn>
                              </p:par>
                            </p:childTnLst>
                          </p:cTn>
                        </p:par>
                        <p:par>
                          <p:cTn id="108" fill="hold">
                            <p:stCondLst>
                              <p:cond delay="7000"/>
                            </p:stCondLst>
                            <p:childTnLst>
                              <p:par>
                                <p:cTn id="109" presetID="22" presetClass="entr" presetSubtype="4" fill="hold" grpId="0" nodeType="afterEffect">
                                  <p:stCondLst>
                                    <p:cond delay="0"/>
                                  </p:stCondLst>
                                  <p:childTnLst>
                                    <p:set>
                                      <p:cBhvr>
                                        <p:cTn id="110" dur="1" fill="hold">
                                          <p:stCondLst>
                                            <p:cond delay="0"/>
                                          </p:stCondLst>
                                        </p:cTn>
                                        <p:tgtEl>
                                          <p:spTgt spid="59"/>
                                        </p:tgtEl>
                                        <p:attrNameLst>
                                          <p:attrName>style.visibility</p:attrName>
                                        </p:attrNameLst>
                                      </p:cBhvr>
                                      <p:to>
                                        <p:strVal val="visible"/>
                                      </p:to>
                                    </p:set>
                                    <p:animEffect transition="in" filter="wipe(down)">
                                      <p:cBhvr>
                                        <p:cTn id="111" dur="500"/>
                                        <p:tgtEl>
                                          <p:spTgt spid="59"/>
                                        </p:tgtEl>
                                      </p:cBhvr>
                                    </p:animEffect>
                                  </p:childTnLst>
                                </p:cTn>
                              </p:par>
                              <p:par>
                                <p:cTn id="112" presetID="22" presetClass="entr" presetSubtype="4" fill="hold" nodeType="withEffect">
                                  <p:stCondLst>
                                    <p:cond delay="0"/>
                                  </p:stCondLst>
                                  <p:childTnLst>
                                    <p:set>
                                      <p:cBhvr>
                                        <p:cTn id="113" dur="1" fill="hold">
                                          <p:stCondLst>
                                            <p:cond delay="0"/>
                                          </p:stCondLst>
                                        </p:cTn>
                                        <p:tgtEl>
                                          <p:spTgt spid="14"/>
                                        </p:tgtEl>
                                        <p:attrNameLst>
                                          <p:attrName>style.visibility</p:attrName>
                                        </p:attrNameLst>
                                      </p:cBhvr>
                                      <p:to>
                                        <p:strVal val="visible"/>
                                      </p:to>
                                    </p:set>
                                    <p:animEffect transition="in" filter="wipe(down)">
                                      <p:cBhvr>
                                        <p:cTn id="114" dur="500"/>
                                        <p:tgtEl>
                                          <p:spTgt spid="14"/>
                                        </p:tgtEl>
                                      </p:cBhvr>
                                    </p:animEffect>
                                  </p:childTnLst>
                                </p:cTn>
                              </p:par>
                            </p:childTnLst>
                          </p:cTn>
                        </p:par>
                        <p:par>
                          <p:cTn id="115" fill="hold">
                            <p:stCondLst>
                              <p:cond delay="7500"/>
                            </p:stCondLst>
                            <p:childTnLst>
                              <p:par>
                                <p:cTn id="116" presetID="22" presetClass="entr" presetSubtype="8" fill="hold" grpId="0" nodeType="afterEffect">
                                  <p:stCondLst>
                                    <p:cond delay="0"/>
                                  </p:stCondLst>
                                  <p:childTnLst>
                                    <p:set>
                                      <p:cBhvr>
                                        <p:cTn id="117" dur="1" fill="hold">
                                          <p:stCondLst>
                                            <p:cond delay="0"/>
                                          </p:stCondLst>
                                        </p:cTn>
                                        <p:tgtEl>
                                          <p:spTgt spid="24"/>
                                        </p:tgtEl>
                                        <p:attrNameLst>
                                          <p:attrName>style.visibility</p:attrName>
                                        </p:attrNameLst>
                                      </p:cBhvr>
                                      <p:to>
                                        <p:strVal val="visible"/>
                                      </p:to>
                                    </p:set>
                                    <p:animEffect transition="in" filter="wipe(left)">
                                      <p:cBhvr>
                                        <p:cTn id="118" dur="500"/>
                                        <p:tgtEl>
                                          <p:spTgt spid="24"/>
                                        </p:tgtEl>
                                      </p:cBhvr>
                                    </p:animEffect>
                                  </p:childTnLst>
                                </p:cTn>
                              </p:par>
                              <p:par>
                                <p:cTn id="119" presetID="22" presetClass="entr" presetSubtype="8" fill="hold" nodeType="withEffect">
                                  <p:stCondLst>
                                    <p:cond delay="0"/>
                                  </p:stCondLst>
                                  <p:childTnLst>
                                    <p:set>
                                      <p:cBhvr>
                                        <p:cTn id="120" dur="1" fill="hold">
                                          <p:stCondLst>
                                            <p:cond delay="0"/>
                                          </p:stCondLst>
                                        </p:cTn>
                                        <p:tgtEl>
                                          <p:spTgt spid="23"/>
                                        </p:tgtEl>
                                        <p:attrNameLst>
                                          <p:attrName>style.visibility</p:attrName>
                                        </p:attrNameLst>
                                      </p:cBhvr>
                                      <p:to>
                                        <p:strVal val="visible"/>
                                      </p:to>
                                    </p:set>
                                    <p:animEffect transition="in" filter="wipe(left)">
                                      <p:cBhvr>
                                        <p:cTn id="121" dur="500"/>
                                        <p:tgtEl>
                                          <p:spTgt spid="23"/>
                                        </p:tgtEl>
                                      </p:cBhvr>
                                    </p:animEffect>
                                  </p:childTnLst>
                                </p:cTn>
                              </p:par>
                            </p:childTnLst>
                          </p:cTn>
                        </p:par>
                        <p:par>
                          <p:cTn id="122" fill="hold">
                            <p:stCondLst>
                              <p:cond delay="8000"/>
                            </p:stCondLst>
                            <p:childTnLst>
                              <p:par>
                                <p:cTn id="123" presetID="10" presetClass="entr" presetSubtype="0" fill="hold" nodeType="afterEffect">
                                  <p:stCondLst>
                                    <p:cond delay="0"/>
                                  </p:stCondLst>
                                  <p:childTnLst>
                                    <p:set>
                                      <p:cBhvr>
                                        <p:cTn id="124" dur="1" fill="hold">
                                          <p:stCondLst>
                                            <p:cond delay="0"/>
                                          </p:stCondLst>
                                        </p:cTn>
                                        <p:tgtEl>
                                          <p:spTgt spid="48"/>
                                        </p:tgtEl>
                                        <p:attrNameLst>
                                          <p:attrName>style.visibility</p:attrName>
                                        </p:attrNameLst>
                                      </p:cBhvr>
                                      <p:to>
                                        <p:strVal val="visible"/>
                                      </p:to>
                                    </p:set>
                                    <p:animEffect transition="in" filter="fade">
                                      <p:cBhvr>
                                        <p:cTn id="125" dur="500"/>
                                        <p:tgtEl>
                                          <p:spTgt spid="48"/>
                                        </p:tgtEl>
                                      </p:cBhvr>
                                    </p:animEffect>
                                  </p:childTnLst>
                                </p:cTn>
                              </p:par>
                            </p:childTnLst>
                          </p:cTn>
                        </p:par>
                        <p:par>
                          <p:cTn id="126" fill="hold">
                            <p:stCondLst>
                              <p:cond delay="8500"/>
                            </p:stCondLst>
                            <p:childTnLst>
                              <p:par>
                                <p:cTn id="127" presetID="22" presetClass="entr" presetSubtype="8" fill="hold" nodeType="afterEffect">
                                  <p:stCondLst>
                                    <p:cond delay="0"/>
                                  </p:stCondLst>
                                  <p:childTnLst>
                                    <p:set>
                                      <p:cBhvr>
                                        <p:cTn id="128" dur="1" fill="hold">
                                          <p:stCondLst>
                                            <p:cond delay="0"/>
                                          </p:stCondLst>
                                        </p:cTn>
                                        <p:tgtEl>
                                          <p:spTgt spid="15"/>
                                        </p:tgtEl>
                                        <p:attrNameLst>
                                          <p:attrName>style.visibility</p:attrName>
                                        </p:attrNameLst>
                                      </p:cBhvr>
                                      <p:to>
                                        <p:strVal val="visible"/>
                                      </p:to>
                                    </p:set>
                                    <p:animEffect transition="in" filter="wipe(left)">
                                      <p:cBhvr>
                                        <p:cTn id="129" dur="500"/>
                                        <p:tgtEl>
                                          <p:spTgt spid="15"/>
                                        </p:tgtEl>
                                      </p:cBhvr>
                                    </p:animEffect>
                                  </p:childTnLst>
                                </p:cTn>
                              </p:par>
                              <p:par>
                                <p:cTn id="130" presetID="22" presetClass="entr" presetSubtype="8" fill="hold" nodeType="withEffect">
                                  <p:stCondLst>
                                    <p:cond delay="0"/>
                                  </p:stCondLst>
                                  <p:childTnLst>
                                    <p:set>
                                      <p:cBhvr>
                                        <p:cTn id="131" dur="1" fill="hold">
                                          <p:stCondLst>
                                            <p:cond delay="0"/>
                                          </p:stCondLst>
                                        </p:cTn>
                                        <p:tgtEl>
                                          <p:spTgt spid="16"/>
                                        </p:tgtEl>
                                        <p:attrNameLst>
                                          <p:attrName>style.visibility</p:attrName>
                                        </p:attrNameLst>
                                      </p:cBhvr>
                                      <p:to>
                                        <p:strVal val="visible"/>
                                      </p:to>
                                    </p:set>
                                    <p:animEffect transition="in" filter="wipe(left)">
                                      <p:cBhvr>
                                        <p:cTn id="132" dur="500"/>
                                        <p:tgtEl>
                                          <p:spTgt spid="16"/>
                                        </p:tgtEl>
                                      </p:cBhvr>
                                    </p:animEffect>
                                  </p:childTnLst>
                                </p:cTn>
                              </p:par>
                              <p:par>
                                <p:cTn id="133" presetID="22" presetClass="entr" presetSubtype="8" fill="hold" nodeType="withEffect">
                                  <p:stCondLst>
                                    <p:cond delay="0"/>
                                  </p:stCondLst>
                                  <p:childTnLst>
                                    <p:set>
                                      <p:cBhvr>
                                        <p:cTn id="134" dur="1" fill="hold">
                                          <p:stCondLst>
                                            <p:cond delay="0"/>
                                          </p:stCondLst>
                                        </p:cTn>
                                        <p:tgtEl>
                                          <p:spTgt spid="17"/>
                                        </p:tgtEl>
                                        <p:attrNameLst>
                                          <p:attrName>style.visibility</p:attrName>
                                        </p:attrNameLst>
                                      </p:cBhvr>
                                      <p:to>
                                        <p:strVal val="visible"/>
                                      </p:to>
                                    </p:set>
                                    <p:animEffect transition="in" filter="wipe(left)">
                                      <p:cBhvr>
                                        <p:cTn id="135" dur="500"/>
                                        <p:tgtEl>
                                          <p:spTgt spid="17"/>
                                        </p:tgtEl>
                                      </p:cBhvr>
                                    </p:animEffect>
                                  </p:childTnLst>
                                </p:cTn>
                              </p:par>
                            </p:childTnLst>
                          </p:cTn>
                        </p:par>
                        <p:par>
                          <p:cTn id="136" fill="hold">
                            <p:stCondLst>
                              <p:cond delay="9000"/>
                            </p:stCondLst>
                            <p:childTnLst>
                              <p:par>
                                <p:cTn id="137" presetID="10" presetClass="entr" presetSubtype="0" fill="hold" nodeType="afterEffect">
                                  <p:stCondLst>
                                    <p:cond delay="0"/>
                                  </p:stCondLst>
                                  <p:childTnLst>
                                    <p:set>
                                      <p:cBhvr>
                                        <p:cTn id="138" dur="1" fill="hold">
                                          <p:stCondLst>
                                            <p:cond delay="0"/>
                                          </p:stCondLst>
                                        </p:cTn>
                                        <p:tgtEl>
                                          <p:spTgt spid="127"/>
                                        </p:tgtEl>
                                        <p:attrNameLst>
                                          <p:attrName>style.visibility</p:attrName>
                                        </p:attrNameLst>
                                      </p:cBhvr>
                                      <p:to>
                                        <p:strVal val="visible"/>
                                      </p:to>
                                    </p:set>
                                    <p:animEffect transition="in" filter="fade">
                                      <p:cBhvr>
                                        <p:cTn id="139" dur="500"/>
                                        <p:tgtEl>
                                          <p:spTgt spid="127"/>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71"/>
                                        </p:tgtEl>
                                        <p:attrNameLst>
                                          <p:attrName>style.visibility</p:attrName>
                                        </p:attrNameLst>
                                      </p:cBhvr>
                                      <p:to>
                                        <p:strVal val="visible"/>
                                      </p:to>
                                    </p:set>
                                    <p:animEffect transition="in" filter="fade">
                                      <p:cBhvr>
                                        <p:cTn id="142" dur="500"/>
                                        <p:tgtEl>
                                          <p:spTgt spid="71"/>
                                        </p:tgtEl>
                                      </p:cBhvr>
                                    </p:animEffect>
                                  </p:childTnLst>
                                </p:cTn>
                              </p:par>
                              <p:par>
                                <p:cTn id="143" presetID="10" presetClass="entr" presetSubtype="0" fill="hold" nodeType="withEffect">
                                  <p:stCondLst>
                                    <p:cond delay="0"/>
                                  </p:stCondLst>
                                  <p:childTnLst>
                                    <p:set>
                                      <p:cBhvr>
                                        <p:cTn id="144" dur="1" fill="hold">
                                          <p:stCondLst>
                                            <p:cond delay="0"/>
                                          </p:stCondLst>
                                        </p:cTn>
                                        <p:tgtEl>
                                          <p:spTgt spid="163"/>
                                        </p:tgtEl>
                                        <p:attrNameLst>
                                          <p:attrName>style.visibility</p:attrName>
                                        </p:attrNameLst>
                                      </p:cBhvr>
                                      <p:to>
                                        <p:strVal val="visible"/>
                                      </p:to>
                                    </p:set>
                                    <p:animEffect transition="in" filter="fade">
                                      <p:cBhvr>
                                        <p:cTn id="145" dur="500"/>
                                        <p:tgtEl>
                                          <p:spTgt spid="16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72"/>
                                        </p:tgtEl>
                                        <p:attrNameLst>
                                          <p:attrName>style.visibility</p:attrName>
                                        </p:attrNameLst>
                                      </p:cBhvr>
                                      <p:to>
                                        <p:strVal val="visible"/>
                                      </p:to>
                                    </p:set>
                                    <p:animEffect transition="in" filter="fade">
                                      <p:cBhvr>
                                        <p:cTn id="148" dur="500"/>
                                        <p:tgtEl>
                                          <p:spTgt spid="72"/>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61"/>
                                        </p:tgtEl>
                                        <p:attrNameLst>
                                          <p:attrName>style.visibility</p:attrName>
                                        </p:attrNameLst>
                                      </p:cBhvr>
                                      <p:to>
                                        <p:strVal val="visible"/>
                                      </p:to>
                                    </p:set>
                                    <p:animEffect transition="in" filter="fade">
                                      <p:cBhvr>
                                        <p:cTn id="151" dur="500"/>
                                        <p:tgtEl>
                                          <p:spTgt spid="61"/>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73"/>
                                        </p:tgtEl>
                                        <p:attrNameLst>
                                          <p:attrName>style.visibility</p:attrName>
                                        </p:attrNameLst>
                                      </p:cBhvr>
                                      <p:to>
                                        <p:strVal val="visible"/>
                                      </p:to>
                                    </p:set>
                                    <p:animEffect transition="in" filter="fade">
                                      <p:cBhvr>
                                        <p:cTn id="154" dur="500"/>
                                        <p:tgtEl>
                                          <p:spTgt spid="73"/>
                                        </p:tgtEl>
                                      </p:cBhvr>
                                    </p:animEffect>
                                  </p:childTnLst>
                                </p:cTn>
                              </p:par>
                            </p:childTnLst>
                          </p:cTn>
                        </p:par>
                        <p:par>
                          <p:cTn id="155" fill="hold">
                            <p:stCondLst>
                              <p:cond delay="9500"/>
                            </p:stCondLst>
                            <p:childTnLst>
                              <p:par>
                                <p:cTn id="156" presetID="22" presetClass="entr" presetSubtype="8" fill="hold" nodeType="afterEffect">
                                  <p:stCondLst>
                                    <p:cond delay="0"/>
                                  </p:stCondLst>
                                  <p:childTnLst>
                                    <p:set>
                                      <p:cBhvr>
                                        <p:cTn id="157" dur="1" fill="hold">
                                          <p:stCondLst>
                                            <p:cond delay="0"/>
                                          </p:stCondLst>
                                        </p:cTn>
                                        <p:tgtEl>
                                          <p:spTgt spid="128"/>
                                        </p:tgtEl>
                                        <p:attrNameLst>
                                          <p:attrName>style.visibility</p:attrName>
                                        </p:attrNameLst>
                                      </p:cBhvr>
                                      <p:to>
                                        <p:strVal val="visible"/>
                                      </p:to>
                                    </p:set>
                                    <p:animEffect transition="in" filter="wipe(left)">
                                      <p:cBhvr>
                                        <p:cTn id="158" dur="500"/>
                                        <p:tgtEl>
                                          <p:spTgt spid="128"/>
                                        </p:tgtEl>
                                      </p:cBhvr>
                                    </p:animEffect>
                                  </p:childTnLst>
                                </p:cTn>
                              </p:par>
                              <p:par>
                                <p:cTn id="159" presetID="22" presetClass="entr" presetSubtype="8" fill="hold" nodeType="withEffect">
                                  <p:stCondLst>
                                    <p:cond delay="0"/>
                                  </p:stCondLst>
                                  <p:childTnLst>
                                    <p:set>
                                      <p:cBhvr>
                                        <p:cTn id="160" dur="1" fill="hold">
                                          <p:stCondLst>
                                            <p:cond delay="0"/>
                                          </p:stCondLst>
                                        </p:cTn>
                                        <p:tgtEl>
                                          <p:spTgt spid="129"/>
                                        </p:tgtEl>
                                        <p:attrNameLst>
                                          <p:attrName>style.visibility</p:attrName>
                                        </p:attrNameLst>
                                      </p:cBhvr>
                                      <p:to>
                                        <p:strVal val="visible"/>
                                      </p:to>
                                    </p:set>
                                    <p:animEffect transition="in" filter="wipe(left)">
                                      <p:cBhvr>
                                        <p:cTn id="161" dur="500"/>
                                        <p:tgtEl>
                                          <p:spTgt spid="129"/>
                                        </p:tgtEl>
                                      </p:cBhvr>
                                    </p:animEffect>
                                  </p:childTnLst>
                                </p:cTn>
                              </p:par>
                              <p:par>
                                <p:cTn id="162" presetID="22" presetClass="entr" presetSubtype="8" fill="hold" nodeType="withEffect">
                                  <p:stCondLst>
                                    <p:cond delay="0"/>
                                  </p:stCondLst>
                                  <p:childTnLst>
                                    <p:set>
                                      <p:cBhvr>
                                        <p:cTn id="163" dur="1" fill="hold">
                                          <p:stCondLst>
                                            <p:cond delay="0"/>
                                          </p:stCondLst>
                                        </p:cTn>
                                        <p:tgtEl>
                                          <p:spTgt spid="130"/>
                                        </p:tgtEl>
                                        <p:attrNameLst>
                                          <p:attrName>style.visibility</p:attrName>
                                        </p:attrNameLst>
                                      </p:cBhvr>
                                      <p:to>
                                        <p:strVal val="visible"/>
                                      </p:to>
                                    </p:set>
                                    <p:animEffect transition="in" filter="wipe(left)">
                                      <p:cBhvr>
                                        <p:cTn id="164" dur="500"/>
                                        <p:tgtEl>
                                          <p:spTgt spid="130"/>
                                        </p:tgtEl>
                                      </p:cBhvr>
                                    </p:animEffect>
                                  </p:childTnLst>
                                </p:cTn>
                              </p:par>
                            </p:childTnLst>
                          </p:cTn>
                        </p:par>
                        <p:par>
                          <p:cTn id="165" fill="hold">
                            <p:stCondLst>
                              <p:cond delay="10000"/>
                            </p:stCondLst>
                            <p:childTnLst>
                              <p:par>
                                <p:cTn id="166" presetID="10" presetClass="entr" presetSubtype="0" fill="hold" grpId="0" nodeType="afterEffect">
                                  <p:stCondLst>
                                    <p:cond delay="0"/>
                                  </p:stCondLst>
                                  <p:childTnLst>
                                    <p:set>
                                      <p:cBhvr>
                                        <p:cTn id="167" dur="1" fill="hold">
                                          <p:stCondLst>
                                            <p:cond delay="0"/>
                                          </p:stCondLst>
                                        </p:cTn>
                                        <p:tgtEl>
                                          <p:spTgt spid="192"/>
                                        </p:tgtEl>
                                        <p:attrNameLst>
                                          <p:attrName>style.visibility</p:attrName>
                                        </p:attrNameLst>
                                      </p:cBhvr>
                                      <p:to>
                                        <p:strVal val="visible"/>
                                      </p:to>
                                    </p:set>
                                    <p:animEffect transition="in" filter="fade">
                                      <p:cBhvr>
                                        <p:cTn id="168" dur="500"/>
                                        <p:tgtEl>
                                          <p:spTgt spid="192"/>
                                        </p:tgtEl>
                                      </p:cBhvr>
                                    </p:animEffect>
                                  </p:childTnLst>
                                </p:cTn>
                              </p:par>
                              <p:par>
                                <p:cTn id="169" presetID="10" presetClass="entr" presetSubtype="0" fill="hold" nodeType="withEffect">
                                  <p:stCondLst>
                                    <p:cond delay="0"/>
                                  </p:stCondLst>
                                  <p:childTnLst>
                                    <p:set>
                                      <p:cBhvr>
                                        <p:cTn id="170" dur="1" fill="hold">
                                          <p:stCondLst>
                                            <p:cond delay="0"/>
                                          </p:stCondLst>
                                        </p:cTn>
                                        <p:tgtEl>
                                          <p:spTgt spid="196"/>
                                        </p:tgtEl>
                                        <p:attrNameLst>
                                          <p:attrName>style.visibility</p:attrName>
                                        </p:attrNameLst>
                                      </p:cBhvr>
                                      <p:to>
                                        <p:strVal val="visible"/>
                                      </p:to>
                                    </p:set>
                                    <p:animEffect transition="in" filter="fade">
                                      <p:cBhvr>
                                        <p:cTn id="171" dur="500"/>
                                        <p:tgtEl>
                                          <p:spTgt spid="196"/>
                                        </p:tgtEl>
                                      </p:cBhvr>
                                    </p:animEffect>
                                  </p:childTnLst>
                                </p:cTn>
                              </p:par>
                              <p:par>
                                <p:cTn id="172" presetID="10" presetClass="entr" presetSubtype="0" fill="hold" nodeType="withEffect">
                                  <p:stCondLst>
                                    <p:cond delay="0"/>
                                  </p:stCondLst>
                                  <p:childTnLst>
                                    <p:set>
                                      <p:cBhvr>
                                        <p:cTn id="173" dur="1" fill="hold">
                                          <p:stCondLst>
                                            <p:cond delay="0"/>
                                          </p:stCondLst>
                                        </p:cTn>
                                        <p:tgtEl>
                                          <p:spTgt spid="202"/>
                                        </p:tgtEl>
                                        <p:attrNameLst>
                                          <p:attrName>style.visibility</p:attrName>
                                        </p:attrNameLst>
                                      </p:cBhvr>
                                      <p:to>
                                        <p:strVal val="visible"/>
                                      </p:to>
                                    </p:set>
                                    <p:animEffect transition="in" filter="fade">
                                      <p:cBhvr>
                                        <p:cTn id="174" dur="500"/>
                                        <p:tgtEl>
                                          <p:spTgt spid="202"/>
                                        </p:tgtEl>
                                      </p:cBhvr>
                                    </p:animEffect>
                                  </p:childTnLst>
                                </p:cTn>
                              </p:par>
                              <p:par>
                                <p:cTn id="175" presetID="10" presetClass="entr" presetSubtype="0" fill="hold" nodeType="withEffect">
                                  <p:stCondLst>
                                    <p:cond delay="0"/>
                                  </p:stCondLst>
                                  <p:childTnLst>
                                    <p:set>
                                      <p:cBhvr>
                                        <p:cTn id="176" dur="1" fill="hold">
                                          <p:stCondLst>
                                            <p:cond delay="0"/>
                                          </p:stCondLst>
                                        </p:cTn>
                                        <p:tgtEl>
                                          <p:spTgt spid="193"/>
                                        </p:tgtEl>
                                        <p:attrNameLst>
                                          <p:attrName>style.visibility</p:attrName>
                                        </p:attrNameLst>
                                      </p:cBhvr>
                                      <p:to>
                                        <p:strVal val="visible"/>
                                      </p:to>
                                    </p:set>
                                    <p:animEffect transition="in" filter="fade">
                                      <p:cBhvr>
                                        <p:cTn id="177" dur="500"/>
                                        <p:tgtEl>
                                          <p:spTgt spid="193"/>
                                        </p:tgtEl>
                                      </p:cBhvr>
                                    </p:animEffect>
                                  </p:childTnLst>
                                </p:cTn>
                              </p:par>
                              <p:par>
                                <p:cTn id="178" presetID="10" presetClass="entr" presetSubtype="0" fill="hold" nodeType="withEffect">
                                  <p:stCondLst>
                                    <p:cond delay="0"/>
                                  </p:stCondLst>
                                  <p:childTnLst>
                                    <p:set>
                                      <p:cBhvr>
                                        <p:cTn id="179" dur="1" fill="hold">
                                          <p:stCondLst>
                                            <p:cond delay="0"/>
                                          </p:stCondLst>
                                        </p:cTn>
                                        <p:tgtEl>
                                          <p:spTgt spid="199"/>
                                        </p:tgtEl>
                                        <p:attrNameLst>
                                          <p:attrName>style.visibility</p:attrName>
                                        </p:attrNameLst>
                                      </p:cBhvr>
                                      <p:to>
                                        <p:strVal val="visible"/>
                                      </p:to>
                                    </p:set>
                                    <p:animEffect transition="in" filter="fade">
                                      <p:cBhvr>
                                        <p:cTn id="180" dur="500"/>
                                        <p:tgtEl>
                                          <p:spTgt spid="199"/>
                                        </p:tgtEl>
                                      </p:cBhvr>
                                    </p:animEffect>
                                  </p:childTnLst>
                                </p:cTn>
                              </p:par>
                            </p:childTnLst>
                          </p:cTn>
                        </p:par>
                        <p:par>
                          <p:cTn id="181" fill="hold">
                            <p:stCondLst>
                              <p:cond delay="10500"/>
                            </p:stCondLst>
                            <p:childTnLst>
                              <p:par>
                                <p:cTn id="182" presetID="10" presetClass="entr" presetSubtype="0" fill="hold" grpId="0" nodeType="afterEffect">
                                  <p:stCondLst>
                                    <p:cond delay="0"/>
                                  </p:stCondLst>
                                  <p:childTnLst>
                                    <p:set>
                                      <p:cBhvr>
                                        <p:cTn id="183" dur="1" fill="hold">
                                          <p:stCondLst>
                                            <p:cond delay="0"/>
                                          </p:stCondLst>
                                        </p:cTn>
                                        <p:tgtEl>
                                          <p:spTgt spid="74"/>
                                        </p:tgtEl>
                                        <p:attrNameLst>
                                          <p:attrName>style.visibility</p:attrName>
                                        </p:attrNameLst>
                                      </p:cBhvr>
                                      <p:to>
                                        <p:strVal val="visible"/>
                                      </p:to>
                                    </p:set>
                                    <p:animEffect transition="in" filter="fade">
                                      <p:cBhvr>
                                        <p:cTn id="184" dur="500"/>
                                        <p:tgtEl>
                                          <p:spTgt spid="74"/>
                                        </p:tgtEl>
                                      </p:cBhvr>
                                    </p:animEffect>
                                  </p:childTnLst>
                                </p:cTn>
                              </p:par>
                              <p:par>
                                <p:cTn id="185" presetID="10" presetClass="entr" presetSubtype="0" fill="hold" nodeType="withEffect">
                                  <p:stCondLst>
                                    <p:cond delay="0"/>
                                  </p:stCondLst>
                                  <p:childTnLst>
                                    <p:set>
                                      <p:cBhvr>
                                        <p:cTn id="186" dur="1" fill="hold">
                                          <p:stCondLst>
                                            <p:cond delay="0"/>
                                          </p:stCondLst>
                                        </p:cTn>
                                        <p:tgtEl>
                                          <p:spTgt spid="3"/>
                                        </p:tgtEl>
                                        <p:attrNameLst>
                                          <p:attrName>style.visibility</p:attrName>
                                        </p:attrNameLst>
                                      </p:cBhvr>
                                      <p:to>
                                        <p:strVal val="visible"/>
                                      </p:to>
                                    </p:set>
                                    <p:animEffect transition="in" filter="fade">
                                      <p:cBhvr>
                                        <p:cTn id="187" dur="500"/>
                                        <p:tgtEl>
                                          <p:spTgt spid="3"/>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175"/>
                                        </p:tgtEl>
                                        <p:attrNameLst>
                                          <p:attrName>style.visibility</p:attrName>
                                        </p:attrNameLst>
                                      </p:cBhvr>
                                      <p:to>
                                        <p:strVal val="visible"/>
                                      </p:to>
                                    </p:set>
                                    <p:animEffect transition="in" filter="fade">
                                      <p:cBhvr>
                                        <p:cTn id="190" dur="500"/>
                                        <p:tgtEl>
                                          <p:spTgt spid="175"/>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5"/>
                                        </p:tgtEl>
                                        <p:attrNameLst>
                                          <p:attrName>style.visibility</p:attrName>
                                        </p:attrNameLst>
                                      </p:cBhvr>
                                      <p:to>
                                        <p:strVal val="visible"/>
                                      </p:to>
                                    </p:set>
                                    <p:animEffect transition="in" filter="fade">
                                      <p:cBhvr>
                                        <p:cTn id="193" dur="500"/>
                                        <p:tgtEl>
                                          <p:spTgt spid="75"/>
                                        </p:tgtEl>
                                      </p:cBhvr>
                                    </p:animEffect>
                                  </p:childTnLst>
                                </p:cTn>
                              </p:par>
                              <p:par>
                                <p:cTn id="194" presetID="10" presetClass="entr" presetSubtype="0" fill="hold" nodeType="withEffect">
                                  <p:stCondLst>
                                    <p:cond delay="0"/>
                                  </p:stCondLst>
                                  <p:childTnLst>
                                    <p:set>
                                      <p:cBhvr>
                                        <p:cTn id="195" dur="1" fill="hold">
                                          <p:stCondLst>
                                            <p:cond delay="0"/>
                                          </p:stCondLst>
                                        </p:cTn>
                                        <p:tgtEl>
                                          <p:spTgt spid="225"/>
                                        </p:tgtEl>
                                        <p:attrNameLst>
                                          <p:attrName>style.visibility</p:attrName>
                                        </p:attrNameLst>
                                      </p:cBhvr>
                                      <p:to>
                                        <p:strVal val="visible"/>
                                      </p:to>
                                    </p:set>
                                    <p:animEffect transition="in" filter="fade">
                                      <p:cBhvr>
                                        <p:cTn id="196"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p:bldP spid="13" grpId="0"/>
      <p:bldP spid="19" grpId="0"/>
      <p:bldP spid="21" grpId="0" animBg="1"/>
      <p:bldP spid="24" grpId="0"/>
      <p:bldP spid="42" grpId="0"/>
      <p:bldP spid="59" grpId="0"/>
      <p:bldP spid="60" grpId="0" animBg="1"/>
      <p:bldP spid="61" grpId="0" animBg="1"/>
      <p:bldP spid="67" grpId="0" animBg="1"/>
      <p:bldP spid="68" grpId="0" animBg="1"/>
      <p:bldP spid="70" grpId="0" animBg="1"/>
      <p:bldP spid="71" grpId="0" animBg="1"/>
      <p:bldP spid="72" grpId="0" animBg="1"/>
      <p:bldP spid="73" grpId="0" animBg="1"/>
      <p:bldP spid="81" grpId="0" animBg="1"/>
      <p:bldP spid="84" grpId="0" animBg="1"/>
      <p:bldP spid="74" grpId="0" animBg="1"/>
      <p:bldP spid="75" grpId="0" animBg="1"/>
      <p:bldP spid="114" grpId="0"/>
      <p:bldP spid="191" grpId="0" animBg="1"/>
      <p:bldP spid="192" grpId="0" animBg="1"/>
      <p:bldP spid="230" grpId="0" animBg="1"/>
      <p:bldP spid="17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7709" y="1376556"/>
            <a:ext cx="11591728" cy="5464401"/>
          </a:xfrm>
          <a:prstGeom prst="rect">
            <a:avLst/>
          </a:prstGeom>
          <a:solidFill>
            <a:schemeClr val="tx1">
              <a:lumMod val="9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25" name="Group 224"/>
          <p:cNvGrpSpPr/>
          <p:nvPr/>
        </p:nvGrpSpPr>
        <p:grpSpPr>
          <a:xfrm>
            <a:off x="10398263" y="4798613"/>
            <a:ext cx="1215606" cy="1005840"/>
            <a:chOff x="10398263" y="4749495"/>
            <a:chExt cx="1215606" cy="1005840"/>
          </a:xfrm>
          <a:solidFill>
            <a:schemeClr val="accent1"/>
          </a:solidFill>
        </p:grpSpPr>
        <p:sp>
          <p:nvSpPr>
            <p:cNvPr id="76" name="Rectangle 75"/>
            <p:cNvSpPr/>
            <p:nvPr/>
          </p:nvSpPr>
          <p:spPr>
            <a:xfrm>
              <a:off x="10398263" y="4749495"/>
              <a:ext cx="1215606" cy="1005840"/>
            </a:xfrm>
            <a:prstGeom prst="rect">
              <a:avLst/>
            </a:prstGeom>
            <a:grpFill/>
          </p:spPr>
          <p:txBody>
            <a:bodyPr wrap="square" lIns="76799" tIns="38399" rIns="76799" bIns="38399" anchor="b" anchorCtr="0">
              <a:noAutofit/>
            </a:bodyPr>
            <a:lstStyle/>
            <a:p>
              <a:pPr algn="ctr" defTabSz="576144"/>
              <a:r>
                <a:rPr lang="it-IT" sz="900" b="1" dirty="0">
                  <a:solidFill>
                    <a:srgbClr val="FFFFFF"/>
                  </a:solidFill>
                </a:rPr>
                <a:t>Performance Scorecards</a:t>
              </a:r>
            </a:p>
          </p:txBody>
        </p:sp>
        <p:sp>
          <p:nvSpPr>
            <p:cNvPr id="89" name="Freeform 18"/>
            <p:cNvSpPr>
              <a:spLocks noEditPoints="1"/>
            </p:cNvSpPr>
            <p:nvPr/>
          </p:nvSpPr>
          <p:spPr bwMode="black">
            <a:xfrm>
              <a:off x="10799292" y="4876161"/>
              <a:ext cx="413548" cy="49744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solidFill>
            <a:ln>
              <a:noFill/>
            </a:ln>
          </p:spPr>
          <p:txBody>
            <a:bodyPr vert="horz" wrap="square" lIns="61745" tIns="30873" rIns="61745" bIns="30873" numCol="1" anchor="t" anchorCtr="0" compatLnSpc="1">
              <a:prstTxWarp prst="textNoShape">
                <a:avLst/>
              </a:prstTxWarp>
            </a:bodyPr>
            <a:lstStyle/>
            <a:p>
              <a:pPr defTabSz="685983"/>
              <a:endParaRPr lang="en-US" sz="1200" dirty="0">
                <a:solidFill>
                  <a:srgbClr val="FFFFFF"/>
                </a:solidFill>
              </a:endParaRPr>
            </a:p>
          </p:txBody>
        </p:sp>
      </p:grpSp>
      <p:sp>
        <p:nvSpPr>
          <p:cNvPr id="2" name="Title 1"/>
          <p:cNvSpPr>
            <a:spLocks noGrp="1"/>
          </p:cNvSpPr>
          <p:nvPr>
            <p:ph type="title"/>
          </p:nvPr>
        </p:nvSpPr>
        <p:spPr/>
        <p:txBody>
          <a:bodyPr/>
          <a:lstStyle/>
          <a:p>
            <a:r>
              <a:rPr lang="en-GB" dirty="0"/>
              <a:t>Modern Data Warehouse DR Structure</a:t>
            </a:r>
          </a:p>
        </p:txBody>
      </p:sp>
      <p:cxnSp>
        <p:nvCxnSpPr>
          <p:cNvPr id="6" name="Straight Connector 5"/>
          <p:cNvCxnSpPr>
            <a:stCxn id="21" idx="2"/>
          </p:cNvCxnSpPr>
          <p:nvPr/>
        </p:nvCxnSpPr>
        <p:spPr>
          <a:xfrm>
            <a:off x="1799309" y="3730201"/>
            <a:ext cx="532728"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rot="16200000">
            <a:off x="1465495" y="3622172"/>
            <a:ext cx="872365" cy="216047"/>
          </a:xfrm>
          <a:prstGeom prst="rect">
            <a:avLst/>
          </a:prstGeom>
          <a:noFill/>
        </p:spPr>
        <p:txBody>
          <a:bodyPr wrap="square" lIns="76799" tIns="38399" rIns="76799" bIns="38399" rtlCol="0">
            <a:spAutoFit/>
          </a:bodyPr>
          <a:lstStyle/>
          <a:p>
            <a:pPr algn="ctr" defTabSz="576144"/>
            <a:r>
              <a:rPr lang="en-US" sz="900" b="1" dirty="0">
                <a:solidFill>
                  <a:srgbClr val="9B4F96"/>
                </a:solidFill>
                <a:cs typeface="Segoe"/>
              </a:rPr>
              <a:t>Fast</a:t>
            </a:r>
            <a:r>
              <a:rPr lang="en-US" sz="800" b="1" dirty="0">
                <a:solidFill>
                  <a:srgbClr val="9B4F96"/>
                </a:solidFill>
                <a:cs typeface="Segoe"/>
              </a:rPr>
              <a:t>   Load</a:t>
            </a:r>
          </a:p>
        </p:txBody>
      </p:sp>
      <p:cxnSp>
        <p:nvCxnSpPr>
          <p:cNvPr id="10" name="Straight Arrow Connector 9"/>
          <p:cNvCxnSpPr/>
          <p:nvPr/>
        </p:nvCxnSpPr>
        <p:spPr>
          <a:xfrm flipV="1">
            <a:off x="5467409" y="5541124"/>
            <a:ext cx="0" cy="677339"/>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4891909" y="6612016"/>
            <a:ext cx="1151001" cy="216047"/>
          </a:xfrm>
          <a:prstGeom prst="rect">
            <a:avLst/>
          </a:prstGeom>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0072C6"/>
                </a:solidFill>
                <a:cs typeface="Segoe"/>
              </a:rPr>
              <a:t>Source Systems</a:t>
            </a:r>
          </a:p>
        </p:txBody>
      </p:sp>
      <p:sp>
        <p:nvSpPr>
          <p:cNvPr id="13" name="TextBox 12"/>
          <p:cNvSpPr txBox="1"/>
          <p:nvPr/>
        </p:nvSpPr>
        <p:spPr>
          <a:xfrm>
            <a:off x="2984559" y="4404916"/>
            <a:ext cx="1714944" cy="354547"/>
          </a:xfrm>
          <a:prstGeom prst="rect">
            <a:avLst/>
          </a:prstGeom>
          <a:noFill/>
          <a:ln w="9525">
            <a:noFill/>
            <a:miter lim="800000"/>
            <a:headEnd/>
            <a:tailEnd/>
          </a:ln>
          <a:effectLst/>
        </p:spPr>
        <p:txBody>
          <a:bodyPr wrap="square" lIns="76799" tIns="38399" rIns="76799" bIns="38399">
            <a:spAutoFit/>
          </a:bodyPr>
          <a:lstStyle>
            <a:defPPr>
              <a:defRPr lang="en-US"/>
            </a:defPPr>
            <a:lvl1pPr algn="ctr" eaLnBrk="0" hangingPunct="0">
              <a:lnSpc>
                <a:spcPct val="90000"/>
              </a:lnSpc>
              <a:spcBef>
                <a:spcPct val="30000"/>
              </a:spcBef>
              <a:defRPr sz="1400" b="1">
                <a:solidFill>
                  <a:schemeClr val="accent1">
                    <a:lumMod val="50000"/>
                  </a:schemeClr>
                </a:solidFill>
                <a:latin typeface="Segoe Semibold" pitchFamily="34" charset="0"/>
              </a:defRPr>
            </a:lvl1pPr>
          </a:lstStyle>
          <a:p>
            <a:pPr defTabSz="576144"/>
            <a:r>
              <a:rPr lang="en-US" sz="1000" dirty="0">
                <a:solidFill>
                  <a:srgbClr val="008A00"/>
                </a:solidFill>
                <a:latin typeface="+mn-lt"/>
                <a:cs typeface="Segoe"/>
              </a:rPr>
              <a:t>Historical Data</a:t>
            </a:r>
            <a:br>
              <a:rPr lang="en-US" sz="1000" dirty="0">
                <a:solidFill>
                  <a:srgbClr val="008A00"/>
                </a:solidFill>
                <a:latin typeface="+mn-lt"/>
                <a:cs typeface="Segoe"/>
              </a:rPr>
            </a:br>
            <a:r>
              <a:rPr lang="en-US" sz="1000" dirty="0">
                <a:solidFill>
                  <a:srgbClr val="008A00"/>
                </a:solidFill>
                <a:latin typeface="+mn-lt"/>
                <a:cs typeface="Segoe"/>
              </a:rPr>
              <a:t>(Beyond Active Window)</a:t>
            </a:r>
          </a:p>
        </p:txBody>
      </p:sp>
      <p:cxnSp>
        <p:nvCxnSpPr>
          <p:cNvPr id="14" name="Straight Arrow Connector 13"/>
          <p:cNvCxnSpPr/>
          <p:nvPr/>
        </p:nvCxnSpPr>
        <p:spPr>
          <a:xfrm flipH="1" flipV="1">
            <a:off x="5456237" y="4236818"/>
            <a:ext cx="11174" cy="763978"/>
          </a:xfrm>
          <a:prstGeom prst="straightConnector1">
            <a:avLst/>
          </a:prstGeom>
          <a:ln w="28575">
            <a:solidFill>
              <a:srgbClr val="9B4F96"/>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endCxn id="71" idx="1"/>
          </p:cNvCxnSpPr>
          <p:nvPr/>
        </p:nvCxnSpPr>
        <p:spPr>
          <a:xfrm flipV="1">
            <a:off x="5907884" y="2926104"/>
            <a:ext cx="860144" cy="45090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endCxn id="72" idx="1"/>
          </p:cNvCxnSpPr>
          <p:nvPr/>
        </p:nvCxnSpPr>
        <p:spPr>
          <a:xfrm>
            <a:off x="5873483" y="3623739"/>
            <a:ext cx="886630" cy="307745"/>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73" idx="1"/>
          </p:cNvCxnSpPr>
          <p:nvPr/>
        </p:nvCxnSpPr>
        <p:spPr>
          <a:xfrm>
            <a:off x="5716967" y="3824232"/>
            <a:ext cx="1043146" cy="105697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4160837" y="3725862"/>
            <a:ext cx="846072" cy="0"/>
          </a:xfrm>
          <a:prstGeom prst="straightConnector1">
            <a:avLst/>
          </a:prstGeom>
          <a:ln w="28575" cap="flat" cmpd="sng" algn="ctr">
            <a:solidFill>
              <a:srgbClr val="9B4F96"/>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 name="Rectangle 9"/>
          <p:cNvSpPr>
            <a:spLocks noChangeArrowheads="1"/>
          </p:cNvSpPr>
          <p:nvPr/>
        </p:nvSpPr>
        <p:spPr bwMode="auto">
          <a:xfrm>
            <a:off x="4164868" y="3371775"/>
            <a:ext cx="901735" cy="3545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cs typeface="Segoe"/>
              </a:rPr>
              <a:t>Summarize &amp; Load</a:t>
            </a:r>
          </a:p>
        </p:txBody>
      </p:sp>
      <p:sp>
        <p:nvSpPr>
          <p:cNvPr id="21" name="Right Bracket 20"/>
          <p:cNvSpPr/>
          <p:nvPr/>
        </p:nvSpPr>
        <p:spPr>
          <a:xfrm>
            <a:off x="1616568" y="2125878"/>
            <a:ext cx="182741" cy="3208646"/>
          </a:xfrm>
          <a:prstGeom prst="rightBracket">
            <a:avLst/>
          </a:prstGeom>
          <a:ln w="28575" cap="flat" cmpd="sng" algn="ctr">
            <a:solidFill>
              <a:srgbClr val="9B4F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76799" tIns="38399" rIns="76799" bIns="38399" rtlCol="0" anchor="ctr"/>
          <a:lstStyle/>
          <a:p>
            <a:pPr algn="ctr" defTabSz="576144"/>
            <a:endParaRPr lang="en-US" sz="900" dirty="0">
              <a:solidFill>
                <a:srgbClr val="FFFFFF"/>
              </a:solidFill>
            </a:endParaRPr>
          </a:p>
        </p:txBody>
      </p:sp>
      <p:cxnSp>
        <p:nvCxnSpPr>
          <p:cNvPr id="22" name="Straight Connector 21"/>
          <p:cNvCxnSpPr/>
          <p:nvPr/>
        </p:nvCxnSpPr>
        <p:spPr>
          <a:xfrm>
            <a:off x="2126709" y="2078478"/>
            <a:ext cx="2530833"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732038" y="2067402"/>
            <a:ext cx="2373361" cy="0"/>
          </a:xfrm>
          <a:prstGeom prst="line">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4" name="Text Box 14"/>
          <p:cNvSpPr txBox="1">
            <a:spLocks noChangeArrowheads="1"/>
          </p:cNvSpPr>
          <p:nvPr/>
        </p:nvSpPr>
        <p:spPr bwMode="auto">
          <a:xfrm>
            <a:off x="6093492" y="1836384"/>
            <a:ext cx="1450885" cy="2160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ea typeface="Segoe UI" pitchFamily="34" charset="0"/>
                <a:cs typeface="Segoe"/>
              </a:rPr>
              <a:t>Alerts, Notifications</a:t>
            </a:r>
          </a:p>
        </p:txBody>
      </p:sp>
      <p:cxnSp>
        <p:nvCxnSpPr>
          <p:cNvPr id="25" name="Straight Connector 24"/>
          <p:cNvCxnSpPr/>
          <p:nvPr/>
        </p:nvCxnSpPr>
        <p:spPr>
          <a:xfrm flipV="1">
            <a:off x="2126706" y="2063412"/>
            <a:ext cx="0" cy="1666784"/>
          </a:xfrm>
          <a:prstGeom prst="line">
            <a:avLst/>
          </a:prstGeom>
          <a:ln w="28575" cap="flat" cmpd="sng" algn="ctr">
            <a:solidFill>
              <a:srgbClr val="9B4F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67" idx="2"/>
          </p:cNvCxnSpPr>
          <p:nvPr/>
        </p:nvCxnSpPr>
        <p:spPr>
          <a:xfrm>
            <a:off x="5227638" y="2466308"/>
            <a:ext cx="0" cy="351066"/>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2" name="Rectangle 41"/>
          <p:cNvSpPr/>
          <p:nvPr/>
        </p:nvSpPr>
        <p:spPr>
          <a:xfrm>
            <a:off x="2162541" y="2131156"/>
            <a:ext cx="1250333" cy="400110"/>
          </a:xfrm>
          <a:prstGeom prst="rect">
            <a:avLst/>
          </a:prstGeom>
        </p:spPr>
        <p:txBody>
          <a:bodyPr wrap="square">
            <a:spAutoFit/>
          </a:bodyPr>
          <a:lstStyle/>
          <a:p>
            <a:pPr algn="ctr" defTabSz="576144"/>
            <a:r>
              <a:rPr lang="en-US" sz="1000" b="1" dirty="0">
                <a:solidFill>
                  <a:srgbClr val="9B4F96"/>
                </a:solidFill>
                <a:latin typeface="Segoe UI" panose="020B0502040204020203" pitchFamily="34" charset="0"/>
                <a:ea typeface="Segoe UI" panose="020B0502040204020203" pitchFamily="34" charset="0"/>
                <a:cs typeface="Segoe UI" panose="020B0502040204020203" pitchFamily="34" charset="0"/>
              </a:rPr>
              <a:t>Data &amp; Compute Intensive App</a:t>
            </a:r>
          </a:p>
        </p:txBody>
      </p:sp>
      <p:cxnSp>
        <p:nvCxnSpPr>
          <p:cNvPr id="43" name="Elbow Connector 42"/>
          <p:cNvCxnSpPr/>
          <p:nvPr/>
        </p:nvCxnSpPr>
        <p:spPr>
          <a:xfrm rot="16200000" flipH="1">
            <a:off x="3815344" y="3244399"/>
            <a:ext cx="11158" cy="2323368"/>
          </a:xfrm>
          <a:prstGeom prst="bentConnector3">
            <a:avLst>
              <a:gd name="adj1" fmla="val 3455691"/>
            </a:avLst>
          </a:prstGeom>
          <a:ln w="28575">
            <a:solidFill>
              <a:srgbClr val="9B4F96"/>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8" name="Group 47"/>
          <p:cNvGrpSpPr/>
          <p:nvPr/>
        </p:nvGrpSpPr>
        <p:grpSpPr bwMode="black">
          <a:xfrm flipH="1">
            <a:off x="8133343" y="1682316"/>
            <a:ext cx="212233" cy="443596"/>
            <a:chOff x="8920162" y="3943878"/>
            <a:chExt cx="419101" cy="889001"/>
          </a:xfrm>
          <a:solidFill>
            <a:srgbClr val="0072C6"/>
          </a:solidFill>
        </p:grpSpPr>
        <p:sp>
          <p:nvSpPr>
            <p:cNvPr id="49"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0"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1"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2"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3"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4"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grpSp>
      <p:grpSp>
        <p:nvGrpSpPr>
          <p:cNvPr id="55" name="Group 54"/>
          <p:cNvGrpSpPr/>
          <p:nvPr/>
        </p:nvGrpSpPr>
        <p:grpSpPr bwMode="black">
          <a:xfrm>
            <a:off x="5151437" y="5021262"/>
            <a:ext cx="630438" cy="515514"/>
            <a:chOff x="5184775" y="225425"/>
            <a:chExt cx="1500188" cy="1220788"/>
          </a:xfrm>
          <a:solidFill>
            <a:srgbClr val="0072C6"/>
          </a:solidFill>
        </p:grpSpPr>
        <p:sp>
          <p:nvSpPr>
            <p:cNvPr id="5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sp>
          <p:nvSpPr>
            <p:cNvPr id="5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576144"/>
              <a:endParaRPr lang="en-US" sz="1000" dirty="0">
                <a:solidFill>
                  <a:srgbClr val="FFFFFF"/>
                </a:solidFill>
              </a:endParaRPr>
            </a:p>
          </p:txBody>
        </p:sp>
      </p:grpSp>
      <p:sp>
        <p:nvSpPr>
          <p:cNvPr id="59" name="Rectangle 58"/>
          <p:cNvSpPr/>
          <p:nvPr/>
        </p:nvSpPr>
        <p:spPr>
          <a:xfrm>
            <a:off x="5456237" y="4572479"/>
            <a:ext cx="790004" cy="354547"/>
          </a:xfrm>
          <a:prstGeom prst="rect">
            <a:avLst/>
          </a:prstGeom>
        </p:spPr>
        <p:txBody>
          <a:bodyPr wrap="square" lIns="76799" tIns="38399" rIns="76799" bIns="38399">
            <a:spAutoFit/>
          </a:bodyPr>
          <a:lstStyle/>
          <a:p>
            <a:pPr defTabSz="576144" eaLnBrk="0" hangingPunct="0">
              <a:lnSpc>
                <a:spcPct val="90000"/>
              </a:lnSpc>
              <a:spcBef>
                <a:spcPct val="30000"/>
              </a:spcBef>
              <a:defRPr/>
            </a:pPr>
            <a:r>
              <a:rPr lang="en-US" sz="1000" b="1" dirty="0">
                <a:solidFill>
                  <a:srgbClr val="9B4F96"/>
                </a:solidFill>
                <a:cs typeface="Segoe"/>
              </a:rPr>
              <a:t>Integrate/Enrich</a:t>
            </a:r>
          </a:p>
        </p:txBody>
      </p:sp>
      <p:sp>
        <p:nvSpPr>
          <p:cNvPr id="60" name="Freeform 81"/>
          <p:cNvSpPr>
            <a:spLocks noEditPoints="1"/>
          </p:cNvSpPr>
          <p:nvPr/>
        </p:nvSpPr>
        <p:spPr bwMode="black">
          <a:xfrm>
            <a:off x="4892985" y="1515707"/>
            <a:ext cx="669304" cy="40545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0072C6"/>
          </a:solidFill>
          <a:ln>
            <a:noFill/>
          </a:ln>
        </p:spPr>
        <p:txBody>
          <a:bodyPr vert="horz" wrap="square" lIns="51858" tIns="25930" rIns="51858" bIns="25930" numCol="1" anchor="t" anchorCtr="0" compatLnSpc="1">
            <a:prstTxWarp prst="textNoShape">
              <a:avLst/>
            </a:prstTxWarp>
          </a:bodyPr>
          <a:lstStyle/>
          <a:p>
            <a:pPr defTabSz="576144"/>
            <a:endParaRPr lang="en-US" sz="1000" dirty="0">
              <a:solidFill>
                <a:srgbClr val="FFFFFF"/>
              </a:solidFill>
            </a:endParaRPr>
          </a:p>
        </p:txBody>
      </p:sp>
      <p:sp>
        <p:nvSpPr>
          <p:cNvPr id="61" name="Freeform 23"/>
          <p:cNvSpPr>
            <a:spLocks noEditPoints="1"/>
          </p:cNvSpPr>
          <p:nvPr/>
        </p:nvSpPr>
        <p:spPr bwMode="black">
          <a:xfrm>
            <a:off x="7221905" y="4256132"/>
            <a:ext cx="421704" cy="43185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2C6"/>
          </a:solidFill>
          <a:ln>
            <a:noFill/>
          </a:ln>
        </p:spPr>
        <p:txBody>
          <a:bodyPr vert="horz" wrap="square" lIns="51858" tIns="25930" rIns="51858" bIns="25930" numCol="1" anchor="t" anchorCtr="0" compatLnSpc="1">
            <a:prstTxWarp prst="textNoShape">
              <a:avLst/>
            </a:prstTxWarp>
          </a:bodyPr>
          <a:lstStyle/>
          <a:p>
            <a:pPr defTabSz="576144"/>
            <a:endParaRPr lang="en-US" sz="1000" dirty="0">
              <a:solidFill>
                <a:srgbClr val="FFFFFF"/>
              </a:solidFill>
            </a:endParaRPr>
          </a:p>
        </p:txBody>
      </p:sp>
      <p:sp>
        <p:nvSpPr>
          <p:cNvPr id="67" name="Rectangle 66"/>
          <p:cNvSpPr/>
          <p:nvPr/>
        </p:nvSpPr>
        <p:spPr>
          <a:xfrm>
            <a:off x="4670637" y="1973262"/>
            <a:ext cx="1114001" cy="493046"/>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Azure Stream Analytics / StreamInsight</a:t>
            </a:r>
          </a:p>
        </p:txBody>
      </p:sp>
      <p:sp>
        <p:nvSpPr>
          <p:cNvPr id="68" name="Rectangle 67"/>
          <p:cNvSpPr/>
          <p:nvPr/>
        </p:nvSpPr>
        <p:spPr>
          <a:xfrm>
            <a:off x="4956046" y="5756566"/>
            <a:ext cx="1022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ETL with SSIS, DQS, MDS</a:t>
            </a:r>
          </a:p>
        </p:txBody>
      </p:sp>
      <p:sp>
        <p:nvSpPr>
          <p:cNvPr id="70" name="Rectangle 69"/>
          <p:cNvSpPr/>
          <p:nvPr/>
        </p:nvSpPr>
        <p:spPr>
          <a:xfrm>
            <a:off x="3233156" y="4031083"/>
            <a:ext cx="1163978"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HDInsight on Windows Server</a:t>
            </a:r>
          </a:p>
        </p:txBody>
      </p:sp>
      <p:sp>
        <p:nvSpPr>
          <p:cNvPr id="71" name="Rectangle 70"/>
          <p:cNvSpPr/>
          <p:nvPr/>
        </p:nvSpPr>
        <p:spPr>
          <a:xfrm>
            <a:off x="6768028" y="2748830"/>
            <a:ext cx="132945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FTDW Data Marts</a:t>
            </a:r>
          </a:p>
        </p:txBody>
      </p:sp>
      <p:sp>
        <p:nvSpPr>
          <p:cNvPr id="72" name="Rectangle 71"/>
          <p:cNvSpPr/>
          <p:nvPr/>
        </p:nvSpPr>
        <p:spPr>
          <a:xfrm>
            <a:off x="6760113" y="3754210"/>
            <a:ext cx="134528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Reporting Services</a:t>
            </a:r>
          </a:p>
        </p:txBody>
      </p:sp>
      <p:sp>
        <p:nvSpPr>
          <p:cNvPr id="73" name="Rectangle 72"/>
          <p:cNvSpPr/>
          <p:nvPr/>
        </p:nvSpPr>
        <p:spPr>
          <a:xfrm>
            <a:off x="6760113" y="4703934"/>
            <a:ext cx="1345286"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SQL Server Analysis Server</a:t>
            </a:r>
          </a:p>
        </p:txBody>
      </p:sp>
      <p:sp>
        <p:nvSpPr>
          <p:cNvPr id="81" name="Rectangle 80"/>
          <p:cNvSpPr/>
          <p:nvPr/>
        </p:nvSpPr>
        <p:spPr>
          <a:xfrm>
            <a:off x="4658326" y="4023691"/>
            <a:ext cx="1138622" cy="230832"/>
          </a:xfrm>
          <a:prstGeom prst="rect">
            <a:avLst/>
          </a:prstGeom>
          <a:solidFill>
            <a:srgbClr val="00B050"/>
          </a:solidFill>
        </p:spPr>
        <p:txBody>
          <a:bodyPr wrap="square">
            <a:spAutoFit/>
          </a:bodyPr>
          <a:lstStyle/>
          <a:p>
            <a:pPr algn="ctr" defTabSz="576144"/>
            <a:r>
              <a:rPr lang="it-IT" sz="900" b="1" dirty="0">
                <a:solidFill>
                  <a:srgbClr val="FFFFFF"/>
                </a:solidFill>
              </a:rPr>
              <a:t>Azure SQL DW</a:t>
            </a:r>
          </a:p>
        </p:txBody>
      </p:sp>
      <p:sp>
        <p:nvSpPr>
          <p:cNvPr id="84" name="Rectangle 83"/>
          <p:cNvSpPr/>
          <p:nvPr/>
        </p:nvSpPr>
        <p:spPr>
          <a:xfrm>
            <a:off x="2771410" y="5000795"/>
            <a:ext cx="1022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Azure Market Place</a:t>
            </a:r>
            <a:endParaRPr lang="it-IT" sz="900" dirty="0">
              <a:solidFill>
                <a:srgbClr val="FFFFFF"/>
              </a:solidFill>
            </a:endParaRPr>
          </a:p>
        </p:txBody>
      </p:sp>
      <p:sp>
        <p:nvSpPr>
          <p:cNvPr id="74" name="Rectangle 73"/>
          <p:cNvSpPr/>
          <p:nvPr/>
        </p:nvSpPr>
        <p:spPr>
          <a:xfrm>
            <a:off x="10398263" y="2022380"/>
            <a:ext cx="1215606" cy="1005840"/>
          </a:xfrm>
          <a:prstGeom prst="rect">
            <a:avLst/>
          </a:prstGeom>
          <a:solidFill>
            <a:schemeClr val="accent1"/>
          </a:solidFill>
        </p:spPr>
        <p:txBody>
          <a:bodyPr wrap="square" lIns="76799" tIns="38399" rIns="76799" bIns="38399" anchor="b" anchorCtr="0">
            <a:noAutofit/>
          </a:bodyPr>
          <a:lstStyle/>
          <a:p>
            <a:pPr algn="ctr" defTabSz="576144"/>
            <a:r>
              <a:rPr lang="it-IT" sz="900" b="1" dirty="0">
                <a:solidFill>
                  <a:srgbClr val="FFFFFF"/>
                </a:solidFill>
              </a:rPr>
              <a:t>Business Insights</a:t>
            </a:r>
          </a:p>
        </p:txBody>
      </p:sp>
      <p:sp>
        <p:nvSpPr>
          <p:cNvPr id="75" name="Rectangle 74"/>
          <p:cNvSpPr/>
          <p:nvPr/>
        </p:nvSpPr>
        <p:spPr>
          <a:xfrm>
            <a:off x="10398263" y="3405822"/>
            <a:ext cx="1215606" cy="1005840"/>
          </a:xfrm>
          <a:prstGeom prst="rect">
            <a:avLst/>
          </a:prstGeom>
          <a:solidFill>
            <a:schemeClr val="accent1"/>
          </a:solidFill>
        </p:spPr>
        <p:txBody>
          <a:bodyPr wrap="square" lIns="76799" tIns="38399" rIns="76799" bIns="38399" anchor="b" anchorCtr="0">
            <a:noAutofit/>
          </a:bodyPr>
          <a:lstStyle/>
          <a:p>
            <a:pPr algn="ctr" defTabSz="576144"/>
            <a:r>
              <a:rPr lang="it-IT" sz="900" b="1" dirty="0">
                <a:solidFill>
                  <a:srgbClr val="FFFFFF"/>
                </a:solidFill>
              </a:rPr>
              <a:t>Interactive Reports</a:t>
            </a:r>
          </a:p>
        </p:txBody>
      </p:sp>
      <p:cxnSp>
        <p:nvCxnSpPr>
          <p:cNvPr id="113" name="Straight Arrow Connector 112"/>
          <p:cNvCxnSpPr/>
          <p:nvPr/>
        </p:nvCxnSpPr>
        <p:spPr>
          <a:xfrm>
            <a:off x="3932237" y="3040062"/>
            <a:ext cx="1049572" cy="0"/>
          </a:xfrm>
          <a:prstGeom prst="straightConnector1">
            <a:avLst/>
          </a:prstGeom>
          <a:ln w="28575" cap="flat" cmpd="sng" algn="ctr">
            <a:solidFill>
              <a:srgbClr val="9B4F96"/>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4" name="Rectangle 9"/>
          <p:cNvSpPr>
            <a:spLocks noChangeArrowheads="1"/>
          </p:cNvSpPr>
          <p:nvPr/>
        </p:nvSpPr>
        <p:spPr bwMode="auto">
          <a:xfrm>
            <a:off x="3785006" y="2472603"/>
            <a:ext cx="1295609" cy="493046"/>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9B4F96"/>
                </a:solidFill>
                <a:cs typeface="Segoe"/>
              </a:rPr>
              <a:t>Summarize &amp; Load via PDW Hadoop Connector</a:t>
            </a:r>
          </a:p>
        </p:txBody>
      </p:sp>
      <p:grpSp>
        <p:nvGrpSpPr>
          <p:cNvPr id="115" name="Group 114"/>
          <p:cNvGrpSpPr/>
          <p:nvPr/>
        </p:nvGrpSpPr>
        <p:grpSpPr bwMode="black">
          <a:xfrm>
            <a:off x="3581842" y="2906149"/>
            <a:ext cx="415134" cy="414957"/>
            <a:chOff x="3422650" y="3467107"/>
            <a:chExt cx="533400" cy="549268"/>
          </a:xfrm>
          <a:solidFill>
            <a:srgbClr val="0072C6"/>
          </a:solidFill>
        </p:grpSpPr>
        <p:sp>
          <p:nvSpPr>
            <p:cNvPr id="116"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68598" tIns="34299" rIns="68598" bIns="34299" numCol="1" anchor="t" anchorCtr="0" compatLnSpc="1">
              <a:prstTxWarp prst="textNoShape">
                <a:avLst/>
              </a:prstTxWarp>
            </a:bodyPr>
            <a:lstStyle/>
            <a:p>
              <a:pPr defTabSz="576144"/>
              <a:endParaRPr lang="en-US" sz="1200" dirty="0">
                <a:solidFill>
                  <a:srgbClr val="FFFFFF"/>
                </a:solidFill>
              </a:endParaRPr>
            </a:p>
          </p:txBody>
        </p:sp>
        <p:sp>
          <p:nvSpPr>
            <p:cNvPr id="117"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68598" tIns="34299" rIns="68598" bIns="34299" numCol="1" anchor="t" anchorCtr="0" compatLnSpc="1">
              <a:prstTxWarp prst="textNoShape">
                <a:avLst/>
              </a:prstTxWarp>
            </a:bodyPr>
            <a:lstStyle/>
            <a:p>
              <a:pPr defTabSz="576144"/>
              <a:endParaRPr lang="en-US" sz="1200" dirty="0">
                <a:solidFill>
                  <a:srgbClr val="FFFFFF"/>
                </a:solidFill>
              </a:endParaRPr>
            </a:p>
          </p:txBody>
        </p:sp>
      </p:grpSp>
      <p:cxnSp>
        <p:nvCxnSpPr>
          <p:cNvPr id="128" name="Straight Arrow Connector 127"/>
          <p:cNvCxnSpPr/>
          <p:nvPr/>
        </p:nvCxnSpPr>
        <p:spPr>
          <a:xfrm>
            <a:off x="8097323" y="2901454"/>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p:cNvCxnSpPr/>
          <p:nvPr/>
        </p:nvCxnSpPr>
        <p:spPr>
          <a:xfrm>
            <a:off x="8097323" y="3906834"/>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0" name="Straight Arrow Connector 129"/>
          <p:cNvCxnSpPr/>
          <p:nvPr/>
        </p:nvCxnSpPr>
        <p:spPr>
          <a:xfrm>
            <a:off x="8097323" y="4877916"/>
            <a:ext cx="709462" cy="6583"/>
          </a:xfrm>
          <a:prstGeom prst="straightConnector1">
            <a:avLst/>
          </a:prstGeom>
          <a:ln w="28575" cap="flat" cmpd="sng" algn="ctr">
            <a:solidFill>
              <a:srgbClr val="9B4F96"/>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135" name="Group 134"/>
          <p:cNvGrpSpPr/>
          <p:nvPr/>
        </p:nvGrpSpPr>
        <p:grpSpPr>
          <a:xfrm>
            <a:off x="4618037" y="6259963"/>
            <a:ext cx="1698745" cy="386407"/>
            <a:chOff x="1985253" y="3642357"/>
            <a:chExt cx="1698745" cy="386407"/>
          </a:xfrm>
        </p:grpSpPr>
        <p:grpSp>
          <p:nvGrpSpPr>
            <p:cNvPr id="136" name="Group 135"/>
            <p:cNvGrpSpPr/>
            <p:nvPr/>
          </p:nvGrpSpPr>
          <p:grpSpPr>
            <a:xfrm>
              <a:off x="1985253" y="3642357"/>
              <a:ext cx="398885" cy="386407"/>
              <a:chOff x="2559998" y="2803510"/>
              <a:chExt cx="398885" cy="540307"/>
            </a:xfrm>
          </p:grpSpPr>
          <p:sp>
            <p:nvSpPr>
              <p:cNvPr id="149"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50"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ERP</a:t>
                </a:r>
              </a:p>
            </p:txBody>
          </p:sp>
          <p:sp>
            <p:nvSpPr>
              <p:cNvPr id="151"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7" name="Group 136"/>
            <p:cNvGrpSpPr/>
            <p:nvPr/>
          </p:nvGrpSpPr>
          <p:grpSpPr>
            <a:xfrm>
              <a:off x="2418540" y="3642357"/>
              <a:ext cx="398885" cy="386407"/>
              <a:chOff x="2559998" y="2803510"/>
              <a:chExt cx="398885" cy="540307"/>
            </a:xfrm>
          </p:grpSpPr>
          <p:sp>
            <p:nvSpPr>
              <p:cNvPr id="146"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7"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CRM</a:t>
                </a:r>
              </a:p>
            </p:txBody>
          </p:sp>
          <p:sp>
            <p:nvSpPr>
              <p:cNvPr id="148"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8" name="Group 137"/>
            <p:cNvGrpSpPr/>
            <p:nvPr/>
          </p:nvGrpSpPr>
          <p:grpSpPr>
            <a:xfrm>
              <a:off x="2851827" y="3642357"/>
              <a:ext cx="398885" cy="386407"/>
              <a:chOff x="2559998" y="2803510"/>
              <a:chExt cx="398885" cy="540307"/>
            </a:xfrm>
          </p:grpSpPr>
          <p:sp>
            <p:nvSpPr>
              <p:cNvPr id="143"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4"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LOB</a:t>
                </a:r>
              </a:p>
            </p:txBody>
          </p:sp>
          <p:sp>
            <p:nvSpPr>
              <p:cNvPr id="145"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nvGrpSpPr>
            <p:cNvPr id="139" name="Group 138"/>
            <p:cNvGrpSpPr/>
            <p:nvPr/>
          </p:nvGrpSpPr>
          <p:grpSpPr>
            <a:xfrm>
              <a:off x="3285113" y="3642357"/>
              <a:ext cx="398885" cy="386407"/>
              <a:chOff x="2559998" y="2803510"/>
              <a:chExt cx="398885" cy="540307"/>
            </a:xfrm>
          </p:grpSpPr>
          <p:sp>
            <p:nvSpPr>
              <p:cNvPr id="140" name="AutoShape 14"/>
              <p:cNvSpPr>
                <a:spLocks noChangeAspect="1" noChangeArrowheads="1" noTextEdit="1"/>
              </p:cNvSpPr>
              <p:nvPr/>
            </p:nvSpPr>
            <p:spPr bwMode="auto">
              <a:xfrm>
                <a:off x="2576696" y="2817018"/>
                <a:ext cx="382187" cy="51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sp>
            <p:nvSpPr>
              <p:cNvPr id="141" name="Freeform 16"/>
              <p:cNvSpPr>
                <a:spLocks/>
              </p:cNvSpPr>
              <p:nvPr/>
            </p:nvSpPr>
            <p:spPr bwMode="auto">
              <a:xfrm>
                <a:off x="2563188" y="2803510"/>
                <a:ext cx="382187" cy="540307"/>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72C6"/>
              </a:solidFill>
              <a:ln>
                <a:noFill/>
              </a:ln>
            </p:spPr>
            <p:txBody>
              <a:bodyPr vert="horz" wrap="square" lIns="0" tIns="44821" rIns="0" bIns="44821" numCol="1" anchor="b" anchorCtr="0" compatLnSpc="1">
                <a:prstTxWarp prst="textNoShape">
                  <a:avLst/>
                </a:prstTxWarp>
              </a:bodyPr>
              <a:lstStyle/>
              <a:p>
                <a:pPr algn="ctr" defTabSz="914367"/>
                <a:r>
                  <a:rPr lang="en-US" sz="900" dirty="0">
                    <a:solidFill>
                      <a:schemeClr val="bg1"/>
                    </a:solidFill>
                  </a:rPr>
                  <a:t>APPS</a:t>
                </a:r>
              </a:p>
            </p:txBody>
          </p:sp>
          <p:sp>
            <p:nvSpPr>
              <p:cNvPr id="142" name="Freeform 17"/>
              <p:cNvSpPr>
                <a:spLocks/>
              </p:cNvSpPr>
              <p:nvPr/>
            </p:nvSpPr>
            <p:spPr bwMode="auto">
              <a:xfrm>
                <a:off x="2559998" y="2824611"/>
                <a:ext cx="388568" cy="18672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0" tIns="44821" rIns="0" bIns="44821" numCol="1" anchor="b" anchorCtr="0" compatLnSpc="1">
                <a:prstTxWarp prst="textNoShape">
                  <a:avLst/>
                </a:prstTxWarp>
              </a:bodyPr>
              <a:lstStyle/>
              <a:p>
                <a:pPr algn="ctr" defTabSz="914367"/>
                <a:endParaRPr lang="en-US" sz="900" dirty="0">
                  <a:solidFill>
                    <a:schemeClr val="bg1"/>
                  </a:solidFill>
                </a:endParaRPr>
              </a:p>
            </p:txBody>
          </p:sp>
        </p:grpSp>
      </p:grpSp>
      <p:sp>
        <p:nvSpPr>
          <p:cNvPr id="192" name="Rectangle 191"/>
          <p:cNvSpPr/>
          <p:nvPr/>
        </p:nvSpPr>
        <p:spPr bwMode="auto">
          <a:xfrm>
            <a:off x="8800426" y="2577393"/>
            <a:ext cx="1356949" cy="262785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b="1" dirty="0">
                <a:gradFill>
                  <a:gsLst>
                    <a:gs pos="0">
                      <a:srgbClr val="FFFFFF"/>
                    </a:gs>
                    <a:gs pos="100000">
                      <a:srgbClr val="FFFFFF"/>
                    </a:gs>
                  </a:gsLst>
                  <a:lin ang="5400000" scaled="0"/>
                </a:gradFill>
              </a:rPr>
              <a:t>Users /</a:t>
            </a:r>
            <a:br>
              <a:rPr lang="en-US" sz="1100" b="1" dirty="0">
                <a:gradFill>
                  <a:gsLst>
                    <a:gs pos="0">
                      <a:srgbClr val="FFFFFF"/>
                    </a:gs>
                    <a:gs pos="100000">
                      <a:srgbClr val="FFFFFF"/>
                    </a:gs>
                  </a:gsLst>
                  <a:lin ang="5400000" scaled="0"/>
                </a:gradFill>
              </a:rPr>
            </a:br>
            <a:r>
              <a:rPr lang="en-US" sz="1100" b="1" dirty="0">
                <a:gradFill>
                  <a:gsLst>
                    <a:gs pos="0">
                      <a:srgbClr val="FFFFFF"/>
                    </a:gs>
                    <a:gs pos="100000">
                      <a:srgbClr val="FFFFFF"/>
                    </a:gs>
                  </a:gsLst>
                  <a:lin ang="5400000" scaled="0"/>
                </a:gradFill>
              </a:rPr>
              <a:t>Consumers</a:t>
            </a:r>
          </a:p>
        </p:txBody>
      </p:sp>
      <p:grpSp>
        <p:nvGrpSpPr>
          <p:cNvPr id="193" name="Group 192"/>
          <p:cNvGrpSpPr>
            <a:grpSpLocks noChangeAspect="1"/>
          </p:cNvGrpSpPr>
          <p:nvPr/>
        </p:nvGrpSpPr>
        <p:grpSpPr>
          <a:xfrm>
            <a:off x="8900519" y="4641225"/>
            <a:ext cx="387901" cy="460164"/>
            <a:chOff x="9195707" y="4191471"/>
            <a:chExt cx="637236" cy="755949"/>
          </a:xfrm>
          <a:solidFill>
            <a:schemeClr val="bg1"/>
          </a:solidFill>
        </p:grpSpPr>
        <p:sp>
          <p:nvSpPr>
            <p:cNvPr id="194" name="Oval 193"/>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195" name="Freeform 194"/>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196" name="Group 195"/>
          <p:cNvGrpSpPr>
            <a:grpSpLocks noChangeAspect="1"/>
          </p:cNvGrpSpPr>
          <p:nvPr/>
        </p:nvGrpSpPr>
        <p:grpSpPr>
          <a:xfrm>
            <a:off x="8900519" y="2627113"/>
            <a:ext cx="387901" cy="460164"/>
            <a:chOff x="9195707" y="4191471"/>
            <a:chExt cx="637236" cy="755949"/>
          </a:xfrm>
          <a:solidFill>
            <a:schemeClr val="bg1"/>
          </a:solidFill>
        </p:grpSpPr>
        <p:sp>
          <p:nvSpPr>
            <p:cNvPr id="197" name="Oval 196"/>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198" name="Freeform 197"/>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199" name="Group 198"/>
          <p:cNvGrpSpPr>
            <a:grpSpLocks noChangeAspect="1"/>
          </p:cNvGrpSpPr>
          <p:nvPr/>
        </p:nvGrpSpPr>
        <p:grpSpPr>
          <a:xfrm>
            <a:off x="9648519" y="4641225"/>
            <a:ext cx="387901" cy="460164"/>
            <a:chOff x="9195707" y="4191471"/>
            <a:chExt cx="637236" cy="755949"/>
          </a:xfrm>
          <a:solidFill>
            <a:schemeClr val="bg1"/>
          </a:solidFill>
        </p:grpSpPr>
        <p:sp>
          <p:nvSpPr>
            <p:cNvPr id="200" name="Oval 199"/>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201" name="Freeform 200"/>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grpSp>
        <p:nvGrpSpPr>
          <p:cNvPr id="202" name="Group 201"/>
          <p:cNvGrpSpPr>
            <a:grpSpLocks noChangeAspect="1"/>
          </p:cNvGrpSpPr>
          <p:nvPr/>
        </p:nvGrpSpPr>
        <p:grpSpPr>
          <a:xfrm>
            <a:off x="9648519" y="2627113"/>
            <a:ext cx="387901" cy="460164"/>
            <a:chOff x="9195707" y="4191471"/>
            <a:chExt cx="637236" cy="755949"/>
          </a:xfrm>
          <a:solidFill>
            <a:schemeClr val="bg1"/>
          </a:solidFill>
        </p:grpSpPr>
        <p:sp>
          <p:nvSpPr>
            <p:cNvPr id="203" name="Oval 202"/>
            <p:cNvSpPr/>
            <p:nvPr/>
          </p:nvSpPr>
          <p:spPr>
            <a:xfrm>
              <a:off x="9330180" y="4191471"/>
              <a:ext cx="312557" cy="312557"/>
            </a:xfrm>
            <a:prstGeom prst="ellipse">
              <a:avLst/>
            </a:pr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sp>
          <p:nvSpPr>
            <p:cNvPr id="204" name="Freeform 203"/>
            <p:cNvSpPr/>
            <p:nvPr/>
          </p:nvSpPr>
          <p:spPr>
            <a:xfrm>
              <a:off x="9195707" y="4519945"/>
              <a:ext cx="637236" cy="427475"/>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w="12700" cap="flat" cmpd="sng" algn="ctr">
              <a:noFill/>
              <a:prstDash val="solid"/>
              <a:miter lim="800000"/>
            </a:ln>
            <a:effectLst/>
          </p:spPr>
          <p:txBody>
            <a:bodyPr rtlCol="0" anchor="ctr"/>
            <a:lstStyle/>
            <a:p>
              <a:pPr algn="ctr" defTabSz="931881" fontAlgn="base">
                <a:spcBef>
                  <a:spcPct val="0"/>
                </a:spcBef>
                <a:spcAft>
                  <a:spcPct val="0"/>
                </a:spcAft>
                <a:defRPr/>
              </a:pPr>
              <a:endParaRPr lang="en-US" sz="2448" kern="0" dirty="0">
                <a:solidFill>
                  <a:prstClr val="white"/>
                </a:solidFill>
                <a:latin typeface="Calibri" panose="020F0502020204030204"/>
              </a:endParaRPr>
            </a:p>
          </p:txBody>
        </p:sp>
      </p:grpSp>
      <p:sp>
        <p:nvSpPr>
          <p:cNvPr id="230" name="Freeform 90"/>
          <p:cNvSpPr>
            <a:spLocks noEditPoints="1"/>
          </p:cNvSpPr>
          <p:nvPr/>
        </p:nvSpPr>
        <p:spPr bwMode="black">
          <a:xfrm>
            <a:off x="3079501" y="5422719"/>
            <a:ext cx="406544" cy="445916"/>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0072C6"/>
          </a:solidFill>
          <a:ln>
            <a:noFill/>
          </a:ln>
          <a:extLst/>
        </p:spPr>
        <p:txBody>
          <a:bodyPr vert="horz" wrap="square" lIns="109740" tIns="54871" rIns="109740" bIns="54871" numCol="1" anchor="t" anchorCtr="0" compatLnSpc="1">
            <a:prstTxWarp prst="textNoShape">
              <a:avLst/>
            </a:prstTxWarp>
          </a:bodyPr>
          <a:lstStyle/>
          <a:p>
            <a:pPr defTabSz="1219170"/>
            <a:endParaRPr lang="en-US" sz="2133">
              <a:solidFill>
                <a:srgbClr val="FFFFFF"/>
              </a:solidFill>
              <a:latin typeface="Calibri"/>
            </a:endParaRPr>
          </a:p>
        </p:txBody>
      </p:sp>
      <p:grpSp>
        <p:nvGrpSpPr>
          <p:cNvPr id="4" name="Group 3"/>
          <p:cNvGrpSpPr/>
          <p:nvPr/>
        </p:nvGrpSpPr>
        <p:grpSpPr>
          <a:xfrm>
            <a:off x="417709" y="2152115"/>
            <a:ext cx="1469884" cy="3145723"/>
            <a:chOff x="417709" y="2152115"/>
            <a:chExt cx="1469884" cy="3145723"/>
          </a:xfrm>
        </p:grpSpPr>
        <p:sp>
          <p:nvSpPr>
            <p:cNvPr id="20" name="Text Box 14"/>
            <p:cNvSpPr txBox="1">
              <a:spLocks noChangeArrowheads="1"/>
            </p:cNvSpPr>
            <p:nvPr/>
          </p:nvSpPr>
          <p:spPr bwMode="auto">
            <a:xfrm>
              <a:off x="417709" y="2152115"/>
              <a:ext cx="1469884" cy="354547"/>
            </a:xfrm>
            <a:prstGeom prst="rect">
              <a:avLst/>
            </a:prstGeom>
            <a:noFill/>
            <a:ln w="9525">
              <a:noFill/>
              <a:miter lim="800000"/>
              <a:headEnd/>
              <a:tailEnd/>
            </a:ln>
            <a:effectLst/>
          </p:spPr>
          <p:txBody>
            <a:bodyPr wrap="square" lIns="76799" tIns="38399" rIns="76799" bIns="38399">
              <a:spAutoFit/>
            </a:bodyPr>
            <a:lstStyle/>
            <a:p>
              <a:pPr algn="ctr" defTabSz="576144" eaLnBrk="0" hangingPunct="0">
                <a:lnSpc>
                  <a:spcPct val="90000"/>
                </a:lnSpc>
                <a:spcBef>
                  <a:spcPct val="30000"/>
                </a:spcBef>
                <a:defRPr/>
              </a:pPr>
              <a:r>
                <a:rPr lang="en-US" sz="1000" b="1" dirty="0">
                  <a:solidFill>
                    <a:srgbClr val="0072C6"/>
                  </a:solidFill>
                  <a:cs typeface="Segoe"/>
                </a:rPr>
                <a:t>Big Data Sources</a:t>
              </a:r>
              <a:br>
                <a:rPr lang="en-US" sz="1000" b="1" dirty="0">
                  <a:solidFill>
                    <a:srgbClr val="0072C6"/>
                  </a:solidFill>
                  <a:cs typeface="Segoe"/>
                </a:rPr>
              </a:br>
              <a:r>
                <a:rPr lang="en-US" sz="1000" b="1" dirty="0">
                  <a:solidFill>
                    <a:srgbClr val="0072C6"/>
                  </a:solidFill>
                  <a:cs typeface="Segoe"/>
                </a:rPr>
                <a:t>(Raw, Unstructured)</a:t>
              </a:r>
            </a:p>
          </p:txBody>
        </p:sp>
        <p:sp>
          <p:nvSpPr>
            <p:cNvPr id="77" name="Rectangle 76"/>
            <p:cNvSpPr/>
            <p:nvPr/>
          </p:nvSpPr>
          <p:spPr>
            <a:xfrm>
              <a:off x="795161" y="4696858"/>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Crawlers</a:t>
              </a:r>
            </a:p>
          </p:txBody>
        </p:sp>
        <p:sp>
          <p:nvSpPr>
            <p:cNvPr id="78" name="Rectangle 77"/>
            <p:cNvSpPr/>
            <p:nvPr/>
          </p:nvSpPr>
          <p:spPr>
            <a:xfrm>
              <a:off x="795161" y="3981211"/>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Bots</a:t>
              </a:r>
            </a:p>
          </p:txBody>
        </p:sp>
        <p:sp>
          <p:nvSpPr>
            <p:cNvPr id="79" name="Rectangle 78"/>
            <p:cNvSpPr/>
            <p:nvPr/>
          </p:nvSpPr>
          <p:spPr>
            <a:xfrm>
              <a:off x="795161" y="3241001"/>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Devices</a:t>
              </a:r>
            </a:p>
          </p:txBody>
        </p:sp>
        <p:sp>
          <p:nvSpPr>
            <p:cNvPr id="80" name="Rectangle 79"/>
            <p:cNvSpPr/>
            <p:nvPr/>
          </p:nvSpPr>
          <p:spPr>
            <a:xfrm>
              <a:off x="795161" y="2563818"/>
              <a:ext cx="714980" cy="600980"/>
            </a:xfrm>
            <a:prstGeom prst="rect">
              <a:avLst/>
            </a:prstGeom>
            <a:solidFill>
              <a:srgbClr val="0071BC"/>
            </a:solidFill>
          </p:spPr>
          <p:txBody>
            <a:bodyPr wrap="square" lIns="76799" tIns="38399" rIns="76799" bIns="38399" anchor="b">
              <a:noAutofit/>
            </a:bodyPr>
            <a:lstStyle/>
            <a:p>
              <a:pPr algn="ctr" defTabSz="576144"/>
              <a:r>
                <a:rPr lang="it-IT" sz="900" b="1" dirty="0">
                  <a:solidFill>
                    <a:srgbClr val="FFFFFF"/>
                  </a:solidFill>
                </a:rPr>
                <a:t>Sensors</a:t>
              </a:r>
            </a:p>
          </p:txBody>
        </p:sp>
        <p:sp>
          <p:nvSpPr>
            <p:cNvPr id="27" name="Freeform 7"/>
            <p:cNvSpPr>
              <a:spLocks noEditPoints="1"/>
            </p:cNvSpPr>
            <p:nvPr/>
          </p:nvSpPr>
          <p:spPr bwMode="auto">
            <a:xfrm>
              <a:off x="927840" y="2634463"/>
              <a:ext cx="449623" cy="343950"/>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bg1"/>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sp>
          <p:nvSpPr>
            <p:cNvPr id="28" name="Freeform 12"/>
            <p:cNvSpPr>
              <a:spLocks noEditPoints="1"/>
            </p:cNvSpPr>
            <p:nvPr/>
          </p:nvSpPr>
          <p:spPr bwMode="auto">
            <a:xfrm>
              <a:off x="940550" y="4041680"/>
              <a:ext cx="424202" cy="343950"/>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bg1"/>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sp>
          <p:nvSpPr>
            <p:cNvPr id="29" name="Freeform 51"/>
            <p:cNvSpPr>
              <a:spLocks noEditPoints="1"/>
            </p:cNvSpPr>
            <p:nvPr/>
          </p:nvSpPr>
          <p:spPr bwMode="auto">
            <a:xfrm>
              <a:off x="983571" y="4749495"/>
              <a:ext cx="338160" cy="343949"/>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bg1"/>
            </a:solidFill>
            <a:ln>
              <a:noFill/>
            </a:ln>
          </p:spPr>
          <p:txBody>
            <a:bodyPr vert="horz" wrap="square" lIns="57614" tIns="28807" rIns="57614" bIns="28807" numCol="1" anchor="t" anchorCtr="0" compatLnSpc="1">
              <a:prstTxWarp prst="textNoShape">
                <a:avLst/>
              </a:prstTxWarp>
            </a:bodyPr>
            <a:lstStyle/>
            <a:p>
              <a:pPr defTabSz="576144"/>
              <a:endParaRPr lang="en-US" sz="1200" dirty="0">
                <a:solidFill>
                  <a:srgbClr val="FFFFFF"/>
                </a:solidFill>
              </a:endParaRPr>
            </a:p>
          </p:txBody>
        </p:sp>
        <p:grpSp>
          <p:nvGrpSpPr>
            <p:cNvPr id="231" name="Group 230"/>
            <p:cNvGrpSpPr/>
            <p:nvPr/>
          </p:nvGrpSpPr>
          <p:grpSpPr>
            <a:xfrm>
              <a:off x="862058" y="3422296"/>
              <a:ext cx="581186" cy="193728"/>
              <a:chOff x="2032001" y="1405334"/>
              <a:chExt cx="1208642" cy="402879"/>
            </a:xfrm>
          </p:grpSpPr>
          <p:grpSp>
            <p:nvGrpSpPr>
              <p:cNvPr id="232" name="Group 231"/>
              <p:cNvGrpSpPr/>
              <p:nvPr/>
            </p:nvGrpSpPr>
            <p:grpSpPr bwMode="black">
              <a:xfrm>
                <a:off x="2032001" y="1405334"/>
                <a:ext cx="408463" cy="402879"/>
                <a:chOff x="2916435" y="3914152"/>
                <a:chExt cx="930763" cy="918513"/>
              </a:xfrm>
            </p:grpSpPr>
            <p:pic>
              <p:nvPicPr>
                <p:cNvPr id="235" name="Picture 234"/>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36"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121920" tIns="60960" rIns="121920" bIns="60960" numCol="1" anchor="t" anchorCtr="0" compatLnSpc="1">
                  <a:prstTxWarp prst="textNoShape">
                    <a:avLst/>
                  </a:prstTxWarp>
                </a:bodyPr>
                <a:lstStyle/>
                <a:p>
                  <a:pPr defTabSz="1219170"/>
                  <a:endParaRPr lang="en-US" sz="1200" dirty="0">
                    <a:solidFill>
                      <a:srgbClr val="FFFFFF"/>
                    </a:solidFill>
                    <a:latin typeface="Calibri"/>
                  </a:endParaRPr>
                </a:p>
              </p:txBody>
            </p:sp>
          </p:grpSp>
          <p:sp>
            <p:nvSpPr>
              <p:cNvPr id="233" name="Freeform 20"/>
              <p:cNvSpPr>
                <a:spLocks noEditPoints="1"/>
              </p:cNvSpPr>
              <p:nvPr/>
            </p:nvSpPr>
            <p:spPr bwMode="black">
              <a:xfrm>
                <a:off x="2498289" y="1411891"/>
                <a:ext cx="508248"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109740" tIns="54871" rIns="109740" bIns="54871" numCol="1" anchor="t" anchorCtr="0" compatLnSpc="1">
                <a:prstTxWarp prst="textNoShape">
                  <a:avLst/>
                </a:prstTxWarp>
              </a:bodyPr>
              <a:lstStyle/>
              <a:p>
                <a:pPr defTabSz="1219170"/>
                <a:endParaRPr lang="en-US" sz="1200" dirty="0">
                  <a:solidFill>
                    <a:srgbClr val="FFFFFF"/>
                  </a:solidFill>
                  <a:latin typeface="Calibri"/>
                </a:endParaRPr>
              </a:p>
            </p:txBody>
          </p:sp>
          <p:pic>
            <p:nvPicPr>
              <p:cNvPr id="234" name="Picture 23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056680" y="1411892"/>
                <a:ext cx="183963" cy="353259"/>
              </a:xfrm>
              <a:prstGeom prst="rect">
                <a:avLst/>
              </a:prstGeom>
            </p:spPr>
          </p:pic>
        </p:grpSp>
      </p:grpSp>
      <p:cxnSp>
        <p:nvCxnSpPr>
          <p:cNvPr id="240" name="Elbow Connector 239"/>
          <p:cNvCxnSpPr>
            <a:stCxn id="84" idx="0"/>
            <a:endCxn id="81" idx="2"/>
          </p:cNvCxnSpPr>
          <p:nvPr/>
        </p:nvCxnSpPr>
        <p:spPr>
          <a:xfrm rot="5400000" flipH="1" flipV="1">
            <a:off x="3882069" y="3655228"/>
            <a:ext cx="746272" cy="1944863"/>
          </a:xfrm>
          <a:prstGeom prst="bentConnector3">
            <a:avLst>
              <a:gd name="adj1" fmla="val 50000"/>
            </a:avLst>
          </a:prstGeom>
          <a:ln w="28575">
            <a:solidFill>
              <a:srgbClr val="9B4F96"/>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259" y="2190509"/>
            <a:ext cx="533668" cy="562032"/>
          </a:xfrm>
          <a:prstGeom prst="rect">
            <a:avLst/>
          </a:prstGeom>
        </p:spPr>
      </p:pic>
      <p:grpSp>
        <p:nvGrpSpPr>
          <p:cNvPr id="127" name="Group 126"/>
          <p:cNvGrpSpPr/>
          <p:nvPr/>
        </p:nvGrpSpPr>
        <p:grpSpPr>
          <a:xfrm>
            <a:off x="7097600" y="2248749"/>
            <a:ext cx="635324" cy="463032"/>
            <a:chOff x="5569475" y="1403063"/>
            <a:chExt cx="714090" cy="520438"/>
          </a:xfrm>
        </p:grpSpPr>
        <p:grpSp>
          <p:nvGrpSpPr>
            <p:cNvPr id="131" name="Group 130"/>
            <p:cNvGrpSpPr>
              <a:grpSpLocks noChangeAspect="1"/>
            </p:cNvGrpSpPr>
            <p:nvPr/>
          </p:nvGrpSpPr>
          <p:grpSpPr>
            <a:xfrm>
              <a:off x="5569475" y="1403063"/>
              <a:ext cx="343962" cy="446669"/>
              <a:chOff x="377825" y="1184276"/>
              <a:chExt cx="1020763" cy="1325563"/>
            </a:xfrm>
            <a:solidFill>
              <a:srgbClr val="0072C6"/>
            </a:solidFill>
          </p:grpSpPr>
          <p:sp>
            <p:nvSpPr>
              <p:cNvPr id="161"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6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nvGrpSpPr>
            <p:cNvPr id="132" name="Group 131"/>
            <p:cNvGrpSpPr>
              <a:grpSpLocks noChangeAspect="1"/>
            </p:cNvGrpSpPr>
            <p:nvPr/>
          </p:nvGrpSpPr>
          <p:grpSpPr>
            <a:xfrm>
              <a:off x="5939603" y="1476832"/>
              <a:ext cx="343962" cy="446669"/>
              <a:chOff x="377825" y="1184276"/>
              <a:chExt cx="1020763" cy="1325563"/>
            </a:xfrm>
            <a:solidFill>
              <a:srgbClr val="0072C6"/>
            </a:solidFill>
          </p:grpSpPr>
          <p:sp>
            <p:nvSpPr>
              <p:cNvPr id="133"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3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grpSp>
        <p:nvGrpSpPr>
          <p:cNvPr id="163" name="Group 162"/>
          <p:cNvGrpSpPr/>
          <p:nvPr/>
        </p:nvGrpSpPr>
        <p:grpSpPr>
          <a:xfrm>
            <a:off x="7199314" y="3233204"/>
            <a:ext cx="466724" cy="494746"/>
            <a:chOff x="6702673" y="2908412"/>
            <a:chExt cx="566377" cy="600384"/>
          </a:xfrm>
        </p:grpSpPr>
        <p:sp>
          <p:nvSpPr>
            <p:cNvPr id="164" name="Freeform 83"/>
            <p:cNvSpPr>
              <a:spLocks noEditPoints="1"/>
            </p:cNvSpPr>
            <p:nvPr/>
          </p:nvSpPr>
          <p:spPr bwMode="black">
            <a:xfrm>
              <a:off x="6702673" y="2945013"/>
              <a:ext cx="566377" cy="56378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0072C6"/>
            </a:solidFill>
          </p:spPr>
          <p:txBody>
            <a:bodyPr vert="horz" wrap="square" lIns="51858" tIns="25930" rIns="51858" bIns="25930" numCol="1" anchor="t" anchorCtr="0" compatLnSpc="1">
              <a:prstTxWarp prst="textNoShape">
                <a:avLst/>
              </a:prstTxWarp>
            </a:bodyPr>
            <a:lstStyle/>
            <a:p>
              <a:pPr defTabSz="576144"/>
              <a:endParaRPr lang="en-US" sz="600" dirty="0">
                <a:solidFill>
                  <a:srgbClr val="FFFFFF"/>
                </a:solidFill>
              </a:endParaRPr>
            </a:p>
          </p:txBody>
        </p:sp>
        <p:grpSp>
          <p:nvGrpSpPr>
            <p:cNvPr id="165" name="Group 164"/>
            <p:cNvGrpSpPr/>
            <p:nvPr/>
          </p:nvGrpSpPr>
          <p:grpSpPr>
            <a:xfrm>
              <a:off x="6885278" y="2908412"/>
              <a:ext cx="201167" cy="261237"/>
              <a:chOff x="6070913" y="2947212"/>
              <a:chExt cx="343962" cy="446669"/>
            </a:xfrm>
          </p:grpSpPr>
          <p:sp>
            <p:nvSpPr>
              <p:cNvPr id="166" name="Rectangle 165"/>
              <p:cNvSpPr/>
              <p:nvPr/>
            </p:nvSpPr>
            <p:spPr bwMode="auto">
              <a:xfrm>
                <a:off x="6079358" y="2973457"/>
                <a:ext cx="329632" cy="35168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67" name="Group 166"/>
              <p:cNvGrpSpPr>
                <a:grpSpLocks noChangeAspect="1"/>
              </p:cNvGrpSpPr>
              <p:nvPr/>
            </p:nvGrpSpPr>
            <p:grpSpPr>
              <a:xfrm>
                <a:off x="6070913" y="2947212"/>
                <a:ext cx="343962" cy="446669"/>
                <a:chOff x="377825" y="1184276"/>
                <a:chExt cx="1020763" cy="1325563"/>
              </a:xfrm>
              <a:solidFill>
                <a:srgbClr val="0072C6"/>
              </a:solidFill>
            </p:grpSpPr>
            <p:sp>
              <p:nvSpPr>
                <p:cNvPr id="168"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1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grpSp>
        </p:grpSp>
      </p:grpSp>
      <p:pic>
        <p:nvPicPr>
          <p:cNvPr id="2050" name="Picture 2" descr="https://106c4.wpc.azureedge.net/80106C4/Gallery-Prod/cdn/2015-02-24/prod20151001-microsoft-windowsazure-gallery/microsoft_com.HDInsightConnector.0.2.2/Icons/large-icon.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6121" y="3504020"/>
            <a:ext cx="439720" cy="43972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2072830" y="3047371"/>
            <a:ext cx="1319276" cy="1338259"/>
            <a:chOff x="2072830" y="3047371"/>
            <a:chExt cx="1319276" cy="1338259"/>
          </a:xfrm>
        </p:grpSpPr>
        <p:sp>
          <p:nvSpPr>
            <p:cNvPr id="69" name="Rectangle 68"/>
            <p:cNvSpPr/>
            <p:nvPr/>
          </p:nvSpPr>
          <p:spPr>
            <a:xfrm>
              <a:off x="2072830" y="4031083"/>
              <a:ext cx="1029727" cy="354547"/>
            </a:xfrm>
            <a:prstGeom prst="rect">
              <a:avLst/>
            </a:prstGeom>
            <a:solidFill>
              <a:srgbClr val="00B050"/>
            </a:solidFill>
          </p:spPr>
          <p:txBody>
            <a:bodyPr wrap="square" lIns="76799" tIns="38399" rIns="76799" bIns="38399">
              <a:spAutoFit/>
            </a:bodyPr>
            <a:lstStyle/>
            <a:p>
              <a:pPr algn="ctr" defTabSz="576144"/>
              <a:r>
                <a:rPr lang="it-IT" sz="900" b="1" dirty="0">
                  <a:solidFill>
                    <a:srgbClr val="FFFFFF"/>
                  </a:solidFill>
                </a:rPr>
                <a:t>HDInsight on Windows Azure</a:t>
              </a:r>
            </a:p>
          </p:txBody>
        </p:sp>
        <p:sp>
          <p:nvSpPr>
            <p:cNvPr id="118" name="Rectangle 117"/>
            <p:cNvSpPr/>
            <p:nvPr/>
          </p:nvSpPr>
          <p:spPr>
            <a:xfrm>
              <a:off x="2228128" y="3047371"/>
              <a:ext cx="1163978" cy="354547"/>
            </a:xfrm>
            <a:prstGeom prst="rect">
              <a:avLst/>
            </a:prstGeom>
            <a:solidFill>
              <a:srgbClr val="0071BC"/>
            </a:solidFill>
          </p:spPr>
          <p:txBody>
            <a:bodyPr wrap="square" lIns="76799" tIns="38399" rIns="76799" bIns="38399">
              <a:spAutoFit/>
            </a:bodyPr>
            <a:lstStyle/>
            <a:p>
              <a:pPr algn="ctr" defTabSz="576144"/>
              <a:r>
                <a:rPr lang="it-IT" sz="900" b="1" dirty="0">
                  <a:solidFill>
                    <a:srgbClr val="FFFFFF"/>
                  </a:solidFill>
                </a:rPr>
                <a:t>Hortonworks or Cloudera Hadoop</a:t>
              </a:r>
            </a:p>
          </p:txBody>
        </p:sp>
        <p:sp>
          <p:nvSpPr>
            <p:cNvPr id="170" name="Freeform 169"/>
            <p:cNvSpPr>
              <a:spLocks/>
            </p:cNvSpPr>
            <p:nvPr/>
          </p:nvSpPr>
          <p:spPr bwMode="auto">
            <a:xfrm>
              <a:off x="2355784" y="3558883"/>
              <a:ext cx="626014" cy="43904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72C6"/>
            </a:solidFill>
            <a:ln>
              <a:noFill/>
            </a:ln>
          </p:spPr>
          <p:txBody>
            <a:bodyPr vert="horz" wrap="square" lIns="87843" tIns="43920" rIns="87843" bIns="43920" numCol="1" anchor="t" anchorCtr="0" compatLnSpc="1">
              <a:prstTxWarp prst="textNoShape">
                <a:avLst/>
              </a:prstTxWarp>
            </a:bodyPr>
            <a:lstStyle/>
            <a:p>
              <a:pPr defTabSz="894993" fontAlgn="base">
                <a:spcBef>
                  <a:spcPct val="0"/>
                </a:spcBef>
                <a:spcAft>
                  <a:spcPct val="0"/>
                </a:spcAft>
                <a:defRPr/>
              </a:pPr>
              <a:endParaRPr lang="en-IN" sz="2307" kern="0">
                <a:solidFill>
                  <a:srgbClr val="000000"/>
                </a:solidFill>
                <a:latin typeface="Calibri" panose="020F0502020204030204"/>
                <a:ea typeface="MS PGothic" charset="0"/>
              </a:endParaRPr>
            </a:p>
          </p:txBody>
        </p:sp>
      </p:grpSp>
      <p:sp>
        <p:nvSpPr>
          <p:cNvPr id="175" name="Freeform 174"/>
          <p:cNvSpPr/>
          <p:nvPr/>
        </p:nvSpPr>
        <p:spPr bwMode="auto">
          <a:xfrm rot="16200000">
            <a:off x="10775051" y="3551447"/>
            <a:ext cx="464336" cy="620083"/>
          </a:xfrm>
          <a:custGeom>
            <a:avLst/>
            <a:gdLst>
              <a:gd name="connsiteX0" fmla="*/ 549300 w 2234268"/>
              <a:gd name="connsiteY0" fmla="*/ 289746 h 2983685"/>
              <a:gd name="connsiteX1" fmla="*/ 549300 w 2234268"/>
              <a:gd name="connsiteY1" fmla="*/ 1548407 h 2983685"/>
              <a:gd name="connsiteX2" fmla="*/ 503581 w 2234268"/>
              <a:gd name="connsiteY2" fmla="*/ 1548407 h 2983685"/>
              <a:gd name="connsiteX3" fmla="*/ 503581 w 2234268"/>
              <a:gd name="connsiteY3" fmla="*/ 289746 h 2983685"/>
              <a:gd name="connsiteX4" fmla="*/ 615234 w 2234268"/>
              <a:gd name="connsiteY4" fmla="*/ 1941428 h 2983685"/>
              <a:gd name="connsiteX5" fmla="*/ 300909 w 2234268"/>
              <a:gd name="connsiteY5" fmla="*/ 1941428 h 2983685"/>
              <a:gd name="connsiteX6" fmla="*/ 300909 w 2234268"/>
              <a:gd name="connsiteY6" fmla="*/ 2255753 h 2983685"/>
              <a:gd name="connsiteX7" fmla="*/ 615234 w 2234268"/>
              <a:gd name="connsiteY7" fmla="*/ 2255753 h 2983685"/>
              <a:gd name="connsiteX8" fmla="*/ 619433 w 2234268"/>
              <a:gd name="connsiteY8" fmla="*/ 2288455 h 2983685"/>
              <a:gd name="connsiteX9" fmla="*/ 305108 w 2234268"/>
              <a:gd name="connsiteY9" fmla="*/ 2288455 h 2983685"/>
              <a:gd name="connsiteX10" fmla="*/ 305108 w 2234268"/>
              <a:gd name="connsiteY10" fmla="*/ 2602780 h 2983685"/>
              <a:gd name="connsiteX11" fmla="*/ 619433 w 2234268"/>
              <a:gd name="connsiteY11" fmla="*/ 2602780 h 2983685"/>
              <a:gd name="connsiteX12" fmla="*/ 924858 w 2234268"/>
              <a:gd name="connsiteY12" fmla="*/ 805457 h 2983685"/>
              <a:gd name="connsiteX13" fmla="*/ 924858 w 2234268"/>
              <a:gd name="connsiteY13" fmla="*/ 1032696 h 2983685"/>
              <a:gd name="connsiteX14" fmla="*/ 629583 w 2234268"/>
              <a:gd name="connsiteY14" fmla="*/ 1032696 h 2983685"/>
              <a:gd name="connsiteX15" fmla="*/ 629583 w 2234268"/>
              <a:gd name="connsiteY15" fmla="*/ 805457 h 2983685"/>
              <a:gd name="connsiteX16" fmla="*/ 969020 w 2234268"/>
              <a:gd name="connsiteY16" fmla="*/ 1941429 h 2983685"/>
              <a:gd name="connsiteX17" fmla="*/ 654695 w 2234268"/>
              <a:gd name="connsiteY17" fmla="*/ 1941429 h 2983685"/>
              <a:gd name="connsiteX18" fmla="*/ 654695 w 2234268"/>
              <a:gd name="connsiteY18" fmla="*/ 2255754 h 2983685"/>
              <a:gd name="connsiteX19" fmla="*/ 969020 w 2234268"/>
              <a:gd name="connsiteY19" fmla="*/ 2255754 h 2983685"/>
              <a:gd name="connsiteX20" fmla="*/ 973219 w 2234268"/>
              <a:gd name="connsiteY20" fmla="*/ 2288456 h 2983685"/>
              <a:gd name="connsiteX21" fmla="*/ 658894 w 2234268"/>
              <a:gd name="connsiteY21" fmla="*/ 2288456 h 2983685"/>
              <a:gd name="connsiteX22" fmla="*/ 658894 w 2234268"/>
              <a:gd name="connsiteY22" fmla="*/ 2602781 h 2983685"/>
              <a:gd name="connsiteX23" fmla="*/ 973219 w 2234268"/>
              <a:gd name="connsiteY23" fmla="*/ 2602781 h 2983685"/>
              <a:gd name="connsiteX24" fmla="*/ 1258232 w 2234268"/>
              <a:gd name="connsiteY24" fmla="*/ 428539 h 2983685"/>
              <a:gd name="connsiteX25" fmla="*/ 1258232 w 2234268"/>
              <a:gd name="connsiteY25" fmla="*/ 655778 h 2983685"/>
              <a:gd name="connsiteX26" fmla="*/ 629582 w 2234268"/>
              <a:gd name="connsiteY26" fmla="*/ 655778 h 2983685"/>
              <a:gd name="connsiteX27" fmla="*/ 629582 w 2234268"/>
              <a:gd name="connsiteY27" fmla="*/ 428539 h 2983685"/>
              <a:gd name="connsiteX28" fmla="*/ 1322806 w 2234268"/>
              <a:gd name="connsiteY28" fmla="*/ 1941430 h 2983685"/>
              <a:gd name="connsiteX29" fmla="*/ 1008481 w 2234268"/>
              <a:gd name="connsiteY29" fmla="*/ 1941430 h 2983685"/>
              <a:gd name="connsiteX30" fmla="*/ 1008481 w 2234268"/>
              <a:gd name="connsiteY30" fmla="*/ 2255755 h 2983685"/>
              <a:gd name="connsiteX31" fmla="*/ 1322806 w 2234268"/>
              <a:gd name="connsiteY31" fmla="*/ 2255755 h 2983685"/>
              <a:gd name="connsiteX32" fmla="*/ 1327005 w 2234268"/>
              <a:gd name="connsiteY32" fmla="*/ 2288457 h 2983685"/>
              <a:gd name="connsiteX33" fmla="*/ 1012680 w 2234268"/>
              <a:gd name="connsiteY33" fmla="*/ 2288457 h 2983685"/>
              <a:gd name="connsiteX34" fmla="*/ 1012680 w 2234268"/>
              <a:gd name="connsiteY34" fmla="*/ 2602782 h 2983685"/>
              <a:gd name="connsiteX35" fmla="*/ 1327005 w 2234268"/>
              <a:gd name="connsiteY35" fmla="*/ 2602782 h 2983685"/>
              <a:gd name="connsiteX36" fmla="*/ 1484111 w 2234268"/>
              <a:gd name="connsiteY36" fmla="*/ 1182375 h 2983685"/>
              <a:gd name="connsiteX37" fmla="*/ 1484111 w 2234268"/>
              <a:gd name="connsiteY37" fmla="*/ 1409614 h 2983685"/>
              <a:gd name="connsiteX38" fmla="*/ 629582 w 2234268"/>
              <a:gd name="connsiteY38" fmla="*/ 1409614 h 2983685"/>
              <a:gd name="connsiteX39" fmla="*/ 629582 w 2234268"/>
              <a:gd name="connsiteY39" fmla="*/ 1182375 h 2983685"/>
              <a:gd name="connsiteX40" fmla="*/ 1676592 w 2234268"/>
              <a:gd name="connsiteY40" fmla="*/ 1941431 h 2983685"/>
              <a:gd name="connsiteX41" fmla="*/ 1362267 w 2234268"/>
              <a:gd name="connsiteY41" fmla="*/ 1941431 h 2983685"/>
              <a:gd name="connsiteX42" fmla="*/ 1362267 w 2234268"/>
              <a:gd name="connsiteY42" fmla="*/ 2255756 h 2983685"/>
              <a:gd name="connsiteX43" fmla="*/ 1676592 w 2234268"/>
              <a:gd name="connsiteY43" fmla="*/ 2255756 h 2983685"/>
              <a:gd name="connsiteX44" fmla="*/ 1680791 w 2234268"/>
              <a:gd name="connsiteY44" fmla="*/ 2288458 h 2983685"/>
              <a:gd name="connsiteX45" fmla="*/ 1366466 w 2234268"/>
              <a:gd name="connsiteY45" fmla="*/ 2288458 h 2983685"/>
              <a:gd name="connsiteX46" fmla="*/ 1366466 w 2234268"/>
              <a:gd name="connsiteY46" fmla="*/ 2602783 h 2983685"/>
              <a:gd name="connsiteX47" fmla="*/ 1680791 w 2234268"/>
              <a:gd name="connsiteY47" fmla="*/ 2602783 h 2983685"/>
              <a:gd name="connsiteX48" fmla="*/ 1719514 w 2234268"/>
              <a:gd name="connsiteY48" fmla="*/ 1907232 h 2983685"/>
              <a:gd name="connsiteX49" fmla="*/ 1719514 w 2234268"/>
              <a:gd name="connsiteY49" fmla="*/ 2636978 h 2983685"/>
              <a:gd name="connsiteX50" fmla="*/ 262186 w 2234268"/>
              <a:gd name="connsiteY50" fmla="*/ 2636978 h 2983685"/>
              <a:gd name="connsiteX51" fmla="*/ 262186 w 2234268"/>
              <a:gd name="connsiteY51" fmla="*/ 1907232 h 2983685"/>
              <a:gd name="connsiteX52" fmla="*/ 1926192 w 2234268"/>
              <a:gd name="connsiteY52" fmla="*/ 81462 h 2983685"/>
              <a:gd name="connsiteX53" fmla="*/ 60009 w 2234268"/>
              <a:gd name="connsiteY53" fmla="*/ 81462 h 2983685"/>
              <a:gd name="connsiteX54" fmla="*/ 60009 w 2234268"/>
              <a:gd name="connsiteY54" fmla="*/ 2902223 h 2983685"/>
              <a:gd name="connsiteX55" fmla="*/ 1926192 w 2234268"/>
              <a:gd name="connsiteY55" fmla="*/ 2902223 h 2983685"/>
              <a:gd name="connsiteX56" fmla="*/ 2150066 w 2234268"/>
              <a:gd name="connsiteY56" fmla="*/ 2751184 h 2983685"/>
              <a:gd name="connsiteX57" fmla="*/ 1999027 w 2234268"/>
              <a:gd name="connsiteY57" fmla="*/ 2751184 h 2983685"/>
              <a:gd name="connsiteX58" fmla="*/ 1999027 w 2234268"/>
              <a:gd name="connsiteY58" fmla="*/ 2902223 h 2983685"/>
              <a:gd name="connsiteX59" fmla="*/ 2150066 w 2234268"/>
              <a:gd name="connsiteY59" fmla="*/ 2902223 h 2983685"/>
              <a:gd name="connsiteX60" fmla="*/ 2150066 w 2234268"/>
              <a:gd name="connsiteY60" fmla="*/ 1863998 h 2983685"/>
              <a:gd name="connsiteX61" fmla="*/ 1999027 w 2234268"/>
              <a:gd name="connsiteY61" fmla="*/ 1863998 h 2983685"/>
              <a:gd name="connsiteX62" fmla="*/ 1999027 w 2234268"/>
              <a:gd name="connsiteY62" fmla="*/ 2605587 h 2983685"/>
              <a:gd name="connsiteX63" fmla="*/ 2150066 w 2234268"/>
              <a:gd name="connsiteY63" fmla="*/ 2605587 h 2983685"/>
              <a:gd name="connsiteX64" fmla="*/ 2150066 w 2234268"/>
              <a:gd name="connsiteY64" fmla="*/ 378098 h 2983685"/>
              <a:gd name="connsiteX65" fmla="*/ 1999027 w 2234268"/>
              <a:gd name="connsiteY65" fmla="*/ 378098 h 2983685"/>
              <a:gd name="connsiteX66" fmla="*/ 1999027 w 2234268"/>
              <a:gd name="connsiteY66" fmla="*/ 1119687 h 2983685"/>
              <a:gd name="connsiteX67" fmla="*/ 2150066 w 2234268"/>
              <a:gd name="connsiteY67" fmla="*/ 1119687 h 2983685"/>
              <a:gd name="connsiteX68" fmla="*/ 2150066 w 2234268"/>
              <a:gd name="connsiteY68" fmla="*/ 81462 h 2983685"/>
              <a:gd name="connsiteX69" fmla="*/ 1999027 w 2234268"/>
              <a:gd name="connsiteY69" fmla="*/ 81462 h 2983685"/>
              <a:gd name="connsiteX70" fmla="*/ 1999027 w 2234268"/>
              <a:gd name="connsiteY70" fmla="*/ 232501 h 2983685"/>
              <a:gd name="connsiteX71" fmla="*/ 2150066 w 2234268"/>
              <a:gd name="connsiteY71" fmla="*/ 232501 h 2983685"/>
              <a:gd name="connsiteX72" fmla="*/ 2234268 w 2234268"/>
              <a:gd name="connsiteY72" fmla="*/ 0 h 2983685"/>
              <a:gd name="connsiteX73" fmla="*/ 2234268 w 2234268"/>
              <a:gd name="connsiteY73" fmla="*/ 2983685 h 2983685"/>
              <a:gd name="connsiteX74" fmla="*/ 0 w 2234268"/>
              <a:gd name="connsiteY74" fmla="*/ 2983685 h 2983685"/>
              <a:gd name="connsiteX75" fmla="*/ 0 w 2234268"/>
              <a:gd name="connsiteY75" fmla="*/ 0 h 298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234268" h="2983685">
                <a:moveTo>
                  <a:pt x="549300" y="289746"/>
                </a:moveTo>
                <a:lnTo>
                  <a:pt x="549300" y="1548407"/>
                </a:lnTo>
                <a:lnTo>
                  <a:pt x="503581" y="1548407"/>
                </a:lnTo>
                <a:lnTo>
                  <a:pt x="503581" y="289746"/>
                </a:lnTo>
                <a:close/>
                <a:moveTo>
                  <a:pt x="615234" y="1941428"/>
                </a:moveTo>
                <a:lnTo>
                  <a:pt x="300909" y="1941428"/>
                </a:lnTo>
                <a:lnTo>
                  <a:pt x="300909" y="2255753"/>
                </a:lnTo>
                <a:lnTo>
                  <a:pt x="615234" y="2255753"/>
                </a:lnTo>
                <a:close/>
                <a:moveTo>
                  <a:pt x="619433" y="2288455"/>
                </a:moveTo>
                <a:lnTo>
                  <a:pt x="305108" y="2288455"/>
                </a:lnTo>
                <a:lnTo>
                  <a:pt x="305108" y="2602780"/>
                </a:lnTo>
                <a:lnTo>
                  <a:pt x="619433" y="2602780"/>
                </a:lnTo>
                <a:close/>
                <a:moveTo>
                  <a:pt x="924858" y="805457"/>
                </a:moveTo>
                <a:lnTo>
                  <a:pt x="924858" y="1032696"/>
                </a:lnTo>
                <a:lnTo>
                  <a:pt x="629583" y="1032696"/>
                </a:lnTo>
                <a:lnTo>
                  <a:pt x="629583" y="805457"/>
                </a:lnTo>
                <a:close/>
                <a:moveTo>
                  <a:pt x="969020" y="1941429"/>
                </a:moveTo>
                <a:lnTo>
                  <a:pt x="654695" y="1941429"/>
                </a:lnTo>
                <a:lnTo>
                  <a:pt x="654695" y="2255754"/>
                </a:lnTo>
                <a:lnTo>
                  <a:pt x="969020" y="2255754"/>
                </a:lnTo>
                <a:close/>
                <a:moveTo>
                  <a:pt x="973219" y="2288456"/>
                </a:moveTo>
                <a:lnTo>
                  <a:pt x="658894" y="2288456"/>
                </a:lnTo>
                <a:lnTo>
                  <a:pt x="658894" y="2602781"/>
                </a:lnTo>
                <a:lnTo>
                  <a:pt x="973219" y="2602781"/>
                </a:lnTo>
                <a:close/>
                <a:moveTo>
                  <a:pt x="1258232" y="428539"/>
                </a:moveTo>
                <a:lnTo>
                  <a:pt x="1258232" y="655778"/>
                </a:lnTo>
                <a:lnTo>
                  <a:pt x="629582" y="655778"/>
                </a:lnTo>
                <a:lnTo>
                  <a:pt x="629582" y="428539"/>
                </a:lnTo>
                <a:close/>
                <a:moveTo>
                  <a:pt x="1322806" y="1941430"/>
                </a:moveTo>
                <a:lnTo>
                  <a:pt x="1008481" y="1941430"/>
                </a:lnTo>
                <a:lnTo>
                  <a:pt x="1008481" y="2255755"/>
                </a:lnTo>
                <a:lnTo>
                  <a:pt x="1322806" y="2255755"/>
                </a:lnTo>
                <a:close/>
                <a:moveTo>
                  <a:pt x="1327005" y="2288457"/>
                </a:moveTo>
                <a:lnTo>
                  <a:pt x="1012680" y="2288457"/>
                </a:lnTo>
                <a:lnTo>
                  <a:pt x="1012680" y="2602782"/>
                </a:lnTo>
                <a:lnTo>
                  <a:pt x="1327005" y="2602782"/>
                </a:lnTo>
                <a:close/>
                <a:moveTo>
                  <a:pt x="1484111" y="1182375"/>
                </a:moveTo>
                <a:lnTo>
                  <a:pt x="1484111" y="1409614"/>
                </a:lnTo>
                <a:lnTo>
                  <a:pt x="629582" y="1409614"/>
                </a:lnTo>
                <a:lnTo>
                  <a:pt x="629582" y="1182375"/>
                </a:lnTo>
                <a:close/>
                <a:moveTo>
                  <a:pt x="1676592" y="1941431"/>
                </a:moveTo>
                <a:lnTo>
                  <a:pt x="1362267" y="1941431"/>
                </a:lnTo>
                <a:lnTo>
                  <a:pt x="1362267" y="2255756"/>
                </a:lnTo>
                <a:lnTo>
                  <a:pt x="1676592" y="2255756"/>
                </a:lnTo>
                <a:close/>
                <a:moveTo>
                  <a:pt x="1680791" y="2288458"/>
                </a:moveTo>
                <a:lnTo>
                  <a:pt x="1366466" y="2288458"/>
                </a:lnTo>
                <a:lnTo>
                  <a:pt x="1366466" y="2602783"/>
                </a:lnTo>
                <a:lnTo>
                  <a:pt x="1680791" y="2602783"/>
                </a:lnTo>
                <a:close/>
                <a:moveTo>
                  <a:pt x="1719514" y="1907232"/>
                </a:moveTo>
                <a:lnTo>
                  <a:pt x="1719514" y="2636978"/>
                </a:lnTo>
                <a:lnTo>
                  <a:pt x="262186" y="2636978"/>
                </a:lnTo>
                <a:lnTo>
                  <a:pt x="262186" y="1907232"/>
                </a:lnTo>
                <a:close/>
                <a:moveTo>
                  <a:pt x="1926192" y="81462"/>
                </a:moveTo>
                <a:lnTo>
                  <a:pt x="60009" y="81462"/>
                </a:lnTo>
                <a:lnTo>
                  <a:pt x="60009" y="2902223"/>
                </a:lnTo>
                <a:lnTo>
                  <a:pt x="1926192" y="2902223"/>
                </a:lnTo>
                <a:close/>
                <a:moveTo>
                  <a:pt x="2150066" y="2751184"/>
                </a:moveTo>
                <a:lnTo>
                  <a:pt x="1999027" y="2751184"/>
                </a:lnTo>
                <a:lnTo>
                  <a:pt x="1999027" y="2902223"/>
                </a:lnTo>
                <a:lnTo>
                  <a:pt x="2150066" y="2902223"/>
                </a:lnTo>
                <a:close/>
                <a:moveTo>
                  <a:pt x="2150066" y="1863998"/>
                </a:moveTo>
                <a:lnTo>
                  <a:pt x="1999027" y="1863998"/>
                </a:lnTo>
                <a:lnTo>
                  <a:pt x="1999027" y="2605587"/>
                </a:lnTo>
                <a:lnTo>
                  <a:pt x="2150066" y="2605587"/>
                </a:lnTo>
                <a:close/>
                <a:moveTo>
                  <a:pt x="2150066" y="378098"/>
                </a:moveTo>
                <a:lnTo>
                  <a:pt x="1999027" y="378098"/>
                </a:lnTo>
                <a:lnTo>
                  <a:pt x="1999027" y="1119687"/>
                </a:lnTo>
                <a:lnTo>
                  <a:pt x="2150066" y="1119687"/>
                </a:lnTo>
                <a:close/>
                <a:moveTo>
                  <a:pt x="2150066" y="81462"/>
                </a:moveTo>
                <a:lnTo>
                  <a:pt x="1999027" y="81462"/>
                </a:lnTo>
                <a:lnTo>
                  <a:pt x="1999027" y="232501"/>
                </a:lnTo>
                <a:lnTo>
                  <a:pt x="2150066" y="232501"/>
                </a:lnTo>
                <a:close/>
                <a:moveTo>
                  <a:pt x="2234268" y="0"/>
                </a:moveTo>
                <a:lnTo>
                  <a:pt x="2234268" y="2983685"/>
                </a:lnTo>
                <a:lnTo>
                  <a:pt x="0" y="2983685"/>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5050017" y="2832464"/>
            <a:ext cx="791936" cy="1136343"/>
          </a:xfrm>
          <a:prstGeom prst="rect">
            <a:avLst/>
          </a:prstGeom>
          <a:solidFill>
            <a:schemeClr val="bg2">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152"/>
          <p:cNvSpPr/>
          <p:nvPr/>
        </p:nvSpPr>
        <p:spPr bwMode="auto">
          <a:xfrm>
            <a:off x="5111575" y="3073060"/>
            <a:ext cx="677884" cy="61030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154" name="Group 153"/>
          <p:cNvGrpSpPr/>
          <p:nvPr/>
        </p:nvGrpSpPr>
        <p:grpSpPr>
          <a:xfrm>
            <a:off x="5338554" y="3260538"/>
            <a:ext cx="193883" cy="347910"/>
            <a:chOff x="8751888" y="3089276"/>
            <a:chExt cx="1387475" cy="1735137"/>
          </a:xfrm>
        </p:grpSpPr>
        <p:sp>
          <p:nvSpPr>
            <p:cNvPr id="155" name="Freeform 9"/>
            <p:cNvSpPr>
              <a:spLocks/>
            </p:cNvSpPr>
            <p:nvPr/>
          </p:nvSpPr>
          <p:spPr bwMode="auto">
            <a:xfrm>
              <a:off x="8832850" y="3089276"/>
              <a:ext cx="1225550" cy="1735137"/>
            </a:xfrm>
            <a:custGeom>
              <a:avLst/>
              <a:gdLst>
                <a:gd name="T0" fmla="*/ 639 w 639"/>
                <a:gd name="T1" fmla="*/ 191 h 905"/>
                <a:gd name="T2" fmla="*/ 639 w 639"/>
                <a:gd name="T3" fmla="*/ 191 h 905"/>
                <a:gd name="T4" fmla="*/ 507 w 639"/>
                <a:gd name="T5" fmla="*/ 55 h 905"/>
                <a:gd name="T6" fmla="*/ 61 w 639"/>
                <a:gd name="T7" fmla="*/ 92 h 905"/>
                <a:gd name="T8" fmla="*/ 1 w 639"/>
                <a:gd name="T9" fmla="*/ 191 h 905"/>
                <a:gd name="T10" fmla="*/ 0 w 639"/>
                <a:gd name="T11" fmla="*/ 191 h 905"/>
                <a:gd name="T12" fmla="*/ 0 w 639"/>
                <a:gd name="T13" fmla="*/ 726 h 905"/>
                <a:gd name="T14" fmla="*/ 1 w 639"/>
                <a:gd name="T15" fmla="*/ 726 h 905"/>
                <a:gd name="T16" fmla="*/ 132 w 639"/>
                <a:gd name="T17" fmla="*/ 850 h 905"/>
                <a:gd name="T18" fmla="*/ 578 w 639"/>
                <a:gd name="T19" fmla="*/ 813 h 905"/>
                <a:gd name="T20" fmla="*/ 638 w 639"/>
                <a:gd name="T21" fmla="*/ 726 h 905"/>
                <a:gd name="T22" fmla="*/ 639 w 639"/>
                <a:gd name="T23" fmla="*/ 726 h 905"/>
                <a:gd name="T24" fmla="*/ 639 w 639"/>
                <a:gd name="T25" fmla="*/ 191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9" h="905">
                  <a:moveTo>
                    <a:pt x="639" y="191"/>
                  </a:moveTo>
                  <a:cubicBezTo>
                    <a:pt x="639" y="191"/>
                    <a:pt x="639" y="191"/>
                    <a:pt x="639" y="191"/>
                  </a:cubicBezTo>
                  <a:cubicBezTo>
                    <a:pt x="639" y="139"/>
                    <a:pt x="593" y="88"/>
                    <a:pt x="507" y="55"/>
                  </a:cubicBezTo>
                  <a:cubicBezTo>
                    <a:pt x="364" y="0"/>
                    <a:pt x="165" y="17"/>
                    <a:pt x="61" y="92"/>
                  </a:cubicBezTo>
                  <a:cubicBezTo>
                    <a:pt x="20" y="122"/>
                    <a:pt x="1" y="157"/>
                    <a:pt x="1" y="191"/>
                  </a:cubicBezTo>
                  <a:cubicBezTo>
                    <a:pt x="0" y="191"/>
                    <a:pt x="0" y="191"/>
                    <a:pt x="0" y="191"/>
                  </a:cubicBezTo>
                  <a:cubicBezTo>
                    <a:pt x="0" y="726"/>
                    <a:pt x="0" y="726"/>
                    <a:pt x="0" y="726"/>
                  </a:cubicBezTo>
                  <a:cubicBezTo>
                    <a:pt x="1" y="726"/>
                    <a:pt x="1" y="726"/>
                    <a:pt x="1" y="726"/>
                  </a:cubicBezTo>
                  <a:cubicBezTo>
                    <a:pt x="8" y="774"/>
                    <a:pt x="53" y="820"/>
                    <a:pt x="132" y="850"/>
                  </a:cubicBezTo>
                  <a:cubicBezTo>
                    <a:pt x="275" y="905"/>
                    <a:pt x="474" y="888"/>
                    <a:pt x="578" y="813"/>
                  </a:cubicBezTo>
                  <a:cubicBezTo>
                    <a:pt x="614" y="786"/>
                    <a:pt x="634" y="756"/>
                    <a:pt x="638" y="726"/>
                  </a:cubicBezTo>
                  <a:cubicBezTo>
                    <a:pt x="639" y="726"/>
                    <a:pt x="639" y="726"/>
                    <a:pt x="639" y="726"/>
                  </a:cubicBezTo>
                  <a:lnTo>
                    <a:pt x="639" y="191"/>
                  </a:lnTo>
                  <a:close/>
                </a:path>
              </a:pathLst>
            </a:custGeom>
            <a:solidFill>
              <a:srgbClr val="CDCC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p:cNvSpPr>
              <a:spLocks/>
            </p:cNvSpPr>
            <p:nvPr/>
          </p:nvSpPr>
          <p:spPr bwMode="auto">
            <a:xfrm>
              <a:off x="8751888" y="3089276"/>
              <a:ext cx="1387475" cy="731837"/>
            </a:xfrm>
            <a:custGeom>
              <a:avLst/>
              <a:gdLst>
                <a:gd name="T0" fmla="*/ 620 w 723"/>
                <a:gd name="T1" fmla="*/ 290 h 382"/>
                <a:gd name="T2" fmla="*/ 174 w 723"/>
                <a:gd name="T3" fmla="*/ 328 h 382"/>
                <a:gd name="T4" fmla="*/ 103 w 723"/>
                <a:gd name="T5" fmla="*/ 92 h 382"/>
                <a:gd name="T6" fmla="*/ 549 w 723"/>
                <a:gd name="T7" fmla="*/ 55 h 382"/>
                <a:gd name="T8" fmla="*/ 620 w 723"/>
                <a:gd name="T9" fmla="*/ 290 h 382"/>
              </a:gdLst>
              <a:ahLst/>
              <a:cxnLst>
                <a:cxn ang="0">
                  <a:pos x="T0" y="T1"/>
                </a:cxn>
                <a:cxn ang="0">
                  <a:pos x="T2" y="T3"/>
                </a:cxn>
                <a:cxn ang="0">
                  <a:pos x="T4" y="T5"/>
                </a:cxn>
                <a:cxn ang="0">
                  <a:pos x="T6" y="T7"/>
                </a:cxn>
                <a:cxn ang="0">
                  <a:pos x="T8" y="T9"/>
                </a:cxn>
              </a:cxnLst>
              <a:rect l="0" t="0" r="r" b="b"/>
              <a:pathLst>
                <a:path w="723" h="382">
                  <a:moveTo>
                    <a:pt x="620" y="290"/>
                  </a:moveTo>
                  <a:cubicBezTo>
                    <a:pt x="516" y="365"/>
                    <a:pt x="317" y="382"/>
                    <a:pt x="174" y="328"/>
                  </a:cubicBezTo>
                  <a:cubicBezTo>
                    <a:pt x="32" y="273"/>
                    <a:pt x="0" y="168"/>
                    <a:pt x="103" y="92"/>
                  </a:cubicBezTo>
                  <a:cubicBezTo>
                    <a:pt x="207" y="17"/>
                    <a:pt x="406" y="0"/>
                    <a:pt x="549" y="55"/>
                  </a:cubicBezTo>
                  <a:cubicBezTo>
                    <a:pt x="692" y="109"/>
                    <a:pt x="723" y="215"/>
                    <a:pt x="620" y="290"/>
                  </a:cubicBez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1"/>
            <p:cNvSpPr>
              <a:spLocks/>
            </p:cNvSpPr>
            <p:nvPr/>
          </p:nvSpPr>
          <p:spPr bwMode="auto">
            <a:xfrm>
              <a:off x="8843963" y="3125788"/>
              <a:ext cx="1225550" cy="433387"/>
            </a:xfrm>
            <a:custGeom>
              <a:avLst/>
              <a:gdLst>
                <a:gd name="T0" fmla="*/ 72 w 639"/>
                <a:gd name="T1" fmla="*/ 189 h 226"/>
                <a:gd name="T2" fmla="*/ 489 w 639"/>
                <a:gd name="T3" fmla="*/ 155 h 226"/>
                <a:gd name="T4" fmla="*/ 593 w 639"/>
                <a:gd name="T5" fmla="*/ 225 h 226"/>
                <a:gd name="T6" fmla="*/ 489 w 639"/>
                <a:gd name="T7" fmla="*/ 49 h 226"/>
                <a:gd name="T8" fmla="*/ 72 w 639"/>
                <a:gd name="T9" fmla="*/ 83 h 226"/>
                <a:gd name="T10" fmla="*/ 34 w 639"/>
                <a:gd name="T11" fmla="*/ 226 h 226"/>
                <a:gd name="T12" fmla="*/ 72 w 639"/>
                <a:gd name="T13" fmla="*/ 189 h 226"/>
              </a:gdLst>
              <a:ahLst/>
              <a:cxnLst>
                <a:cxn ang="0">
                  <a:pos x="T0" y="T1"/>
                </a:cxn>
                <a:cxn ang="0">
                  <a:pos x="T2" y="T3"/>
                </a:cxn>
                <a:cxn ang="0">
                  <a:pos x="T4" y="T5"/>
                </a:cxn>
                <a:cxn ang="0">
                  <a:pos x="T6" y="T7"/>
                </a:cxn>
                <a:cxn ang="0">
                  <a:pos x="T8" y="T9"/>
                </a:cxn>
                <a:cxn ang="0">
                  <a:pos x="T10" y="T11"/>
                </a:cxn>
                <a:cxn ang="0">
                  <a:pos x="T12" y="T13"/>
                </a:cxn>
              </a:cxnLst>
              <a:rect l="0" t="0" r="r" b="b"/>
              <a:pathLst>
                <a:path w="639" h="226">
                  <a:moveTo>
                    <a:pt x="72" y="189"/>
                  </a:moveTo>
                  <a:cubicBezTo>
                    <a:pt x="169" y="121"/>
                    <a:pt x="356" y="106"/>
                    <a:pt x="489" y="155"/>
                  </a:cubicBezTo>
                  <a:cubicBezTo>
                    <a:pt x="538" y="173"/>
                    <a:pt x="573" y="198"/>
                    <a:pt x="593" y="225"/>
                  </a:cubicBezTo>
                  <a:cubicBezTo>
                    <a:pt x="639" y="163"/>
                    <a:pt x="600" y="90"/>
                    <a:pt x="489" y="49"/>
                  </a:cubicBezTo>
                  <a:cubicBezTo>
                    <a:pt x="356" y="0"/>
                    <a:pt x="169" y="15"/>
                    <a:pt x="72" y="83"/>
                  </a:cubicBezTo>
                  <a:cubicBezTo>
                    <a:pt x="11" y="126"/>
                    <a:pt x="0" y="179"/>
                    <a:pt x="34" y="226"/>
                  </a:cubicBezTo>
                  <a:cubicBezTo>
                    <a:pt x="43" y="213"/>
                    <a:pt x="56" y="201"/>
                    <a:pt x="72" y="189"/>
                  </a:cubicBezTo>
                  <a:close/>
                </a:path>
              </a:pathLst>
            </a:custGeom>
            <a:solidFill>
              <a:srgbClr val="38A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
            <p:cNvSpPr>
              <a:spLocks/>
            </p:cNvSpPr>
            <p:nvPr/>
          </p:nvSpPr>
          <p:spPr bwMode="auto">
            <a:xfrm>
              <a:off x="8909050" y="3328988"/>
              <a:ext cx="1073150" cy="455612"/>
            </a:xfrm>
            <a:custGeom>
              <a:avLst/>
              <a:gdLst>
                <a:gd name="T0" fmla="*/ 104 w 559"/>
                <a:gd name="T1" fmla="*/ 189 h 238"/>
                <a:gd name="T2" fmla="*/ 521 w 559"/>
                <a:gd name="T3" fmla="*/ 155 h 238"/>
                <a:gd name="T4" fmla="*/ 559 w 559"/>
                <a:gd name="T5" fmla="*/ 119 h 238"/>
                <a:gd name="T6" fmla="*/ 455 w 559"/>
                <a:gd name="T7" fmla="*/ 49 h 238"/>
                <a:gd name="T8" fmla="*/ 38 w 559"/>
                <a:gd name="T9" fmla="*/ 83 h 238"/>
                <a:gd name="T10" fmla="*/ 0 w 559"/>
                <a:gd name="T11" fmla="*/ 120 h 238"/>
                <a:gd name="T12" fmla="*/ 104 w 559"/>
                <a:gd name="T13" fmla="*/ 189 h 238"/>
              </a:gdLst>
              <a:ahLst/>
              <a:cxnLst>
                <a:cxn ang="0">
                  <a:pos x="T0" y="T1"/>
                </a:cxn>
                <a:cxn ang="0">
                  <a:pos x="T2" y="T3"/>
                </a:cxn>
                <a:cxn ang="0">
                  <a:pos x="T4" y="T5"/>
                </a:cxn>
                <a:cxn ang="0">
                  <a:pos x="T6" y="T7"/>
                </a:cxn>
                <a:cxn ang="0">
                  <a:pos x="T8" y="T9"/>
                </a:cxn>
                <a:cxn ang="0">
                  <a:pos x="T10" y="T11"/>
                </a:cxn>
                <a:cxn ang="0">
                  <a:pos x="T12" y="T13"/>
                </a:cxn>
              </a:cxnLst>
              <a:rect l="0" t="0" r="r" b="b"/>
              <a:pathLst>
                <a:path w="559" h="238">
                  <a:moveTo>
                    <a:pt x="104" y="189"/>
                  </a:moveTo>
                  <a:cubicBezTo>
                    <a:pt x="238" y="238"/>
                    <a:pt x="424" y="223"/>
                    <a:pt x="521" y="155"/>
                  </a:cubicBezTo>
                  <a:cubicBezTo>
                    <a:pt x="537" y="144"/>
                    <a:pt x="550" y="132"/>
                    <a:pt x="559" y="119"/>
                  </a:cubicBezTo>
                  <a:cubicBezTo>
                    <a:pt x="539" y="92"/>
                    <a:pt x="504" y="67"/>
                    <a:pt x="455" y="49"/>
                  </a:cubicBezTo>
                  <a:cubicBezTo>
                    <a:pt x="322" y="0"/>
                    <a:pt x="135" y="15"/>
                    <a:pt x="38" y="83"/>
                  </a:cubicBezTo>
                  <a:cubicBezTo>
                    <a:pt x="22" y="95"/>
                    <a:pt x="9" y="107"/>
                    <a:pt x="0" y="120"/>
                  </a:cubicBezTo>
                  <a:cubicBezTo>
                    <a:pt x="20" y="147"/>
                    <a:pt x="55" y="171"/>
                    <a:pt x="104" y="189"/>
                  </a:cubicBez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96813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wipe(left)">
                                      <p:cBhvr>
                                        <p:cTn id="14" dur="500"/>
                                        <p:tgtEl>
                                          <p:spTgt spid="21"/>
                                        </p:tgtEl>
                                      </p:cBhvr>
                                    </p:animEffect>
                                  </p:childTnLst>
                                </p:cTn>
                              </p:par>
                              <p:par>
                                <p:cTn id="15" presetID="22" presetClass="entr" presetSubtype="8"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left)">
                                      <p:cBhvr>
                                        <p:cTn id="25" dur="500"/>
                                        <p:tgtEl>
                                          <p:spTgt spid="42"/>
                                        </p:tgtEl>
                                      </p:cBhvr>
                                    </p:animEffect>
                                  </p:childTnLst>
                                </p:cTn>
                              </p:par>
                              <p:par>
                                <p:cTn id="26" presetID="22" presetClass="entr" presetSubtype="8"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left)">
                                      <p:cBhvr>
                                        <p:cTn id="31" dur="500"/>
                                        <p:tgtEl>
                                          <p:spTgt spid="22"/>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fade">
                                      <p:cBhvr>
                                        <p:cTn id="35" dur="500"/>
                                        <p:tgtEl>
                                          <p:spTgt spid="6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childTnLst>
                          </p:cTn>
                        </p:par>
                        <p:par>
                          <p:cTn id="39" fill="hold">
                            <p:stCondLst>
                              <p:cond delay="2500"/>
                            </p:stCondLst>
                            <p:childTnLst>
                              <p:par>
                                <p:cTn id="40" presetID="22" presetClass="entr" presetSubtype="8" fill="hold" nodeType="after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wipe(left)">
                                      <p:cBhvr>
                                        <p:cTn id="42" dur="500"/>
                                        <p:tgtEl>
                                          <p:spTgt spid="4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fade">
                                      <p:cBhvr>
                                        <p:cTn id="49" dur="500"/>
                                        <p:tgtEl>
                                          <p:spTgt spid="81"/>
                                        </p:tgtEl>
                                      </p:cBhvr>
                                    </p:animEffect>
                                  </p:childTnLst>
                                </p:cTn>
                              </p:par>
                            </p:childTnLst>
                          </p:cTn>
                        </p:par>
                        <p:par>
                          <p:cTn id="50" fill="hold">
                            <p:stCondLst>
                              <p:cond delay="3500"/>
                            </p:stCondLst>
                            <p:childTnLst>
                              <p:par>
                                <p:cTn id="51" presetID="22" presetClass="entr" presetSubtype="1" fill="hold"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up)">
                                      <p:cBhvr>
                                        <p:cTn id="53" dur="500"/>
                                        <p:tgtEl>
                                          <p:spTgt spid="26"/>
                                        </p:tgtEl>
                                      </p:cBhvr>
                                    </p:animEffect>
                                  </p:childTnLst>
                                </p:cTn>
                              </p:par>
                              <p:par>
                                <p:cTn id="54" presetID="22" presetClass="entr" presetSubtype="2"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right)">
                                      <p:cBhvr>
                                        <p:cTn id="56" dur="500"/>
                                        <p:tgtEl>
                                          <p:spTgt spid="18"/>
                                        </p:tgtEl>
                                      </p:cBhvr>
                                    </p:animEffect>
                                  </p:childTnLst>
                                </p:cTn>
                              </p:par>
                            </p:childTnLst>
                          </p:cTn>
                        </p:par>
                        <p:par>
                          <p:cTn id="57" fill="hold">
                            <p:stCondLst>
                              <p:cond delay="4000"/>
                            </p:stCondLst>
                            <p:childTnLst>
                              <p:par>
                                <p:cTn id="58" presetID="22" presetClass="entr" presetSubtype="2" fill="hold" grpId="0"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right)">
                                      <p:cBhvr>
                                        <p:cTn id="60" dur="500"/>
                                        <p:tgtEl>
                                          <p:spTgt spid="19"/>
                                        </p:tgtEl>
                                      </p:cBhvr>
                                    </p:animEffect>
                                  </p:childTnLst>
                                </p:cTn>
                              </p:par>
                              <p:par>
                                <p:cTn id="61" presetID="22" presetClass="entr" presetSubtype="2" fill="hold" grpId="0" nodeType="withEffect">
                                  <p:stCondLst>
                                    <p:cond delay="0"/>
                                  </p:stCondLst>
                                  <p:childTnLst>
                                    <p:set>
                                      <p:cBhvr>
                                        <p:cTn id="62" dur="1" fill="hold">
                                          <p:stCondLst>
                                            <p:cond delay="0"/>
                                          </p:stCondLst>
                                        </p:cTn>
                                        <p:tgtEl>
                                          <p:spTgt spid="114"/>
                                        </p:tgtEl>
                                        <p:attrNameLst>
                                          <p:attrName>style.visibility</p:attrName>
                                        </p:attrNameLst>
                                      </p:cBhvr>
                                      <p:to>
                                        <p:strVal val="visible"/>
                                      </p:to>
                                    </p:set>
                                    <p:animEffect transition="in" filter="wipe(right)">
                                      <p:cBhvr>
                                        <p:cTn id="63" dur="500"/>
                                        <p:tgtEl>
                                          <p:spTgt spid="114"/>
                                        </p:tgtEl>
                                      </p:cBhvr>
                                    </p:animEffect>
                                  </p:childTnLst>
                                </p:cTn>
                              </p:par>
                              <p:par>
                                <p:cTn id="64" presetID="22" presetClass="entr" presetSubtype="2" fill="hold" nodeType="withEffect">
                                  <p:stCondLst>
                                    <p:cond delay="0"/>
                                  </p:stCondLst>
                                  <p:childTnLst>
                                    <p:set>
                                      <p:cBhvr>
                                        <p:cTn id="65" dur="1" fill="hold">
                                          <p:stCondLst>
                                            <p:cond delay="0"/>
                                          </p:stCondLst>
                                        </p:cTn>
                                        <p:tgtEl>
                                          <p:spTgt spid="113"/>
                                        </p:tgtEl>
                                        <p:attrNameLst>
                                          <p:attrName>style.visibility</p:attrName>
                                        </p:attrNameLst>
                                      </p:cBhvr>
                                      <p:to>
                                        <p:strVal val="visible"/>
                                      </p:to>
                                    </p:set>
                                    <p:animEffect transition="in" filter="wipe(right)">
                                      <p:cBhvr>
                                        <p:cTn id="66" dur="500"/>
                                        <p:tgtEl>
                                          <p:spTgt spid="113"/>
                                        </p:tgtEl>
                                      </p:cBhvr>
                                    </p:animEffect>
                                  </p:childTnLst>
                                </p:cTn>
                              </p:par>
                            </p:childTnLst>
                          </p:cTn>
                        </p:par>
                        <p:par>
                          <p:cTn id="67" fill="hold">
                            <p:stCondLst>
                              <p:cond delay="4500"/>
                            </p:stCondLst>
                            <p:childTnLst>
                              <p:par>
                                <p:cTn id="68" presetID="10" presetClass="entr" presetSubtype="0" fill="hold" nodeType="afterEffect">
                                  <p:stCondLst>
                                    <p:cond delay="0"/>
                                  </p:stCondLst>
                                  <p:childTnLst>
                                    <p:set>
                                      <p:cBhvr>
                                        <p:cTn id="69" dur="1" fill="hold">
                                          <p:stCondLst>
                                            <p:cond delay="0"/>
                                          </p:stCondLst>
                                        </p:cTn>
                                        <p:tgtEl>
                                          <p:spTgt spid="115"/>
                                        </p:tgtEl>
                                        <p:attrNameLst>
                                          <p:attrName>style.visibility</p:attrName>
                                        </p:attrNameLst>
                                      </p:cBhvr>
                                      <p:to>
                                        <p:strVal val="visible"/>
                                      </p:to>
                                    </p:set>
                                    <p:animEffect transition="in" filter="fade">
                                      <p:cBhvr>
                                        <p:cTn id="70" dur="500"/>
                                        <p:tgtEl>
                                          <p:spTgt spid="115"/>
                                        </p:tgtEl>
                                      </p:cBhvr>
                                    </p:animEffect>
                                  </p:childTnLst>
                                </p:cTn>
                              </p:par>
                              <p:par>
                                <p:cTn id="71" presetID="10" presetClass="entr" presetSubtype="0" fill="hold" nodeType="withEffect">
                                  <p:stCondLst>
                                    <p:cond delay="0"/>
                                  </p:stCondLst>
                                  <p:childTnLst>
                                    <p:set>
                                      <p:cBhvr>
                                        <p:cTn id="72" dur="1" fill="hold">
                                          <p:stCondLst>
                                            <p:cond delay="0"/>
                                          </p:stCondLst>
                                        </p:cTn>
                                        <p:tgtEl>
                                          <p:spTgt spid="2050"/>
                                        </p:tgtEl>
                                        <p:attrNameLst>
                                          <p:attrName>style.visibility</p:attrName>
                                        </p:attrNameLst>
                                      </p:cBhvr>
                                      <p:to>
                                        <p:strVal val="visible"/>
                                      </p:to>
                                    </p:set>
                                    <p:animEffect transition="in" filter="fade">
                                      <p:cBhvr>
                                        <p:cTn id="73" dur="500"/>
                                        <p:tgtEl>
                                          <p:spTgt spid="2050"/>
                                        </p:tgtEl>
                                      </p:cBhvr>
                                    </p:animEffect>
                                  </p:childTnLst>
                                </p:cTn>
                              </p:par>
                            </p:childTnLst>
                          </p:cTn>
                        </p:par>
                        <p:par>
                          <p:cTn id="74" fill="hold">
                            <p:stCondLst>
                              <p:cond delay="5000"/>
                            </p:stCondLst>
                            <p:childTnLst>
                              <p:par>
                                <p:cTn id="75" presetID="10" presetClass="entr" presetSubtype="0" fill="hold" grpId="0" nodeType="afterEffect">
                                  <p:stCondLst>
                                    <p:cond delay="0"/>
                                  </p:stCondLst>
                                  <p:childTnLst>
                                    <p:set>
                                      <p:cBhvr>
                                        <p:cTn id="76" dur="1" fill="hold">
                                          <p:stCondLst>
                                            <p:cond delay="0"/>
                                          </p:stCondLst>
                                        </p:cTn>
                                        <p:tgtEl>
                                          <p:spTgt spid="70"/>
                                        </p:tgtEl>
                                        <p:attrNameLst>
                                          <p:attrName>style.visibility</p:attrName>
                                        </p:attrNameLst>
                                      </p:cBhvr>
                                      <p:to>
                                        <p:strVal val="visible"/>
                                      </p:to>
                                    </p:set>
                                    <p:animEffect transition="in" filter="fade">
                                      <p:cBhvr>
                                        <p:cTn id="77" dur="500"/>
                                        <p:tgtEl>
                                          <p:spTgt spid="70"/>
                                        </p:tgtEl>
                                      </p:cBhvr>
                                    </p:animEffect>
                                  </p:childTnLst>
                                </p:cTn>
                              </p:par>
                            </p:childTnLst>
                          </p:cTn>
                        </p:par>
                        <p:par>
                          <p:cTn id="78" fill="hold">
                            <p:stCondLst>
                              <p:cond delay="5500"/>
                            </p:stCondLst>
                            <p:childTnLst>
                              <p:par>
                                <p:cTn id="79" presetID="10" presetClass="entr" presetSubtype="0" fill="hold" grpId="0" nodeType="afterEffect">
                                  <p:stCondLst>
                                    <p:cond delay="0"/>
                                  </p:stCondLst>
                                  <p:childTnLst>
                                    <p:set>
                                      <p:cBhvr>
                                        <p:cTn id="80" dur="1" fill="hold">
                                          <p:stCondLst>
                                            <p:cond delay="0"/>
                                          </p:stCondLst>
                                        </p:cTn>
                                        <p:tgtEl>
                                          <p:spTgt spid="230"/>
                                        </p:tgtEl>
                                        <p:attrNameLst>
                                          <p:attrName>style.visibility</p:attrName>
                                        </p:attrNameLst>
                                      </p:cBhvr>
                                      <p:to>
                                        <p:strVal val="visible"/>
                                      </p:to>
                                    </p:set>
                                    <p:animEffect transition="in" filter="fade">
                                      <p:cBhvr>
                                        <p:cTn id="81" dur="500"/>
                                        <p:tgtEl>
                                          <p:spTgt spid="23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84"/>
                                        </p:tgtEl>
                                        <p:attrNameLst>
                                          <p:attrName>style.visibility</p:attrName>
                                        </p:attrNameLst>
                                      </p:cBhvr>
                                      <p:to>
                                        <p:strVal val="visible"/>
                                      </p:to>
                                    </p:set>
                                    <p:animEffect transition="in" filter="fade">
                                      <p:cBhvr>
                                        <p:cTn id="84" dur="500"/>
                                        <p:tgtEl>
                                          <p:spTgt spid="84"/>
                                        </p:tgtEl>
                                      </p:cBhvr>
                                    </p:animEffect>
                                  </p:childTnLst>
                                </p:cTn>
                              </p:par>
                            </p:childTnLst>
                          </p:cTn>
                        </p:par>
                        <p:par>
                          <p:cTn id="85" fill="hold">
                            <p:stCondLst>
                              <p:cond delay="6000"/>
                            </p:stCondLst>
                            <p:childTnLst>
                              <p:par>
                                <p:cTn id="86" presetID="22" presetClass="entr" presetSubtype="8" fill="hold" nodeType="afterEffect">
                                  <p:stCondLst>
                                    <p:cond delay="0"/>
                                  </p:stCondLst>
                                  <p:childTnLst>
                                    <p:set>
                                      <p:cBhvr>
                                        <p:cTn id="87" dur="1" fill="hold">
                                          <p:stCondLst>
                                            <p:cond delay="0"/>
                                          </p:stCondLst>
                                        </p:cTn>
                                        <p:tgtEl>
                                          <p:spTgt spid="240"/>
                                        </p:tgtEl>
                                        <p:attrNameLst>
                                          <p:attrName>style.visibility</p:attrName>
                                        </p:attrNameLst>
                                      </p:cBhvr>
                                      <p:to>
                                        <p:strVal val="visible"/>
                                      </p:to>
                                    </p:set>
                                    <p:animEffect transition="in" filter="wipe(left)">
                                      <p:cBhvr>
                                        <p:cTn id="88" dur="500"/>
                                        <p:tgtEl>
                                          <p:spTgt spid="240"/>
                                        </p:tgtEl>
                                      </p:cBhvr>
                                    </p:animEffect>
                                  </p:childTnLst>
                                </p:cTn>
                              </p:par>
                            </p:childTnLst>
                          </p:cTn>
                        </p:par>
                        <p:par>
                          <p:cTn id="89" fill="hold">
                            <p:stCondLst>
                              <p:cond delay="6500"/>
                            </p:stCondLst>
                            <p:childTnLst>
                              <p:par>
                                <p:cTn id="90" presetID="10" presetClass="entr" presetSubtype="0" fill="hold" grpId="0" nodeType="afterEffect">
                                  <p:stCondLst>
                                    <p:cond delay="0"/>
                                  </p:stCondLst>
                                  <p:childTnLst>
                                    <p:set>
                                      <p:cBhvr>
                                        <p:cTn id="91" dur="1" fill="hold">
                                          <p:stCondLst>
                                            <p:cond delay="0"/>
                                          </p:stCondLst>
                                        </p:cTn>
                                        <p:tgtEl>
                                          <p:spTgt spid="12"/>
                                        </p:tgtEl>
                                        <p:attrNameLst>
                                          <p:attrName>style.visibility</p:attrName>
                                        </p:attrNameLst>
                                      </p:cBhvr>
                                      <p:to>
                                        <p:strVal val="visible"/>
                                      </p:to>
                                    </p:set>
                                    <p:animEffect transition="in" filter="fade">
                                      <p:cBhvr>
                                        <p:cTn id="92" dur="500"/>
                                        <p:tgtEl>
                                          <p:spTgt spid="12"/>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68"/>
                                        </p:tgtEl>
                                        <p:attrNameLst>
                                          <p:attrName>style.visibility</p:attrName>
                                        </p:attrNameLst>
                                      </p:cBhvr>
                                      <p:to>
                                        <p:strVal val="visible"/>
                                      </p:to>
                                    </p:set>
                                    <p:animEffect transition="in" filter="fade">
                                      <p:cBhvr>
                                        <p:cTn id="95" dur="500"/>
                                        <p:tgtEl>
                                          <p:spTgt spid="68"/>
                                        </p:tgtEl>
                                      </p:cBhvr>
                                    </p:animEffect>
                                  </p:childTnLst>
                                </p:cTn>
                              </p:par>
                              <p:par>
                                <p:cTn id="96" presetID="10" presetClass="entr" presetSubtype="0" fill="hold" nodeType="withEffect">
                                  <p:stCondLst>
                                    <p:cond delay="0"/>
                                  </p:stCondLst>
                                  <p:childTnLst>
                                    <p:set>
                                      <p:cBhvr>
                                        <p:cTn id="97" dur="1" fill="hold">
                                          <p:stCondLst>
                                            <p:cond delay="0"/>
                                          </p:stCondLst>
                                        </p:cTn>
                                        <p:tgtEl>
                                          <p:spTgt spid="135"/>
                                        </p:tgtEl>
                                        <p:attrNameLst>
                                          <p:attrName>style.visibility</p:attrName>
                                        </p:attrNameLst>
                                      </p:cBhvr>
                                      <p:to>
                                        <p:strVal val="visible"/>
                                      </p:to>
                                    </p:set>
                                    <p:animEffect transition="in" filter="fade">
                                      <p:cBhvr>
                                        <p:cTn id="98" dur="500"/>
                                        <p:tgtEl>
                                          <p:spTgt spid="135"/>
                                        </p:tgtEl>
                                      </p:cBhvr>
                                    </p:animEffect>
                                  </p:childTnLst>
                                </p:cTn>
                              </p:par>
                              <p:par>
                                <p:cTn id="99" presetID="10" presetClass="entr" presetSubtype="0" fill="hold" nodeType="withEffect">
                                  <p:stCondLst>
                                    <p:cond delay="0"/>
                                  </p:stCondLst>
                                  <p:childTnLst>
                                    <p:set>
                                      <p:cBhvr>
                                        <p:cTn id="100" dur="1" fill="hold">
                                          <p:stCondLst>
                                            <p:cond delay="0"/>
                                          </p:stCondLst>
                                        </p:cTn>
                                        <p:tgtEl>
                                          <p:spTgt spid="10"/>
                                        </p:tgtEl>
                                        <p:attrNameLst>
                                          <p:attrName>style.visibility</p:attrName>
                                        </p:attrNameLst>
                                      </p:cBhvr>
                                      <p:to>
                                        <p:strVal val="visible"/>
                                      </p:to>
                                    </p:set>
                                    <p:animEffect transition="in" filter="fade">
                                      <p:cBhvr>
                                        <p:cTn id="101" dur="500"/>
                                        <p:tgtEl>
                                          <p:spTgt spid="10"/>
                                        </p:tgtEl>
                                      </p:cBhvr>
                                    </p:animEffect>
                                  </p:childTnLst>
                                </p:cTn>
                              </p:par>
                              <p:par>
                                <p:cTn id="102" presetID="10" presetClass="entr" presetSubtype="0" fill="hold" nodeType="withEffect">
                                  <p:stCondLst>
                                    <p:cond delay="0"/>
                                  </p:stCondLst>
                                  <p:childTnLst>
                                    <p:set>
                                      <p:cBhvr>
                                        <p:cTn id="103" dur="1" fill="hold">
                                          <p:stCondLst>
                                            <p:cond delay="0"/>
                                          </p:stCondLst>
                                        </p:cTn>
                                        <p:tgtEl>
                                          <p:spTgt spid="55"/>
                                        </p:tgtEl>
                                        <p:attrNameLst>
                                          <p:attrName>style.visibility</p:attrName>
                                        </p:attrNameLst>
                                      </p:cBhvr>
                                      <p:to>
                                        <p:strVal val="visible"/>
                                      </p:to>
                                    </p:set>
                                    <p:animEffect transition="in" filter="fade">
                                      <p:cBhvr>
                                        <p:cTn id="104" dur="500"/>
                                        <p:tgtEl>
                                          <p:spTgt spid="55"/>
                                        </p:tgtEl>
                                      </p:cBhvr>
                                    </p:animEffect>
                                  </p:childTnLst>
                                </p:cTn>
                              </p:par>
                            </p:childTnLst>
                          </p:cTn>
                        </p:par>
                        <p:par>
                          <p:cTn id="105" fill="hold">
                            <p:stCondLst>
                              <p:cond delay="7000"/>
                            </p:stCondLst>
                            <p:childTnLst>
                              <p:par>
                                <p:cTn id="106" presetID="22" presetClass="entr" presetSubtype="4" fill="hold" grpId="0" nodeType="afterEffect">
                                  <p:stCondLst>
                                    <p:cond delay="0"/>
                                  </p:stCondLst>
                                  <p:childTnLst>
                                    <p:set>
                                      <p:cBhvr>
                                        <p:cTn id="107" dur="1" fill="hold">
                                          <p:stCondLst>
                                            <p:cond delay="0"/>
                                          </p:stCondLst>
                                        </p:cTn>
                                        <p:tgtEl>
                                          <p:spTgt spid="59"/>
                                        </p:tgtEl>
                                        <p:attrNameLst>
                                          <p:attrName>style.visibility</p:attrName>
                                        </p:attrNameLst>
                                      </p:cBhvr>
                                      <p:to>
                                        <p:strVal val="visible"/>
                                      </p:to>
                                    </p:set>
                                    <p:animEffect transition="in" filter="wipe(down)">
                                      <p:cBhvr>
                                        <p:cTn id="108" dur="500"/>
                                        <p:tgtEl>
                                          <p:spTgt spid="59"/>
                                        </p:tgtEl>
                                      </p:cBhvr>
                                    </p:animEffect>
                                  </p:childTnLst>
                                </p:cTn>
                              </p:par>
                              <p:par>
                                <p:cTn id="109" presetID="22" presetClass="entr" presetSubtype="4" fill="hold" nodeType="withEffect">
                                  <p:stCondLst>
                                    <p:cond delay="0"/>
                                  </p:stCondLst>
                                  <p:childTnLst>
                                    <p:set>
                                      <p:cBhvr>
                                        <p:cTn id="110" dur="1" fill="hold">
                                          <p:stCondLst>
                                            <p:cond delay="0"/>
                                          </p:stCondLst>
                                        </p:cTn>
                                        <p:tgtEl>
                                          <p:spTgt spid="14"/>
                                        </p:tgtEl>
                                        <p:attrNameLst>
                                          <p:attrName>style.visibility</p:attrName>
                                        </p:attrNameLst>
                                      </p:cBhvr>
                                      <p:to>
                                        <p:strVal val="visible"/>
                                      </p:to>
                                    </p:set>
                                    <p:animEffect transition="in" filter="wipe(down)">
                                      <p:cBhvr>
                                        <p:cTn id="111" dur="500"/>
                                        <p:tgtEl>
                                          <p:spTgt spid="14"/>
                                        </p:tgtEl>
                                      </p:cBhvr>
                                    </p:animEffect>
                                  </p:childTnLst>
                                </p:cTn>
                              </p:par>
                            </p:childTnLst>
                          </p:cTn>
                        </p:par>
                        <p:par>
                          <p:cTn id="112" fill="hold">
                            <p:stCondLst>
                              <p:cond delay="7500"/>
                            </p:stCondLst>
                            <p:childTnLst>
                              <p:par>
                                <p:cTn id="113" presetID="22" presetClass="entr" presetSubtype="8" fill="hold" grpId="0" nodeType="afterEffect">
                                  <p:stCondLst>
                                    <p:cond delay="0"/>
                                  </p:stCondLst>
                                  <p:childTnLst>
                                    <p:set>
                                      <p:cBhvr>
                                        <p:cTn id="114" dur="1" fill="hold">
                                          <p:stCondLst>
                                            <p:cond delay="0"/>
                                          </p:stCondLst>
                                        </p:cTn>
                                        <p:tgtEl>
                                          <p:spTgt spid="24"/>
                                        </p:tgtEl>
                                        <p:attrNameLst>
                                          <p:attrName>style.visibility</p:attrName>
                                        </p:attrNameLst>
                                      </p:cBhvr>
                                      <p:to>
                                        <p:strVal val="visible"/>
                                      </p:to>
                                    </p:set>
                                    <p:animEffect transition="in" filter="wipe(left)">
                                      <p:cBhvr>
                                        <p:cTn id="115" dur="500"/>
                                        <p:tgtEl>
                                          <p:spTgt spid="24"/>
                                        </p:tgtEl>
                                      </p:cBhvr>
                                    </p:animEffect>
                                  </p:childTnLst>
                                </p:cTn>
                              </p:par>
                              <p:par>
                                <p:cTn id="116" presetID="22" presetClass="entr" presetSubtype="8" fill="hold" nodeType="withEffect">
                                  <p:stCondLst>
                                    <p:cond delay="0"/>
                                  </p:stCondLst>
                                  <p:childTnLst>
                                    <p:set>
                                      <p:cBhvr>
                                        <p:cTn id="117" dur="1" fill="hold">
                                          <p:stCondLst>
                                            <p:cond delay="0"/>
                                          </p:stCondLst>
                                        </p:cTn>
                                        <p:tgtEl>
                                          <p:spTgt spid="23"/>
                                        </p:tgtEl>
                                        <p:attrNameLst>
                                          <p:attrName>style.visibility</p:attrName>
                                        </p:attrNameLst>
                                      </p:cBhvr>
                                      <p:to>
                                        <p:strVal val="visible"/>
                                      </p:to>
                                    </p:set>
                                    <p:animEffect transition="in" filter="wipe(left)">
                                      <p:cBhvr>
                                        <p:cTn id="118" dur="500"/>
                                        <p:tgtEl>
                                          <p:spTgt spid="23"/>
                                        </p:tgtEl>
                                      </p:cBhvr>
                                    </p:animEffect>
                                  </p:childTnLst>
                                </p:cTn>
                              </p:par>
                            </p:childTnLst>
                          </p:cTn>
                        </p:par>
                        <p:par>
                          <p:cTn id="119" fill="hold">
                            <p:stCondLst>
                              <p:cond delay="8000"/>
                            </p:stCondLst>
                            <p:childTnLst>
                              <p:par>
                                <p:cTn id="120" presetID="10" presetClass="entr" presetSubtype="0" fill="hold" nodeType="afterEffect">
                                  <p:stCondLst>
                                    <p:cond delay="0"/>
                                  </p:stCondLst>
                                  <p:childTnLst>
                                    <p:set>
                                      <p:cBhvr>
                                        <p:cTn id="121" dur="1" fill="hold">
                                          <p:stCondLst>
                                            <p:cond delay="0"/>
                                          </p:stCondLst>
                                        </p:cTn>
                                        <p:tgtEl>
                                          <p:spTgt spid="48"/>
                                        </p:tgtEl>
                                        <p:attrNameLst>
                                          <p:attrName>style.visibility</p:attrName>
                                        </p:attrNameLst>
                                      </p:cBhvr>
                                      <p:to>
                                        <p:strVal val="visible"/>
                                      </p:to>
                                    </p:set>
                                    <p:animEffect transition="in" filter="fade">
                                      <p:cBhvr>
                                        <p:cTn id="122" dur="500"/>
                                        <p:tgtEl>
                                          <p:spTgt spid="48"/>
                                        </p:tgtEl>
                                      </p:cBhvr>
                                    </p:animEffect>
                                  </p:childTnLst>
                                </p:cTn>
                              </p:par>
                            </p:childTnLst>
                          </p:cTn>
                        </p:par>
                        <p:par>
                          <p:cTn id="123" fill="hold">
                            <p:stCondLst>
                              <p:cond delay="8500"/>
                            </p:stCondLst>
                            <p:childTnLst>
                              <p:par>
                                <p:cTn id="124" presetID="22" presetClass="entr" presetSubtype="8" fill="hold" nodeType="afterEffect">
                                  <p:stCondLst>
                                    <p:cond delay="0"/>
                                  </p:stCondLst>
                                  <p:childTnLst>
                                    <p:set>
                                      <p:cBhvr>
                                        <p:cTn id="125" dur="1" fill="hold">
                                          <p:stCondLst>
                                            <p:cond delay="0"/>
                                          </p:stCondLst>
                                        </p:cTn>
                                        <p:tgtEl>
                                          <p:spTgt spid="15"/>
                                        </p:tgtEl>
                                        <p:attrNameLst>
                                          <p:attrName>style.visibility</p:attrName>
                                        </p:attrNameLst>
                                      </p:cBhvr>
                                      <p:to>
                                        <p:strVal val="visible"/>
                                      </p:to>
                                    </p:set>
                                    <p:animEffect transition="in" filter="wipe(left)">
                                      <p:cBhvr>
                                        <p:cTn id="126" dur="500"/>
                                        <p:tgtEl>
                                          <p:spTgt spid="15"/>
                                        </p:tgtEl>
                                      </p:cBhvr>
                                    </p:animEffect>
                                  </p:childTnLst>
                                </p:cTn>
                              </p:par>
                              <p:par>
                                <p:cTn id="127" presetID="22" presetClass="entr" presetSubtype="8" fill="hold" nodeType="withEffect">
                                  <p:stCondLst>
                                    <p:cond delay="0"/>
                                  </p:stCondLst>
                                  <p:childTnLst>
                                    <p:set>
                                      <p:cBhvr>
                                        <p:cTn id="128" dur="1" fill="hold">
                                          <p:stCondLst>
                                            <p:cond delay="0"/>
                                          </p:stCondLst>
                                        </p:cTn>
                                        <p:tgtEl>
                                          <p:spTgt spid="16"/>
                                        </p:tgtEl>
                                        <p:attrNameLst>
                                          <p:attrName>style.visibility</p:attrName>
                                        </p:attrNameLst>
                                      </p:cBhvr>
                                      <p:to>
                                        <p:strVal val="visible"/>
                                      </p:to>
                                    </p:set>
                                    <p:animEffect transition="in" filter="wipe(left)">
                                      <p:cBhvr>
                                        <p:cTn id="129" dur="500"/>
                                        <p:tgtEl>
                                          <p:spTgt spid="16"/>
                                        </p:tgtEl>
                                      </p:cBhvr>
                                    </p:animEffect>
                                  </p:childTnLst>
                                </p:cTn>
                              </p:par>
                              <p:par>
                                <p:cTn id="130" presetID="22" presetClass="entr" presetSubtype="8" fill="hold" nodeType="withEffect">
                                  <p:stCondLst>
                                    <p:cond delay="0"/>
                                  </p:stCondLst>
                                  <p:childTnLst>
                                    <p:set>
                                      <p:cBhvr>
                                        <p:cTn id="131" dur="1" fill="hold">
                                          <p:stCondLst>
                                            <p:cond delay="0"/>
                                          </p:stCondLst>
                                        </p:cTn>
                                        <p:tgtEl>
                                          <p:spTgt spid="17"/>
                                        </p:tgtEl>
                                        <p:attrNameLst>
                                          <p:attrName>style.visibility</p:attrName>
                                        </p:attrNameLst>
                                      </p:cBhvr>
                                      <p:to>
                                        <p:strVal val="visible"/>
                                      </p:to>
                                    </p:set>
                                    <p:animEffect transition="in" filter="wipe(left)">
                                      <p:cBhvr>
                                        <p:cTn id="132" dur="500"/>
                                        <p:tgtEl>
                                          <p:spTgt spid="17"/>
                                        </p:tgtEl>
                                      </p:cBhvr>
                                    </p:animEffect>
                                  </p:childTnLst>
                                </p:cTn>
                              </p:par>
                            </p:childTnLst>
                          </p:cTn>
                        </p:par>
                        <p:par>
                          <p:cTn id="133" fill="hold">
                            <p:stCondLst>
                              <p:cond delay="9000"/>
                            </p:stCondLst>
                            <p:childTnLst>
                              <p:par>
                                <p:cTn id="134" presetID="10" presetClass="entr" presetSubtype="0" fill="hold" nodeType="afterEffect">
                                  <p:stCondLst>
                                    <p:cond delay="0"/>
                                  </p:stCondLst>
                                  <p:childTnLst>
                                    <p:set>
                                      <p:cBhvr>
                                        <p:cTn id="135" dur="1" fill="hold">
                                          <p:stCondLst>
                                            <p:cond delay="0"/>
                                          </p:stCondLst>
                                        </p:cTn>
                                        <p:tgtEl>
                                          <p:spTgt spid="127"/>
                                        </p:tgtEl>
                                        <p:attrNameLst>
                                          <p:attrName>style.visibility</p:attrName>
                                        </p:attrNameLst>
                                      </p:cBhvr>
                                      <p:to>
                                        <p:strVal val="visible"/>
                                      </p:to>
                                    </p:set>
                                    <p:animEffect transition="in" filter="fade">
                                      <p:cBhvr>
                                        <p:cTn id="136" dur="500"/>
                                        <p:tgtEl>
                                          <p:spTgt spid="127"/>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71"/>
                                        </p:tgtEl>
                                        <p:attrNameLst>
                                          <p:attrName>style.visibility</p:attrName>
                                        </p:attrNameLst>
                                      </p:cBhvr>
                                      <p:to>
                                        <p:strVal val="visible"/>
                                      </p:to>
                                    </p:set>
                                    <p:animEffect transition="in" filter="fade">
                                      <p:cBhvr>
                                        <p:cTn id="139" dur="500"/>
                                        <p:tgtEl>
                                          <p:spTgt spid="71"/>
                                        </p:tgtEl>
                                      </p:cBhvr>
                                    </p:animEffect>
                                  </p:childTnLst>
                                </p:cTn>
                              </p:par>
                              <p:par>
                                <p:cTn id="140" presetID="10" presetClass="entr" presetSubtype="0" fill="hold" nodeType="withEffect">
                                  <p:stCondLst>
                                    <p:cond delay="0"/>
                                  </p:stCondLst>
                                  <p:childTnLst>
                                    <p:set>
                                      <p:cBhvr>
                                        <p:cTn id="141" dur="1" fill="hold">
                                          <p:stCondLst>
                                            <p:cond delay="0"/>
                                          </p:stCondLst>
                                        </p:cTn>
                                        <p:tgtEl>
                                          <p:spTgt spid="163"/>
                                        </p:tgtEl>
                                        <p:attrNameLst>
                                          <p:attrName>style.visibility</p:attrName>
                                        </p:attrNameLst>
                                      </p:cBhvr>
                                      <p:to>
                                        <p:strVal val="visible"/>
                                      </p:to>
                                    </p:set>
                                    <p:animEffect transition="in" filter="fade">
                                      <p:cBhvr>
                                        <p:cTn id="142" dur="500"/>
                                        <p:tgtEl>
                                          <p:spTgt spid="163"/>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72"/>
                                        </p:tgtEl>
                                        <p:attrNameLst>
                                          <p:attrName>style.visibility</p:attrName>
                                        </p:attrNameLst>
                                      </p:cBhvr>
                                      <p:to>
                                        <p:strVal val="visible"/>
                                      </p:to>
                                    </p:set>
                                    <p:animEffect transition="in" filter="fade">
                                      <p:cBhvr>
                                        <p:cTn id="145" dur="500"/>
                                        <p:tgtEl>
                                          <p:spTgt spid="72"/>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Effect transition="in" filter="fade">
                                      <p:cBhvr>
                                        <p:cTn id="148" dur="500"/>
                                        <p:tgtEl>
                                          <p:spTgt spid="61"/>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73"/>
                                        </p:tgtEl>
                                        <p:attrNameLst>
                                          <p:attrName>style.visibility</p:attrName>
                                        </p:attrNameLst>
                                      </p:cBhvr>
                                      <p:to>
                                        <p:strVal val="visible"/>
                                      </p:to>
                                    </p:set>
                                    <p:animEffect transition="in" filter="fade">
                                      <p:cBhvr>
                                        <p:cTn id="151" dur="500"/>
                                        <p:tgtEl>
                                          <p:spTgt spid="73"/>
                                        </p:tgtEl>
                                      </p:cBhvr>
                                    </p:animEffect>
                                  </p:childTnLst>
                                </p:cTn>
                              </p:par>
                            </p:childTnLst>
                          </p:cTn>
                        </p:par>
                        <p:par>
                          <p:cTn id="152" fill="hold">
                            <p:stCondLst>
                              <p:cond delay="9500"/>
                            </p:stCondLst>
                            <p:childTnLst>
                              <p:par>
                                <p:cTn id="153" presetID="22" presetClass="entr" presetSubtype="8" fill="hold" nodeType="afterEffect">
                                  <p:stCondLst>
                                    <p:cond delay="0"/>
                                  </p:stCondLst>
                                  <p:childTnLst>
                                    <p:set>
                                      <p:cBhvr>
                                        <p:cTn id="154" dur="1" fill="hold">
                                          <p:stCondLst>
                                            <p:cond delay="0"/>
                                          </p:stCondLst>
                                        </p:cTn>
                                        <p:tgtEl>
                                          <p:spTgt spid="128"/>
                                        </p:tgtEl>
                                        <p:attrNameLst>
                                          <p:attrName>style.visibility</p:attrName>
                                        </p:attrNameLst>
                                      </p:cBhvr>
                                      <p:to>
                                        <p:strVal val="visible"/>
                                      </p:to>
                                    </p:set>
                                    <p:animEffect transition="in" filter="wipe(left)">
                                      <p:cBhvr>
                                        <p:cTn id="155" dur="500"/>
                                        <p:tgtEl>
                                          <p:spTgt spid="128"/>
                                        </p:tgtEl>
                                      </p:cBhvr>
                                    </p:animEffect>
                                  </p:childTnLst>
                                </p:cTn>
                              </p:par>
                              <p:par>
                                <p:cTn id="156" presetID="22" presetClass="entr" presetSubtype="8" fill="hold" nodeType="withEffect">
                                  <p:stCondLst>
                                    <p:cond delay="0"/>
                                  </p:stCondLst>
                                  <p:childTnLst>
                                    <p:set>
                                      <p:cBhvr>
                                        <p:cTn id="157" dur="1" fill="hold">
                                          <p:stCondLst>
                                            <p:cond delay="0"/>
                                          </p:stCondLst>
                                        </p:cTn>
                                        <p:tgtEl>
                                          <p:spTgt spid="129"/>
                                        </p:tgtEl>
                                        <p:attrNameLst>
                                          <p:attrName>style.visibility</p:attrName>
                                        </p:attrNameLst>
                                      </p:cBhvr>
                                      <p:to>
                                        <p:strVal val="visible"/>
                                      </p:to>
                                    </p:set>
                                    <p:animEffect transition="in" filter="wipe(left)">
                                      <p:cBhvr>
                                        <p:cTn id="158" dur="500"/>
                                        <p:tgtEl>
                                          <p:spTgt spid="129"/>
                                        </p:tgtEl>
                                      </p:cBhvr>
                                    </p:animEffect>
                                  </p:childTnLst>
                                </p:cTn>
                              </p:par>
                              <p:par>
                                <p:cTn id="159" presetID="22" presetClass="entr" presetSubtype="8" fill="hold" nodeType="withEffect">
                                  <p:stCondLst>
                                    <p:cond delay="0"/>
                                  </p:stCondLst>
                                  <p:childTnLst>
                                    <p:set>
                                      <p:cBhvr>
                                        <p:cTn id="160" dur="1" fill="hold">
                                          <p:stCondLst>
                                            <p:cond delay="0"/>
                                          </p:stCondLst>
                                        </p:cTn>
                                        <p:tgtEl>
                                          <p:spTgt spid="130"/>
                                        </p:tgtEl>
                                        <p:attrNameLst>
                                          <p:attrName>style.visibility</p:attrName>
                                        </p:attrNameLst>
                                      </p:cBhvr>
                                      <p:to>
                                        <p:strVal val="visible"/>
                                      </p:to>
                                    </p:set>
                                    <p:animEffect transition="in" filter="wipe(left)">
                                      <p:cBhvr>
                                        <p:cTn id="161" dur="500"/>
                                        <p:tgtEl>
                                          <p:spTgt spid="130"/>
                                        </p:tgtEl>
                                      </p:cBhvr>
                                    </p:animEffect>
                                  </p:childTnLst>
                                </p:cTn>
                              </p:par>
                            </p:childTnLst>
                          </p:cTn>
                        </p:par>
                        <p:par>
                          <p:cTn id="162" fill="hold">
                            <p:stCondLst>
                              <p:cond delay="10000"/>
                            </p:stCondLst>
                            <p:childTnLst>
                              <p:par>
                                <p:cTn id="163" presetID="10" presetClass="entr" presetSubtype="0" fill="hold" grpId="0" nodeType="afterEffect">
                                  <p:stCondLst>
                                    <p:cond delay="0"/>
                                  </p:stCondLst>
                                  <p:childTnLst>
                                    <p:set>
                                      <p:cBhvr>
                                        <p:cTn id="164" dur="1" fill="hold">
                                          <p:stCondLst>
                                            <p:cond delay="0"/>
                                          </p:stCondLst>
                                        </p:cTn>
                                        <p:tgtEl>
                                          <p:spTgt spid="192"/>
                                        </p:tgtEl>
                                        <p:attrNameLst>
                                          <p:attrName>style.visibility</p:attrName>
                                        </p:attrNameLst>
                                      </p:cBhvr>
                                      <p:to>
                                        <p:strVal val="visible"/>
                                      </p:to>
                                    </p:set>
                                    <p:animEffect transition="in" filter="fade">
                                      <p:cBhvr>
                                        <p:cTn id="165" dur="500"/>
                                        <p:tgtEl>
                                          <p:spTgt spid="192"/>
                                        </p:tgtEl>
                                      </p:cBhvr>
                                    </p:animEffect>
                                  </p:childTnLst>
                                </p:cTn>
                              </p:par>
                              <p:par>
                                <p:cTn id="166" presetID="10" presetClass="entr" presetSubtype="0" fill="hold" nodeType="withEffect">
                                  <p:stCondLst>
                                    <p:cond delay="0"/>
                                  </p:stCondLst>
                                  <p:childTnLst>
                                    <p:set>
                                      <p:cBhvr>
                                        <p:cTn id="167" dur="1" fill="hold">
                                          <p:stCondLst>
                                            <p:cond delay="0"/>
                                          </p:stCondLst>
                                        </p:cTn>
                                        <p:tgtEl>
                                          <p:spTgt spid="196"/>
                                        </p:tgtEl>
                                        <p:attrNameLst>
                                          <p:attrName>style.visibility</p:attrName>
                                        </p:attrNameLst>
                                      </p:cBhvr>
                                      <p:to>
                                        <p:strVal val="visible"/>
                                      </p:to>
                                    </p:set>
                                    <p:animEffect transition="in" filter="fade">
                                      <p:cBhvr>
                                        <p:cTn id="168" dur="500"/>
                                        <p:tgtEl>
                                          <p:spTgt spid="196"/>
                                        </p:tgtEl>
                                      </p:cBhvr>
                                    </p:animEffect>
                                  </p:childTnLst>
                                </p:cTn>
                              </p:par>
                              <p:par>
                                <p:cTn id="169" presetID="10" presetClass="entr" presetSubtype="0" fill="hold" nodeType="withEffect">
                                  <p:stCondLst>
                                    <p:cond delay="0"/>
                                  </p:stCondLst>
                                  <p:childTnLst>
                                    <p:set>
                                      <p:cBhvr>
                                        <p:cTn id="170" dur="1" fill="hold">
                                          <p:stCondLst>
                                            <p:cond delay="0"/>
                                          </p:stCondLst>
                                        </p:cTn>
                                        <p:tgtEl>
                                          <p:spTgt spid="202"/>
                                        </p:tgtEl>
                                        <p:attrNameLst>
                                          <p:attrName>style.visibility</p:attrName>
                                        </p:attrNameLst>
                                      </p:cBhvr>
                                      <p:to>
                                        <p:strVal val="visible"/>
                                      </p:to>
                                    </p:set>
                                    <p:animEffect transition="in" filter="fade">
                                      <p:cBhvr>
                                        <p:cTn id="171" dur="500"/>
                                        <p:tgtEl>
                                          <p:spTgt spid="202"/>
                                        </p:tgtEl>
                                      </p:cBhvr>
                                    </p:animEffect>
                                  </p:childTnLst>
                                </p:cTn>
                              </p:par>
                              <p:par>
                                <p:cTn id="172" presetID="10" presetClass="entr" presetSubtype="0" fill="hold" nodeType="withEffect">
                                  <p:stCondLst>
                                    <p:cond delay="0"/>
                                  </p:stCondLst>
                                  <p:childTnLst>
                                    <p:set>
                                      <p:cBhvr>
                                        <p:cTn id="173" dur="1" fill="hold">
                                          <p:stCondLst>
                                            <p:cond delay="0"/>
                                          </p:stCondLst>
                                        </p:cTn>
                                        <p:tgtEl>
                                          <p:spTgt spid="193"/>
                                        </p:tgtEl>
                                        <p:attrNameLst>
                                          <p:attrName>style.visibility</p:attrName>
                                        </p:attrNameLst>
                                      </p:cBhvr>
                                      <p:to>
                                        <p:strVal val="visible"/>
                                      </p:to>
                                    </p:set>
                                    <p:animEffect transition="in" filter="fade">
                                      <p:cBhvr>
                                        <p:cTn id="174" dur="500"/>
                                        <p:tgtEl>
                                          <p:spTgt spid="193"/>
                                        </p:tgtEl>
                                      </p:cBhvr>
                                    </p:animEffect>
                                  </p:childTnLst>
                                </p:cTn>
                              </p:par>
                              <p:par>
                                <p:cTn id="175" presetID="10" presetClass="entr" presetSubtype="0" fill="hold" nodeType="withEffect">
                                  <p:stCondLst>
                                    <p:cond delay="0"/>
                                  </p:stCondLst>
                                  <p:childTnLst>
                                    <p:set>
                                      <p:cBhvr>
                                        <p:cTn id="176" dur="1" fill="hold">
                                          <p:stCondLst>
                                            <p:cond delay="0"/>
                                          </p:stCondLst>
                                        </p:cTn>
                                        <p:tgtEl>
                                          <p:spTgt spid="199"/>
                                        </p:tgtEl>
                                        <p:attrNameLst>
                                          <p:attrName>style.visibility</p:attrName>
                                        </p:attrNameLst>
                                      </p:cBhvr>
                                      <p:to>
                                        <p:strVal val="visible"/>
                                      </p:to>
                                    </p:set>
                                    <p:animEffect transition="in" filter="fade">
                                      <p:cBhvr>
                                        <p:cTn id="177" dur="500"/>
                                        <p:tgtEl>
                                          <p:spTgt spid="199"/>
                                        </p:tgtEl>
                                      </p:cBhvr>
                                    </p:animEffect>
                                  </p:childTnLst>
                                </p:cTn>
                              </p:par>
                            </p:childTnLst>
                          </p:cTn>
                        </p:par>
                        <p:par>
                          <p:cTn id="178" fill="hold">
                            <p:stCondLst>
                              <p:cond delay="10500"/>
                            </p:stCondLst>
                            <p:childTnLst>
                              <p:par>
                                <p:cTn id="179" presetID="10" presetClass="entr" presetSubtype="0" fill="hold" grpId="0" nodeType="afterEffect">
                                  <p:stCondLst>
                                    <p:cond delay="0"/>
                                  </p:stCondLst>
                                  <p:childTnLst>
                                    <p:set>
                                      <p:cBhvr>
                                        <p:cTn id="180" dur="1" fill="hold">
                                          <p:stCondLst>
                                            <p:cond delay="0"/>
                                          </p:stCondLst>
                                        </p:cTn>
                                        <p:tgtEl>
                                          <p:spTgt spid="74"/>
                                        </p:tgtEl>
                                        <p:attrNameLst>
                                          <p:attrName>style.visibility</p:attrName>
                                        </p:attrNameLst>
                                      </p:cBhvr>
                                      <p:to>
                                        <p:strVal val="visible"/>
                                      </p:to>
                                    </p:set>
                                    <p:animEffect transition="in" filter="fade">
                                      <p:cBhvr>
                                        <p:cTn id="181" dur="500"/>
                                        <p:tgtEl>
                                          <p:spTgt spid="74"/>
                                        </p:tgtEl>
                                      </p:cBhvr>
                                    </p:animEffect>
                                  </p:childTnLst>
                                </p:cTn>
                              </p:par>
                              <p:par>
                                <p:cTn id="182" presetID="10" presetClass="entr" presetSubtype="0" fill="hold" nodeType="withEffect">
                                  <p:stCondLst>
                                    <p:cond delay="0"/>
                                  </p:stCondLst>
                                  <p:childTnLst>
                                    <p:set>
                                      <p:cBhvr>
                                        <p:cTn id="183" dur="1" fill="hold">
                                          <p:stCondLst>
                                            <p:cond delay="0"/>
                                          </p:stCondLst>
                                        </p:cTn>
                                        <p:tgtEl>
                                          <p:spTgt spid="3"/>
                                        </p:tgtEl>
                                        <p:attrNameLst>
                                          <p:attrName>style.visibility</p:attrName>
                                        </p:attrNameLst>
                                      </p:cBhvr>
                                      <p:to>
                                        <p:strVal val="visible"/>
                                      </p:to>
                                    </p:set>
                                    <p:animEffect transition="in" filter="fade">
                                      <p:cBhvr>
                                        <p:cTn id="184" dur="500"/>
                                        <p:tgtEl>
                                          <p:spTgt spid="3"/>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75"/>
                                        </p:tgtEl>
                                        <p:attrNameLst>
                                          <p:attrName>style.visibility</p:attrName>
                                        </p:attrNameLst>
                                      </p:cBhvr>
                                      <p:to>
                                        <p:strVal val="visible"/>
                                      </p:to>
                                    </p:set>
                                    <p:animEffect transition="in" filter="fade">
                                      <p:cBhvr>
                                        <p:cTn id="187" dur="500"/>
                                        <p:tgtEl>
                                          <p:spTgt spid="175"/>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5"/>
                                        </p:tgtEl>
                                        <p:attrNameLst>
                                          <p:attrName>style.visibility</p:attrName>
                                        </p:attrNameLst>
                                      </p:cBhvr>
                                      <p:to>
                                        <p:strVal val="visible"/>
                                      </p:to>
                                    </p:set>
                                    <p:animEffect transition="in" filter="fade">
                                      <p:cBhvr>
                                        <p:cTn id="190" dur="500"/>
                                        <p:tgtEl>
                                          <p:spTgt spid="75"/>
                                        </p:tgtEl>
                                      </p:cBhvr>
                                    </p:animEffect>
                                  </p:childTnLst>
                                </p:cTn>
                              </p:par>
                              <p:par>
                                <p:cTn id="191" presetID="10" presetClass="entr" presetSubtype="0" fill="hold" nodeType="withEffect">
                                  <p:stCondLst>
                                    <p:cond delay="0"/>
                                  </p:stCondLst>
                                  <p:childTnLst>
                                    <p:set>
                                      <p:cBhvr>
                                        <p:cTn id="192" dur="1" fill="hold">
                                          <p:stCondLst>
                                            <p:cond delay="0"/>
                                          </p:stCondLst>
                                        </p:cTn>
                                        <p:tgtEl>
                                          <p:spTgt spid="225"/>
                                        </p:tgtEl>
                                        <p:attrNameLst>
                                          <p:attrName>style.visibility</p:attrName>
                                        </p:attrNameLst>
                                      </p:cBhvr>
                                      <p:to>
                                        <p:strVal val="visible"/>
                                      </p:to>
                                    </p:set>
                                    <p:animEffect transition="in" filter="fade">
                                      <p:cBhvr>
                                        <p:cTn id="193"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p:bldP spid="13" grpId="0"/>
      <p:bldP spid="19" grpId="0"/>
      <p:bldP spid="21" grpId="0" animBg="1"/>
      <p:bldP spid="24" grpId="0"/>
      <p:bldP spid="42" grpId="0"/>
      <p:bldP spid="59" grpId="0"/>
      <p:bldP spid="60" grpId="0" animBg="1"/>
      <p:bldP spid="61" grpId="0" animBg="1"/>
      <p:bldP spid="67" grpId="0" animBg="1"/>
      <p:bldP spid="68" grpId="0" animBg="1"/>
      <p:bldP spid="70" grpId="0" animBg="1"/>
      <p:bldP spid="71" grpId="0" animBg="1"/>
      <p:bldP spid="72" grpId="0" animBg="1"/>
      <p:bldP spid="73" grpId="0" animBg="1"/>
      <p:bldP spid="81" grpId="0" animBg="1"/>
      <p:bldP spid="84" grpId="0" animBg="1"/>
      <p:bldP spid="74" grpId="0" animBg="1"/>
      <p:bldP spid="75" grpId="0" animBg="1"/>
      <p:bldP spid="114" grpId="0"/>
      <p:bldP spid="192" grpId="0" animBg="1"/>
      <p:bldP spid="230" grpId="0" animBg="1"/>
      <p:bldP spid="17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dirty="0"/>
              <a:t>Analytics Platform System (APS)</a:t>
            </a:r>
          </a:p>
        </p:txBody>
      </p:sp>
      <p:sp>
        <p:nvSpPr>
          <p:cNvPr id="6" name="TextBox 5"/>
          <p:cNvSpPr txBox="1"/>
          <p:nvPr/>
        </p:nvSpPr>
        <p:spPr>
          <a:xfrm>
            <a:off x="2959768" y="1715152"/>
            <a:ext cx="7543800" cy="960263"/>
          </a:xfrm>
          <a:prstGeom prst="rect">
            <a:avLst/>
          </a:prstGeom>
          <a:noFill/>
        </p:spPr>
        <p:txBody>
          <a:bodyPr wrap="square" lIns="182880" tIns="146304" rIns="182880" bIns="146304" rtlCol="0">
            <a:spAutoFit/>
          </a:bodyPr>
          <a:lstStyle/>
          <a:p>
            <a:pPr marL="342900" indent="-342900">
              <a:lnSpc>
                <a:spcPct val="90000"/>
              </a:lnSpc>
              <a:spcAft>
                <a:spcPts val="600"/>
              </a:spcAft>
              <a:buClr>
                <a:srgbClr val="00B0F0"/>
              </a:buClr>
              <a:buFont typeface="Arial" panose="020B0604020202020204" pitchFamily="34" charset="0"/>
              <a:buChar char="•"/>
            </a:pPr>
            <a:r>
              <a:rPr lang="en-US" sz="2400" dirty="0">
                <a:latin typeface="+mj-lt"/>
              </a:rPr>
              <a:t>An appliance which is hosted on-premises with dependency on local infrastructure provision</a:t>
            </a:r>
          </a:p>
        </p:txBody>
      </p:sp>
      <p:sp>
        <p:nvSpPr>
          <p:cNvPr id="7" name="TextBox 6"/>
          <p:cNvSpPr txBox="1"/>
          <p:nvPr/>
        </p:nvSpPr>
        <p:spPr>
          <a:xfrm>
            <a:off x="2941637" y="3028034"/>
            <a:ext cx="7086600" cy="960263"/>
          </a:xfrm>
          <a:prstGeom prst="rect">
            <a:avLst/>
          </a:prstGeom>
          <a:noFill/>
        </p:spPr>
        <p:txBody>
          <a:bodyPr wrap="square" lIns="182880" tIns="146304" rIns="182880" bIns="146304" rtlCol="0">
            <a:spAutoFit/>
          </a:bodyPr>
          <a:lstStyle/>
          <a:p>
            <a:pPr marL="342900" indent="-342900">
              <a:lnSpc>
                <a:spcPct val="90000"/>
              </a:lnSpc>
              <a:spcAft>
                <a:spcPts val="600"/>
              </a:spcAft>
              <a:buClr>
                <a:srgbClr val="107C10"/>
              </a:buClr>
              <a:buFont typeface="Arial" panose="020B0604020202020204" pitchFamily="34" charset="0"/>
              <a:buChar char="•"/>
            </a:pPr>
            <a:r>
              <a:rPr lang="en-US" sz="2400" dirty="0">
                <a:latin typeface="+mj-lt"/>
              </a:rPr>
              <a:t>Mission-critical data warehouse workload provision using MPP SQL engine</a:t>
            </a:r>
          </a:p>
        </p:txBody>
      </p:sp>
      <p:sp>
        <p:nvSpPr>
          <p:cNvPr id="8" name="TextBox 7"/>
          <p:cNvSpPr txBox="1"/>
          <p:nvPr/>
        </p:nvSpPr>
        <p:spPr>
          <a:xfrm>
            <a:off x="2941637" y="4676865"/>
            <a:ext cx="8534400" cy="1037207"/>
          </a:xfrm>
          <a:prstGeom prst="rect">
            <a:avLst/>
          </a:prstGeom>
          <a:noFill/>
        </p:spPr>
        <p:txBody>
          <a:bodyPr wrap="square" lIns="182880" tIns="146304" rIns="182880" bIns="146304" rtlCol="0">
            <a:spAutoFit/>
          </a:bodyPr>
          <a:lstStyle/>
          <a:p>
            <a:pPr marL="342900" indent="-342900">
              <a:lnSpc>
                <a:spcPct val="90000"/>
              </a:lnSpc>
              <a:spcAft>
                <a:spcPts val="600"/>
              </a:spcAft>
              <a:buClr>
                <a:srgbClr val="672A7B"/>
              </a:buClr>
              <a:buFont typeface="Arial" panose="020B0604020202020204" pitchFamily="34" charset="0"/>
              <a:buChar char="•"/>
            </a:pPr>
            <a:r>
              <a:rPr lang="en-US" sz="2400" dirty="0">
                <a:latin typeface="+mj-lt"/>
              </a:rPr>
              <a:t>Upfront cost (CAPEX) required for hardware and licensing </a:t>
            </a:r>
          </a:p>
          <a:p>
            <a:pPr marL="342900" indent="-342900">
              <a:lnSpc>
                <a:spcPct val="90000"/>
              </a:lnSpc>
              <a:spcAft>
                <a:spcPts val="600"/>
              </a:spcAft>
              <a:buClr>
                <a:srgbClr val="672A7B"/>
              </a:buClr>
              <a:buFont typeface="Arial" panose="020B0604020202020204" pitchFamily="34" charset="0"/>
              <a:buChar char="•"/>
            </a:pPr>
            <a:r>
              <a:rPr lang="en-US" sz="2400" dirty="0">
                <a:latin typeface="+mj-lt"/>
              </a:rPr>
              <a:t>Storage and compute are scaled together</a:t>
            </a:r>
          </a:p>
        </p:txBody>
      </p:sp>
      <p:sp>
        <p:nvSpPr>
          <p:cNvPr id="9" name="Rectangle 8"/>
          <p:cNvSpPr/>
          <p:nvPr/>
        </p:nvSpPr>
        <p:spPr bwMode="auto">
          <a:xfrm>
            <a:off x="503237" y="1592262"/>
            <a:ext cx="2362200" cy="1188720"/>
          </a:xfrm>
          <a:prstGeom prst="rect">
            <a:avLst/>
          </a:prstGeom>
          <a:solidFill>
            <a:srgbClr val="00B0F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mj-lt"/>
              </a:rPr>
              <a:t>What is it?</a:t>
            </a:r>
          </a:p>
        </p:txBody>
      </p:sp>
      <p:sp>
        <p:nvSpPr>
          <p:cNvPr id="10" name="Rectangle 9"/>
          <p:cNvSpPr/>
          <p:nvPr/>
        </p:nvSpPr>
        <p:spPr bwMode="auto">
          <a:xfrm>
            <a:off x="503237" y="2913805"/>
            <a:ext cx="2362200" cy="1188720"/>
          </a:xfrm>
          <a:prstGeom prst="rect">
            <a:avLst/>
          </a:prstGeom>
          <a:solidFill>
            <a:srgbClr val="107C10"/>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mj-lt"/>
              </a:rPr>
              <a:t>Advantages</a:t>
            </a:r>
          </a:p>
        </p:txBody>
      </p:sp>
      <p:sp>
        <p:nvSpPr>
          <p:cNvPr id="11" name="Rectangle 10"/>
          <p:cNvSpPr/>
          <p:nvPr/>
        </p:nvSpPr>
        <p:spPr bwMode="auto">
          <a:xfrm>
            <a:off x="503236" y="4235348"/>
            <a:ext cx="2362200" cy="1920240"/>
          </a:xfrm>
          <a:prstGeom prst="rect">
            <a:avLst/>
          </a:prstGeom>
          <a:solidFill>
            <a:srgbClr val="672A7B"/>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solidFill>
                  <a:schemeClr val="tx1"/>
                </a:solidFill>
                <a:latin typeface="+mj-lt"/>
              </a:rPr>
              <a:t>Disadvantages</a:t>
            </a:r>
          </a:p>
        </p:txBody>
      </p:sp>
    </p:spTree>
    <p:extLst>
      <p:ext uri="{BB962C8B-B14F-4D97-AF65-F5344CB8AC3E}">
        <p14:creationId xmlns:p14="http://schemas.microsoft.com/office/powerpoint/2010/main" val="3271534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wipe(left)">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wipe(left)">
                                      <p:cBhvr>
                                        <p:cTn id="17" dur="500"/>
                                        <p:tgtEl>
                                          <p:spTgt spid="8">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
                                            <p:txEl>
                                              <p:pRg st="1" end="1"/>
                                            </p:txEl>
                                          </p:spTgt>
                                        </p:tgtEl>
                                        <p:attrNameLst>
                                          <p:attrName>style.visibility</p:attrName>
                                        </p:attrNameLst>
                                      </p:cBhvr>
                                      <p:to>
                                        <p:strVal val="visible"/>
                                      </p:to>
                                    </p:set>
                                    <p:animEffect transition="in" filter="wipe(left)">
                                      <p:cBhvr>
                                        <p:cTn id="2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SQL Data Warehouse (SQL DW)</a:t>
            </a:r>
          </a:p>
        </p:txBody>
      </p:sp>
      <p:sp>
        <p:nvSpPr>
          <p:cNvPr id="5" name="Rectangle 4"/>
          <p:cNvSpPr/>
          <p:nvPr/>
        </p:nvSpPr>
        <p:spPr bwMode="auto">
          <a:xfrm>
            <a:off x="503237" y="1592262"/>
            <a:ext cx="2362200" cy="1188720"/>
          </a:xfrm>
          <a:prstGeom prst="rect">
            <a:avLst/>
          </a:prstGeom>
          <a:solidFill>
            <a:srgbClr val="00B0F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mj-lt"/>
              </a:rPr>
              <a:t>What is it?</a:t>
            </a:r>
          </a:p>
        </p:txBody>
      </p:sp>
      <p:sp>
        <p:nvSpPr>
          <p:cNvPr id="6" name="TextBox 5"/>
          <p:cNvSpPr txBox="1"/>
          <p:nvPr/>
        </p:nvSpPr>
        <p:spPr>
          <a:xfrm>
            <a:off x="2971799" y="1715152"/>
            <a:ext cx="6446838" cy="960263"/>
          </a:xfrm>
          <a:prstGeom prst="rect">
            <a:avLst/>
          </a:prstGeom>
          <a:noFill/>
        </p:spPr>
        <p:txBody>
          <a:bodyPr wrap="square" lIns="182880" tIns="146304" rIns="182880" bIns="146304" rtlCol="0">
            <a:spAutoFit/>
          </a:bodyPr>
          <a:lstStyle/>
          <a:p>
            <a:pPr marL="342900" indent="-342900">
              <a:lnSpc>
                <a:spcPct val="90000"/>
              </a:lnSpc>
              <a:spcAft>
                <a:spcPts val="600"/>
              </a:spcAft>
              <a:buClr>
                <a:srgbClr val="00B0F0"/>
              </a:buClr>
              <a:buFont typeface="Arial" panose="020B0604020202020204" pitchFamily="34" charset="0"/>
              <a:buChar char="•"/>
            </a:pPr>
            <a:r>
              <a:rPr lang="en-US" sz="2400" dirty="0">
                <a:latin typeface="+mj-lt"/>
              </a:rPr>
              <a:t>Multi-tenant, cloud-based data warehouse platform as a service (PaaS) offering</a:t>
            </a:r>
          </a:p>
        </p:txBody>
      </p:sp>
      <p:sp>
        <p:nvSpPr>
          <p:cNvPr id="4" name="Rectangle 3"/>
          <p:cNvSpPr/>
          <p:nvPr/>
        </p:nvSpPr>
        <p:spPr bwMode="auto">
          <a:xfrm>
            <a:off x="503237" y="2913805"/>
            <a:ext cx="2362200" cy="1188720"/>
          </a:xfrm>
          <a:prstGeom prst="rect">
            <a:avLst/>
          </a:prstGeom>
          <a:solidFill>
            <a:srgbClr val="107C10"/>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latin typeface="+mj-lt"/>
              </a:rPr>
              <a:t>Advantages</a:t>
            </a:r>
          </a:p>
        </p:txBody>
      </p:sp>
      <p:sp>
        <p:nvSpPr>
          <p:cNvPr id="7" name="TextBox 6"/>
          <p:cNvSpPr txBox="1"/>
          <p:nvPr/>
        </p:nvSpPr>
        <p:spPr>
          <a:xfrm>
            <a:off x="2971799" y="2993455"/>
            <a:ext cx="8686800" cy="1037207"/>
          </a:xfrm>
          <a:prstGeom prst="rect">
            <a:avLst/>
          </a:prstGeom>
          <a:noFill/>
        </p:spPr>
        <p:txBody>
          <a:bodyPr wrap="square" lIns="182880" tIns="146304" rIns="182880" bIns="146304" rtlCol="0">
            <a:spAutoFit/>
          </a:bodyPr>
          <a:lstStyle/>
          <a:p>
            <a:pPr marL="342900" indent="-342900">
              <a:lnSpc>
                <a:spcPct val="90000"/>
              </a:lnSpc>
              <a:spcAft>
                <a:spcPts val="600"/>
              </a:spcAft>
              <a:buClr>
                <a:srgbClr val="107C10"/>
              </a:buClr>
              <a:buFont typeface="Arial" panose="020B0604020202020204" pitchFamily="34" charset="0"/>
              <a:buChar char="•"/>
            </a:pPr>
            <a:r>
              <a:rPr lang="en-US" sz="2400" dirty="0">
                <a:latin typeface="+mj-lt"/>
              </a:rPr>
              <a:t>Separates storage and compute for elastic scale </a:t>
            </a:r>
          </a:p>
          <a:p>
            <a:pPr marL="342900" indent="-342900">
              <a:lnSpc>
                <a:spcPct val="90000"/>
              </a:lnSpc>
              <a:spcAft>
                <a:spcPts val="600"/>
              </a:spcAft>
              <a:buClr>
                <a:srgbClr val="107C10"/>
              </a:buClr>
              <a:buFont typeface="Arial" panose="020B0604020202020204" pitchFamily="34" charset="0"/>
              <a:buChar char="•"/>
            </a:pPr>
            <a:r>
              <a:rPr lang="en-US" sz="2400" dirty="0">
                <a:latin typeface="+mj-lt"/>
              </a:rPr>
              <a:t>Enables pause/resume approach for ad-hoc workloads</a:t>
            </a:r>
          </a:p>
        </p:txBody>
      </p:sp>
      <p:sp>
        <p:nvSpPr>
          <p:cNvPr id="3" name="Rectangle 2"/>
          <p:cNvSpPr/>
          <p:nvPr/>
        </p:nvSpPr>
        <p:spPr bwMode="auto">
          <a:xfrm>
            <a:off x="503236" y="4235348"/>
            <a:ext cx="2362200" cy="1920240"/>
          </a:xfrm>
          <a:prstGeom prst="rect">
            <a:avLst/>
          </a:prstGeom>
          <a:solidFill>
            <a:srgbClr val="672A7B"/>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solidFill>
                  <a:schemeClr val="tx1"/>
                </a:solidFill>
                <a:latin typeface="+mj-lt"/>
              </a:rPr>
              <a:t>Disadvantages</a:t>
            </a:r>
          </a:p>
        </p:txBody>
      </p:sp>
      <p:sp>
        <p:nvSpPr>
          <p:cNvPr id="8" name="TextBox 7"/>
          <p:cNvSpPr txBox="1"/>
          <p:nvPr/>
        </p:nvSpPr>
        <p:spPr>
          <a:xfrm>
            <a:off x="2971799" y="4259262"/>
            <a:ext cx="9113838" cy="1855893"/>
          </a:xfrm>
          <a:prstGeom prst="rect">
            <a:avLst/>
          </a:prstGeom>
          <a:noFill/>
        </p:spPr>
        <p:txBody>
          <a:bodyPr wrap="square" lIns="182880" tIns="146304" rIns="182880" bIns="146304" rtlCol="0">
            <a:spAutoFit/>
          </a:bodyPr>
          <a:lstStyle/>
          <a:p>
            <a:pPr marL="342900" indent="-342900">
              <a:lnSpc>
                <a:spcPct val="90000"/>
              </a:lnSpc>
              <a:spcAft>
                <a:spcPts val="600"/>
              </a:spcAft>
              <a:buClr>
                <a:srgbClr val="672A7B"/>
              </a:buClr>
              <a:buFont typeface="Arial" panose="020B0604020202020204" pitchFamily="34" charset="0"/>
              <a:buChar char="•"/>
            </a:pPr>
            <a:r>
              <a:rPr lang="en-US" sz="2400" dirty="0">
                <a:latin typeface="+mj-lt"/>
              </a:rPr>
              <a:t>Lacks maturity </a:t>
            </a:r>
          </a:p>
          <a:p>
            <a:pPr marL="342900" indent="-342900">
              <a:lnSpc>
                <a:spcPct val="90000"/>
              </a:lnSpc>
              <a:spcAft>
                <a:spcPts val="600"/>
              </a:spcAft>
              <a:buClr>
                <a:srgbClr val="672A7B"/>
              </a:buClr>
              <a:buFont typeface="Arial" panose="020B0604020202020204" pitchFamily="34" charset="0"/>
              <a:buChar char="•"/>
            </a:pPr>
            <a:r>
              <a:rPr lang="en-US" sz="2400" dirty="0">
                <a:latin typeface="+mj-lt"/>
              </a:rPr>
              <a:t>Slightly different codebase support than APS and </a:t>
            </a:r>
            <a:r>
              <a:rPr lang="en-US" sz="2400" spc="-50" dirty="0">
                <a:latin typeface="+mj-lt"/>
              </a:rPr>
              <a:t>SQL Server</a:t>
            </a:r>
          </a:p>
          <a:p>
            <a:pPr marL="342900" indent="-342900">
              <a:lnSpc>
                <a:spcPct val="90000"/>
              </a:lnSpc>
              <a:spcAft>
                <a:spcPts val="600"/>
              </a:spcAft>
              <a:buClr>
                <a:srgbClr val="672A7B"/>
              </a:buClr>
              <a:buFont typeface="Arial" panose="020B0604020202020204" pitchFamily="34" charset="0"/>
              <a:buChar char="•"/>
            </a:pPr>
            <a:r>
              <a:rPr lang="en-US" sz="2400" dirty="0">
                <a:latin typeface="+mj-lt"/>
              </a:rPr>
              <a:t>Different architecture to APS but shares same MPP engine</a:t>
            </a:r>
          </a:p>
          <a:p>
            <a:pPr marL="342900" indent="-342900">
              <a:lnSpc>
                <a:spcPct val="90000"/>
              </a:lnSpc>
              <a:spcAft>
                <a:spcPts val="600"/>
              </a:spcAft>
              <a:buClr>
                <a:srgbClr val="672A7B"/>
              </a:buClr>
              <a:buFont typeface="Arial" panose="020B0604020202020204" pitchFamily="34" charset="0"/>
              <a:buChar char="•"/>
            </a:pPr>
            <a:r>
              <a:rPr lang="en-US" sz="2400" dirty="0">
                <a:latin typeface="+mj-lt"/>
              </a:rPr>
              <a:t>It is </a:t>
            </a:r>
            <a:r>
              <a:rPr lang="en-US" sz="2400" u="sng" dirty="0">
                <a:latin typeface="+mj-lt"/>
              </a:rPr>
              <a:t>not</a:t>
            </a:r>
            <a:r>
              <a:rPr lang="en-US" sz="2400" dirty="0">
                <a:latin typeface="+mj-lt"/>
              </a:rPr>
              <a:t> APS in the cloud</a:t>
            </a:r>
          </a:p>
        </p:txBody>
      </p:sp>
    </p:spTree>
    <p:extLst>
      <p:ext uri="{BB962C8B-B14F-4D97-AF65-F5344CB8AC3E}">
        <p14:creationId xmlns:p14="http://schemas.microsoft.com/office/powerpoint/2010/main" val="2835114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wipe(left)">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wipe(left)">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
                                            <p:txEl>
                                              <p:pRg st="0" end="0"/>
                                            </p:txEl>
                                          </p:spTgt>
                                        </p:tgtEl>
                                        <p:attrNameLst>
                                          <p:attrName>style.visibility</p:attrName>
                                        </p:attrNameLst>
                                      </p:cBhvr>
                                      <p:to>
                                        <p:strVal val="visible"/>
                                      </p:to>
                                    </p:set>
                                    <p:animEffect transition="in" filter="wipe(left)">
                                      <p:cBhvr>
                                        <p:cTn id="22" dur="500"/>
                                        <p:tgtEl>
                                          <p:spTgt spid="8">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animEffect transition="in" filter="wipe(left)">
                                      <p:cBhvr>
                                        <p:cTn id="27" dur="500"/>
                                        <p:tgtEl>
                                          <p:spTgt spid="8">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8">
                                            <p:txEl>
                                              <p:pRg st="2" end="2"/>
                                            </p:txEl>
                                          </p:spTgt>
                                        </p:tgtEl>
                                        <p:attrNameLst>
                                          <p:attrName>style.visibility</p:attrName>
                                        </p:attrNameLst>
                                      </p:cBhvr>
                                      <p:to>
                                        <p:strVal val="visible"/>
                                      </p:to>
                                    </p:set>
                                    <p:animEffect transition="in" filter="wipe(left)">
                                      <p:cBhvr>
                                        <p:cTn id="32" dur="500"/>
                                        <p:tgtEl>
                                          <p:spTgt spid="8">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8">
                                            <p:txEl>
                                              <p:pRg st="3" end="3"/>
                                            </p:txEl>
                                          </p:spTgt>
                                        </p:tgtEl>
                                        <p:attrNameLst>
                                          <p:attrName>style.visibility</p:attrName>
                                        </p:attrNameLst>
                                      </p:cBhvr>
                                      <p:to>
                                        <p:strVal val="visible"/>
                                      </p:to>
                                    </p:set>
                                    <p:animEffect transition="in" filter="wipe(left)">
                                      <p:cBhvr>
                                        <p:cTn id="3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solidFill>
                  <a:schemeClr val="tx1"/>
                </a:solidFill>
              </a:rPr>
              <a:t>Nuances</a:t>
            </a:r>
          </a:p>
        </p:txBody>
      </p:sp>
      <p:sp>
        <p:nvSpPr>
          <p:cNvPr id="3" name="Text Placeholder 5"/>
          <p:cNvSpPr txBox="1">
            <a:spLocks/>
          </p:cNvSpPr>
          <p:nvPr/>
        </p:nvSpPr>
        <p:spPr>
          <a:xfrm>
            <a:off x="348473" y="1590637"/>
            <a:ext cx="11889564" cy="518322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Architecture</a:t>
            </a:r>
          </a:p>
          <a:p>
            <a:pPr marL="215900" lvl="2" indent="0">
              <a:buClrTx/>
              <a:buFont typeface="Arial" panose="020B0604020202020204" pitchFamily="34" charset="0"/>
              <a:buChar char="•"/>
            </a:pPr>
            <a:r>
              <a:rPr lang="en-US" sz="2000" dirty="0">
                <a:solidFill>
                  <a:schemeClr val="tx1"/>
                </a:solidFill>
              </a:rPr>
              <a:t> APS adopts scale unit</a:t>
            </a:r>
          </a:p>
          <a:p>
            <a:pPr marL="215900" lvl="2" indent="0">
              <a:buClrTx/>
              <a:buFont typeface="Arial" panose="020B0604020202020204" pitchFamily="34" charset="0"/>
              <a:buChar char="•"/>
            </a:pPr>
            <a:r>
              <a:rPr lang="en-US" sz="2000" dirty="0">
                <a:solidFill>
                  <a:schemeClr val="tx1"/>
                </a:solidFill>
              </a:rPr>
              <a:t> SQL DW uses Azure SQL DB instances</a:t>
            </a:r>
          </a:p>
          <a:p>
            <a:pPr marL="0" indent="0">
              <a:spcBef>
                <a:spcPts val="2400"/>
              </a:spcBef>
              <a:buNone/>
            </a:pPr>
            <a:r>
              <a:rPr lang="en-US" dirty="0">
                <a:solidFill>
                  <a:schemeClr val="tx1"/>
                </a:solidFill>
              </a:rPr>
              <a:t>Codebase</a:t>
            </a:r>
          </a:p>
          <a:p>
            <a:pPr marL="215900" lvl="2" indent="0">
              <a:buFont typeface="Arial" panose="020B0604020202020204" pitchFamily="34" charset="0"/>
              <a:buChar char="•"/>
            </a:pPr>
            <a:r>
              <a:rPr lang="en-US" sz="2000" dirty="0">
                <a:solidFill>
                  <a:schemeClr val="tx1"/>
                </a:solidFill>
              </a:rPr>
              <a:t> APS adopts a good % of T-SQL compatibility as does SQL DW </a:t>
            </a:r>
          </a:p>
          <a:p>
            <a:pPr marL="215900" lvl="2" indent="0">
              <a:buFont typeface="Arial" panose="020B0604020202020204" pitchFamily="34" charset="0"/>
              <a:buChar char="•"/>
            </a:pPr>
            <a:r>
              <a:rPr lang="en-US" sz="2000" dirty="0">
                <a:solidFill>
                  <a:schemeClr val="tx1"/>
                </a:solidFill>
              </a:rPr>
              <a:t> Portability of a common codebase can be achieved</a:t>
            </a:r>
          </a:p>
          <a:p>
            <a:pPr marL="215900" lvl="2" indent="0">
              <a:buFont typeface="Arial" panose="020B0604020202020204" pitchFamily="34" charset="0"/>
              <a:buChar char="•"/>
            </a:pPr>
            <a:r>
              <a:rPr lang="en-US" sz="2000" dirty="0">
                <a:solidFill>
                  <a:schemeClr val="tx1"/>
                </a:solidFill>
              </a:rPr>
              <a:t> Roadmap - as SQL DW matures, more features and capabilities will be introduced</a:t>
            </a:r>
          </a:p>
          <a:p>
            <a:pPr marL="0" indent="0">
              <a:spcBef>
                <a:spcPts val="2400"/>
              </a:spcBef>
              <a:buNone/>
            </a:pPr>
            <a:r>
              <a:rPr lang="en-US" dirty="0">
                <a:solidFill>
                  <a:schemeClr val="tx1"/>
                </a:solidFill>
              </a:rPr>
              <a:t>Use case</a:t>
            </a:r>
          </a:p>
          <a:p>
            <a:pPr marL="215900" lvl="2" indent="0">
              <a:buFont typeface="Arial" panose="020B0604020202020204" pitchFamily="34" charset="0"/>
              <a:buChar char="•"/>
            </a:pPr>
            <a:r>
              <a:rPr lang="en-US" sz="2000" dirty="0">
                <a:solidFill>
                  <a:schemeClr val="tx1"/>
                </a:solidFill>
              </a:rPr>
              <a:t> APS is a production and enterprise ready (hot data) platform</a:t>
            </a:r>
          </a:p>
          <a:p>
            <a:pPr marL="215900" lvl="2" indent="0">
              <a:buFont typeface="Arial" panose="020B0604020202020204" pitchFamily="34" charset="0"/>
              <a:buChar char="•"/>
            </a:pPr>
            <a:r>
              <a:rPr lang="en-US" sz="2000" dirty="0">
                <a:solidFill>
                  <a:schemeClr val="tx1"/>
                </a:solidFill>
              </a:rPr>
              <a:t> SQL DW has yet to mature into a production ready platform</a:t>
            </a:r>
          </a:p>
        </p:txBody>
      </p:sp>
    </p:spTree>
    <p:extLst>
      <p:ext uri="{BB962C8B-B14F-4D97-AF65-F5344CB8AC3E}">
        <p14:creationId xmlns:p14="http://schemas.microsoft.com/office/powerpoint/2010/main" val="3043511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Is Azure SQL Data Warehouse complimentary to Analytics Platform System?</a:t>
            </a:r>
          </a:p>
        </p:txBody>
      </p:sp>
      <p:sp>
        <p:nvSpPr>
          <p:cNvPr id="4" name="TextBox 3"/>
          <p:cNvSpPr txBox="1"/>
          <p:nvPr/>
        </p:nvSpPr>
        <p:spPr>
          <a:xfrm>
            <a:off x="3381563" y="2201862"/>
            <a:ext cx="5675716" cy="2594556"/>
          </a:xfrm>
          <a:prstGeom prst="rect">
            <a:avLst/>
          </a:prstGeom>
          <a:noFill/>
        </p:spPr>
        <p:txBody>
          <a:bodyPr wrap="square" lIns="182880" tIns="146304" rIns="182880" bIns="146304" rtlCol="0">
            <a:spAutoFit/>
          </a:bodyPr>
          <a:lstStyle/>
          <a:p>
            <a:pPr algn="ctr">
              <a:lnSpc>
                <a:spcPct val="90000"/>
              </a:lnSpc>
              <a:spcAft>
                <a:spcPts val="600"/>
              </a:spcAft>
            </a:pPr>
            <a:r>
              <a:rPr lang="en-US" sz="16600" dirty="0">
                <a:gradFill>
                  <a:gsLst>
                    <a:gs pos="2917">
                      <a:schemeClr val="tx1"/>
                    </a:gs>
                    <a:gs pos="30000">
                      <a:schemeClr val="tx1"/>
                    </a:gs>
                  </a:gsLst>
                  <a:lin ang="5400000" scaled="0"/>
                </a:gradFill>
              </a:rPr>
              <a:t>YES</a:t>
            </a:r>
          </a:p>
        </p:txBody>
      </p:sp>
      <p:sp>
        <p:nvSpPr>
          <p:cNvPr id="5" name="Title 1"/>
          <p:cNvSpPr txBox="1">
            <a:spLocks/>
          </p:cNvSpPr>
          <p:nvPr/>
        </p:nvSpPr>
        <p:spPr>
          <a:xfrm>
            <a:off x="274639" y="5021262"/>
            <a:ext cx="11889564" cy="10699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dirty="0">
                <a:solidFill>
                  <a:schemeClr val="tx1"/>
                </a:solidFill>
              </a:rPr>
              <a:t>Why? SQL DW enables customers with an APS-based workload or dataset to leverage a cloud-based MPP engine and cloud-based analytics and support a hybrid architecture or eco-system.</a:t>
            </a:r>
          </a:p>
        </p:txBody>
      </p:sp>
    </p:spTree>
    <p:extLst>
      <p:ext uri="{BB962C8B-B14F-4D97-AF65-F5344CB8AC3E}">
        <p14:creationId xmlns:p14="http://schemas.microsoft.com/office/powerpoint/2010/main" val="3480442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6" presetClass="emph" presetSubtype="0" fill="hold" grpId="1" nodeType="withEffect">
                                  <p:stCondLst>
                                    <p:cond delay="0"/>
                                  </p:stCondLst>
                                  <p:childTnLst>
                                    <p:animEffect transition="out" filter="fade">
                                      <p:cBhvr>
                                        <p:cTn id="9" dur="500" tmFilter="0, 0; .2, .5; .8, .5; 1, 0"/>
                                        <p:tgtEl>
                                          <p:spTgt spid="4"/>
                                        </p:tgtEl>
                                      </p:cBhvr>
                                    </p:animEffect>
                                    <p:animScale>
                                      <p:cBhvr>
                                        <p:cTn id="10" dur="250" autoRev="1" fill="hold"/>
                                        <p:tgtEl>
                                          <p:spTgt spid="4"/>
                                        </p:tgtEl>
                                      </p:cBhvr>
                                      <p:by x="105000" y="105000"/>
                                    </p:animScale>
                                  </p:childTnLst>
                                </p:cTn>
                              </p:par>
                            </p:childTnLst>
                          </p:cTn>
                        </p:par>
                        <p:par>
                          <p:cTn id="11" fill="hold">
                            <p:stCondLst>
                              <p:cond delay="500"/>
                            </p:stCondLst>
                            <p:childTnLst>
                              <p:par>
                                <p:cTn id="12" presetID="22" presetClass="entr" presetSubtype="8" fill="hold" grpId="0" nodeType="afterEffect">
                                  <p:stCondLst>
                                    <p:cond delay="25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sz="4800" dirty="0"/>
              <a:t>Will Azure SQL Data Warehouse replace Parallel Data Warehouse (APS)?</a:t>
            </a:r>
          </a:p>
        </p:txBody>
      </p:sp>
      <p:sp>
        <p:nvSpPr>
          <p:cNvPr id="4" name="TextBox 3"/>
          <p:cNvSpPr txBox="1"/>
          <p:nvPr/>
        </p:nvSpPr>
        <p:spPr>
          <a:xfrm>
            <a:off x="3381563" y="2049462"/>
            <a:ext cx="5675716" cy="2594556"/>
          </a:xfrm>
          <a:prstGeom prst="rect">
            <a:avLst/>
          </a:prstGeom>
          <a:noFill/>
        </p:spPr>
        <p:txBody>
          <a:bodyPr wrap="square" lIns="182880" tIns="146304" rIns="182880" bIns="146304" rtlCol="0">
            <a:spAutoFit/>
          </a:bodyPr>
          <a:lstStyle/>
          <a:p>
            <a:pPr algn="ctr">
              <a:lnSpc>
                <a:spcPct val="90000"/>
              </a:lnSpc>
              <a:spcAft>
                <a:spcPts val="600"/>
              </a:spcAft>
            </a:pPr>
            <a:r>
              <a:rPr lang="en-US" sz="16600" dirty="0">
                <a:gradFill>
                  <a:gsLst>
                    <a:gs pos="2917">
                      <a:schemeClr val="tx1"/>
                    </a:gs>
                    <a:gs pos="30000">
                      <a:schemeClr val="tx1"/>
                    </a:gs>
                  </a:gsLst>
                  <a:lin ang="5400000" scaled="0"/>
                </a:gradFill>
              </a:rPr>
              <a:t>NO</a:t>
            </a:r>
          </a:p>
        </p:txBody>
      </p:sp>
      <p:sp>
        <p:nvSpPr>
          <p:cNvPr id="5" name="Title 1"/>
          <p:cNvSpPr txBox="1">
            <a:spLocks/>
          </p:cNvSpPr>
          <p:nvPr/>
        </p:nvSpPr>
        <p:spPr>
          <a:xfrm>
            <a:off x="274639" y="4415418"/>
            <a:ext cx="11889564" cy="182721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chemeClr val="tx1"/>
                </a:solidFill>
              </a:rPr>
              <a:t>Why?  We offer two SQL Server MPP offerings; one in the cloud and one on-premises.  APS has roadmap beyond AU4 (AU5 is nearing release). This is very important to articulate.</a:t>
            </a:r>
          </a:p>
        </p:txBody>
      </p:sp>
    </p:spTree>
    <p:extLst>
      <p:ext uri="{BB962C8B-B14F-4D97-AF65-F5344CB8AC3E}">
        <p14:creationId xmlns:p14="http://schemas.microsoft.com/office/powerpoint/2010/main" val="4115783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6" presetClass="emph" presetSubtype="0" fill="hold" grpId="1" nodeType="withEffect">
                                  <p:stCondLst>
                                    <p:cond delay="0"/>
                                  </p:stCondLst>
                                  <p:childTnLst>
                                    <p:animEffect transition="out" filter="fade">
                                      <p:cBhvr>
                                        <p:cTn id="9" dur="500" tmFilter="0, 0; .2, .5; .8, .5; 1, 0"/>
                                        <p:tgtEl>
                                          <p:spTgt spid="4"/>
                                        </p:tgtEl>
                                      </p:cBhvr>
                                    </p:animEffect>
                                    <p:animScale>
                                      <p:cBhvr>
                                        <p:cTn id="10" dur="250" autoRev="1" fill="hold"/>
                                        <p:tgtEl>
                                          <p:spTgt spid="4"/>
                                        </p:tgtEl>
                                      </p:cBhvr>
                                      <p:by x="105000" y="105000"/>
                                    </p:animScale>
                                  </p:childTnLst>
                                </p:cTn>
                              </p:par>
                            </p:childTnLst>
                          </p:cTn>
                        </p:par>
                        <p:par>
                          <p:cTn id="11" fill="hold">
                            <p:stCondLst>
                              <p:cond delay="500"/>
                            </p:stCondLst>
                            <p:childTnLst>
                              <p:par>
                                <p:cTn id="12" presetID="22" presetClass="entr" presetSubtype="8" fill="hold" grpId="0" nodeType="afterEffect">
                                  <p:stCondLst>
                                    <p:cond delay="25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10998" cy="917575"/>
          </a:xfrm>
        </p:spPr>
        <p:txBody>
          <a:bodyPr/>
          <a:lstStyle/>
          <a:p>
            <a:r>
              <a:rPr lang="en-US" sz="4800" dirty="0"/>
              <a:t>Is Azure SQL Data Warehouse pitched as the equivalent of “APS in the cloud”?</a:t>
            </a:r>
          </a:p>
        </p:txBody>
      </p:sp>
      <p:sp>
        <p:nvSpPr>
          <p:cNvPr id="4" name="TextBox 3"/>
          <p:cNvSpPr txBox="1"/>
          <p:nvPr/>
        </p:nvSpPr>
        <p:spPr>
          <a:xfrm>
            <a:off x="3381563" y="2125662"/>
            <a:ext cx="5675716" cy="2594556"/>
          </a:xfrm>
          <a:prstGeom prst="rect">
            <a:avLst/>
          </a:prstGeom>
          <a:noFill/>
        </p:spPr>
        <p:txBody>
          <a:bodyPr wrap="square" lIns="182880" tIns="146304" rIns="182880" bIns="146304" rtlCol="0">
            <a:spAutoFit/>
          </a:bodyPr>
          <a:lstStyle/>
          <a:p>
            <a:pPr algn="ctr">
              <a:lnSpc>
                <a:spcPct val="90000"/>
              </a:lnSpc>
              <a:spcAft>
                <a:spcPts val="600"/>
              </a:spcAft>
            </a:pPr>
            <a:r>
              <a:rPr lang="en-US" sz="16600" dirty="0">
                <a:gradFill>
                  <a:gsLst>
                    <a:gs pos="2917">
                      <a:schemeClr val="tx1"/>
                    </a:gs>
                    <a:gs pos="30000">
                      <a:schemeClr val="tx1"/>
                    </a:gs>
                  </a:gsLst>
                  <a:lin ang="5400000" scaled="0"/>
                </a:gradFill>
              </a:rPr>
              <a:t>NO</a:t>
            </a:r>
          </a:p>
        </p:txBody>
      </p:sp>
      <p:sp>
        <p:nvSpPr>
          <p:cNvPr id="5" name="Title 1"/>
          <p:cNvSpPr txBox="1">
            <a:spLocks/>
          </p:cNvSpPr>
          <p:nvPr/>
        </p:nvSpPr>
        <p:spPr>
          <a:xfrm>
            <a:off x="274639" y="5142586"/>
            <a:ext cx="11889564" cy="110004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chemeClr val="tx1"/>
                </a:solidFill>
              </a:rPr>
              <a:t>Why?  Architecture, surface area, networking, DMV’s differ.</a:t>
            </a:r>
          </a:p>
        </p:txBody>
      </p:sp>
    </p:spTree>
    <p:extLst>
      <p:ext uri="{BB962C8B-B14F-4D97-AF65-F5344CB8AC3E}">
        <p14:creationId xmlns:p14="http://schemas.microsoft.com/office/powerpoint/2010/main" val="1004799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6" presetClass="emph" presetSubtype="0" fill="hold" grpId="1" nodeType="withEffect">
                                  <p:stCondLst>
                                    <p:cond delay="0"/>
                                  </p:stCondLst>
                                  <p:childTnLst>
                                    <p:animEffect transition="out" filter="fade">
                                      <p:cBhvr>
                                        <p:cTn id="9" dur="500" tmFilter="0, 0; .2, .5; .8, .5; 1, 0"/>
                                        <p:tgtEl>
                                          <p:spTgt spid="4"/>
                                        </p:tgtEl>
                                      </p:cBhvr>
                                    </p:animEffect>
                                    <p:animScale>
                                      <p:cBhvr>
                                        <p:cTn id="10" dur="250" autoRev="1" fill="hold"/>
                                        <p:tgtEl>
                                          <p:spTgt spid="4"/>
                                        </p:tgtEl>
                                      </p:cBhvr>
                                      <p:by x="105000" y="105000"/>
                                    </p:animScale>
                                  </p:childTnLst>
                                </p:cTn>
                              </p:par>
                            </p:childTnLst>
                          </p:cTn>
                        </p:par>
                        <p:par>
                          <p:cTn id="11" fill="hold">
                            <p:stCondLst>
                              <p:cond delay="500"/>
                            </p:stCondLst>
                            <p:childTnLst>
                              <p:par>
                                <p:cTn id="12" presetID="22" presetClass="entr" presetSubtype="8" fill="hold" grpId="0" nodeType="afterEffect">
                                  <p:stCondLst>
                                    <p:cond delay="25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9312556" cy="917575"/>
          </a:xfrm>
        </p:spPr>
        <p:txBody>
          <a:bodyPr/>
          <a:lstStyle/>
          <a:p>
            <a:r>
              <a:rPr lang="en-US" dirty="0">
                <a:solidFill>
                  <a:schemeClr val="tx1"/>
                </a:solidFill>
              </a:rPr>
              <a:t>So what do SQL DW and APS have in common?</a:t>
            </a:r>
          </a:p>
        </p:txBody>
      </p:sp>
      <p:sp>
        <p:nvSpPr>
          <p:cNvPr id="3" name="Rectangle 2"/>
          <p:cNvSpPr/>
          <p:nvPr/>
        </p:nvSpPr>
        <p:spPr bwMode="auto">
          <a:xfrm>
            <a:off x="579437" y="2506662"/>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91440" rIns="91440" bIns="46637" numCol="1" rtlCol="0" anchor="t"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Massively parallel processing engine</a:t>
            </a:r>
          </a:p>
        </p:txBody>
      </p:sp>
      <p:sp>
        <p:nvSpPr>
          <p:cNvPr id="4" name="Rectangle 3"/>
          <p:cNvSpPr/>
          <p:nvPr/>
        </p:nvSpPr>
        <p:spPr bwMode="auto">
          <a:xfrm>
            <a:off x="2197099" y="4687348"/>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6637" rIns="91440" bIns="91440" numCol="1" rtlCol="0" anchor="b"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Scan intensive workloads</a:t>
            </a:r>
          </a:p>
        </p:txBody>
      </p:sp>
      <p:sp>
        <p:nvSpPr>
          <p:cNvPr id="5" name="Rectangle 4"/>
          <p:cNvSpPr/>
          <p:nvPr/>
        </p:nvSpPr>
        <p:spPr bwMode="auto">
          <a:xfrm>
            <a:off x="3779837" y="2506662"/>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91440" rIns="91440" bIns="46637" numCol="1" rtlCol="0" anchor="t"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Part of the SQL Server family</a:t>
            </a:r>
          </a:p>
        </p:txBody>
      </p:sp>
      <p:sp>
        <p:nvSpPr>
          <p:cNvPr id="6" name="Rectangle 5"/>
          <p:cNvSpPr/>
          <p:nvPr/>
        </p:nvSpPr>
        <p:spPr bwMode="auto">
          <a:xfrm>
            <a:off x="5395911" y="4687348"/>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6637" rIns="91440" bIns="91440" numCol="1" rtlCol="0" anchor="b" anchorCtr="0" compatLnSpc="1">
            <a:prstTxWarp prst="textNoShape">
              <a:avLst/>
            </a:prstTxWarp>
          </a:bodyPr>
          <a:lstStyle/>
          <a:p>
            <a:pPr defTabSz="932472" fontAlgn="base">
              <a:spcBef>
                <a:spcPct val="0"/>
              </a:spcBef>
              <a:spcAft>
                <a:spcPct val="0"/>
              </a:spcAft>
            </a:pPr>
            <a:r>
              <a:rPr lang="en-US" sz="2000" dirty="0" err="1">
                <a:solidFill>
                  <a:schemeClr val="tx1"/>
                </a:solidFill>
                <a:latin typeface="+mj-lt"/>
              </a:rPr>
              <a:t>PolyBase</a:t>
            </a:r>
            <a:r>
              <a:rPr lang="en-US" sz="2000" dirty="0">
                <a:solidFill>
                  <a:schemeClr val="tx1"/>
                </a:solidFill>
                <a:latin typeface="+mj-lt"/>
              </a:rPr>
              <a:t> enabled</a:t>
            </a:r>
          </a:p>
        </p:txBody>
      </p:sp>
      <p:sp>
        <p:nvSpPr>
          <p:cNvPr id="7" name="Rectangle 6"/>
          <p:cNvSpPr/>
          <p:nvPr/>
        </p:nvSpPr>
        <p:spPr bwMode="auto">
          <a:xfrm>
            <a:off x="6977061" y="2506662"/>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91440" rIns="91440" bIns="46637" numCol="1" rtlCol="0" anchor="t"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Traditional analytical workloads</a:t>
            </a:r>
          </a:p>
        </p:txBody>
      </p:sp>
      <p:sp>
        <p:nvSpPr>
          <p:cNvPr id="8" name="Rectangle 7"/>
          <p:cNvSpPr/>
          <p:nvPr/>
        </p:nvSpPr>
        <p:spPr bwMode="auto">
          <a:xfrm>
            <a:off x="8593135" y="4687348"/>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6637" rIns="91440" bIns="91440" numCol="1" rtlCol="0" anchor="b"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Interactive reporting support</a:t>
            </a:r>
          </a:p>
        </p:txBody>
      </p:sp>
      <p:sp>
        <p:nvSpPr>
          <p:cNvPr id="9" name="Rectangle 8"/>
          <p:cNvSpPr/>
          <p:nvPr/>
        </p:nvSpPr>
        <p:spPr bwMode="auto">
          <a:xfrm>
            <a:off x="10174285" y="2506662"/>
            <a:ext cx="1435127" cy="1524000"/>
          </a:xfrm>
          <a:prstGeom prst="rect">
            <a:avLst/>
          </a:prstGeom>
          <a:solidFill>
            <a:schemeClr val="bg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91440" rIns="0" bIns="46637" numCol="1" rtlCol="0" anchor="t" anchorCtr="0" compatLnSpc="1">
            <a:prstTxWarp prst="textNoShape">
              <a:avLst/>
            </a:prstTxWarp>
          </a:bodyPr>
          <a:lstStyle/>
          <a:p>
            <a:pPr defTabSz="932472" fontAlgn="base">
              <a:spcBef>
                <a:spcPct val="0"/>
              </a:spcBef>
              <a:spcAft>
                <a:spcPct val="0"/>
              </a:spcAft>
            </a:pPr>
            <a:r>
              <a:rPr lang="en-US" sz="2000" dirty="0">
                <a:solidFill>
                  <a:schemeClr val="tx1"/>
                </a:solidFill>
                <a:latin typeface="+mj-lt"/>
              </a:rPr>
              <a:t>High </a:t>
            </a:r>
            <a:r>
              <a:rPr lang="en-US" sz="2000" spc="-50" dirty="0">
                <a:solidFill>
                  <a:schemeClr val="tx1"/>
                </a:solidFill>
                <a:latin typeface="+mj-lt"/>
              </a:rPr>
              <a:t>performance</a:t>
            </a:r>
            <a:r>
              <a:rPr lang="en-US" sz="2000" dirty="0">
                <a:solidFill>
                  <a:schemeClr val="tx1"/>
                </a:solidFill>
                <a:latin typeface="+mj-lt"/>
              </a:rPr>
              <a:t> compute</a:t>
            </a:r>
          </a:p>
        </p:txBody>
      </p:sp>
      <p:sp>
        <p:nvSpPr>
          <p:cNvPr id="12" name="Rectangle 11"/>
          <p:cNvSpPr/>
          <p:nvPr/>
        </p:nvSpPr>
        <p:spPr bwMode="auto">
          <a:xfrm>
            <a:off x="0" y="4030662"/>
            <a:ext cx="12436475" cy="656686"/>
          </a:xfrm>
          <a:prstGeom prst="rect">
            <a:avLst/>
          </a:prstGeom>
          <a:solidFill>
            <a:schemeClr val="tx1">
              <a:lumMod val="50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10" name="Freeform 15"/>
          <p:cNvSpPr>
            <a:spLocks noEditPoints="1"/>
          </p:cNvSpPr>
          <p:nvPr/>
        </p:nvSpPr>
        <p:spPr bwMode="black">
          <a:xfrm>
            <a:off x="1049285" y="4097580"/>
            <a:ext cx="495429" cy="4959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1" name="Freeform 79"/>
          <p:cNvSpPr>
            <a:spLocks noEditPoints="1"/>
          </p:cNvSpPr>
          <p:nvPr/>
        </p:nvSpPr>
        <p:spPr bwMode="black">
          <a:xfrm>
            <a:off x="2714585" y="4087653"/>
            <a:ext cx="400154" cy="5409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3" name="Freeform 73"/>
          <p:cNvSpPr>
            <a:spLocks noEditPoints="1"/>
          </p:cNvSpPr>
          <p:nvPr/>
        </p:nvSpPr>
        <p:spPr bwMode="black">
          <a:xfrm>
            <a:off x="5842655" y="4105733"/>
            <a:ext cx="541637" cy="5228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 name="Freeform 23"/>
          <p:cNvSpPr>
            <a:spLocks noEditPoints="1"/>
          </p:cNvSpPr>
          <p:nvPr/>
        </p:nvSpPr>
        <p:spPr bwMode="black">
          <a:xfrm>
            <a:off x="7448794" y="4121406"/>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5" name="Freeform 15"/>
          <p:cNvSpPr>
            <a:spLocks noEditPoints="1"/>
          </p:cNvSpPr>
          <p:nvPr/>
        </p:nvSpPr>
        <p:spPr bwMode="black">
          <a:xfrm>
            <a:off x="10619474" y="4118786"/>
            <a:ext cx="544748"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6" name="Group 15"/>
          <p:cNvGrpSpPr/>
          <p:nvPr/>
        </p:nvGrpSpPr>
        <p:grpSpPr bwMode="black">
          <a:xfrm>
            <a:off x="9043326" y="4097580"/>
            <a:ext cx="543869" cy="534696"/>
            <a:chOff x="2057400" y="2063082"/>
            <a:chExt cx="1338263" cy="1316037"/>
          </a:xfrm>
          <a:solidFill>
            <a:schemeClr val="tx1"/>
          </a:solidFill>
        </p:grpSpPr>
        <p:sp>
          <p:nvSpPr>
            <p:cNvPr id="17" name="Freeform 139"/>
            <p:cNvSpPr>
              <a:spLocks noEditPoints="1"/>
            </p:cNvSpPr>
            <p:nvPr/>
          </p:nvSpPr>
          <p:spPr bwMode="black">
            <a:xfrm>
              <a:off x="2057400" y="2434557"/>
              <a:ext cx="1338263" cy="633412"/>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40"/>
            <p:cNvSpPr>
              <a:spLocks noEditPoints="1"/>
            </p:cNvSpPr>
            <p:nvPr/>
          </p:nvSpPr>
          <p:spPr bwMode="black">
            <a:xfrm>
              <a:off x="2379663" y="2756819"/>
              <a:ext cx="693738" cy="622300"/>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Rectangle 141"/>
            <p:cNvSpPr>
              <a:spLocks noChangeArrowheads="1"/>
            </p:cNvSpPr>
            <p:nvPr/>
          </p:nvSpPr>
          <p:spPr bwMode="black">
            <a:xfrm>
              <a:off x="2538413" y="2858419"/>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Rectangle 142"/>
            <p:cNvSpPr>
              <a:spLocks noChangeArrowheads="1"/>
            </p:cNvSpPr>
            <p:nvPr/>
          </p:nvSpPr>
          <p:spPr bwMode="black">
            <a:xfrm>
              <a:off x="2538413" y="2996532"/>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43"/>
            <p:cNvSpPr>
              <a:spLocks/>
            </p:cNvSpPr>
            <p:nvPr/>
          </p:nvSpPr>
          <p:spPr bwMode="black">
            <a:xfrm>
              <a:off x="2320925" y="2063082"/>
              <a:ext cx="815975" cy="311150"/>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2" name="Freeform 13"/>
          <p:cNvSpPr>
            <a:spLocks noEditPoints="1"/>
          </p:cNvSpPr>
          <p:nvPr/>
        </p:nvSpPr>
        <p:spPr bwMode="auto">
          <a:xfrm>
            <a:off x="4276448" y="4087653"/>
            <a:ext cx="441903" cy="549352"/>
          </a:xfrm>
          <a:custGeom>
            <a:avLst/>
            <a:gdLst>
              <a:gd name="T0" fmla="*/ 113 w 225"/>
              <a:gd name="T1" fmla="*/ 12 h 268"/>
              <a:gd name="T2" fmla="*/ 205 w 225"/>
              <a:gd name="T3" fmla="*/ 39 h 268"/>
              <a:gd name="T4" fmla="*/ 113 w 225"/>
              <a:gd name="T5" fmla="*/ 67 h 268"/>
              <a:gd name="T6" fmla="*/ 19 w 225"/>
              <a:gd name="T7" fmla="*/ 39 h 268"/>
              <a:gd name="T8" fmla="*/ 113 w 225"/>
              <a:gd name="T9" fmla="*/ 12 h 268"/>
              <a:gd name="T10" fmla="*/ 113 w 225"/>
              <a:gd name="T11" fmla="*/ 0 h 268"/>
              <a:gd name="T12" fmla="*/ 0 w 225"/>
              <a:gd name="T13" fmla="*/ 43 h 268"/>
              <a:gd name="T14" fmla="*/ 0 w 225"/>
              <a:gd name="T15" fmla="*/ 224 h 268"/>
              <a:gd name="T16" fmla="*/ 113 w 225"/>
              <a:gd name="T17" fmla="*/ 268 h 268"/>
              <a:gd name="T18" fmla="*/ 225 w 225"/>
              <a:gd name="T19" fmla="*/ 224 h 268"/>
              <a:gd name="T20" fmla="*/ 225 w 225"/>
              <a:gd name="T21" fmla="*/ 45 h 268"/>
              <a:gd name="T22" fmla="*/ 113 w 225"/>
              <a:gd name="T2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 h="268">
                <a:moveTo>
                  <a:pt x="113" y="12"/>
                </a:moveTo>
                <a:cubicBezTo>
                  <a:pt x="163" y="12"/>
                  <a:pt x="205" y="25"/>
                  <a:pt x="205" y="39"/>
                </a:cubicBezTo>
                <a:cubicBezTo>
                  <a:pt x="205" y="54"/>
                  <a:pt x="163" y="67"/>
                  <a:pt x="113" y="67"/>
                </a:cubicBezTo>
                <a:cubicBezTo>
                  <a:pt x="61" y="67"/>
                  <a:pt x="19" y="54"/>
                  <a:pt x="19" y="39"/>
                </a:cubicBezTo>
                <a:cubicBezTo>
                  <a:pt x="19" y="25"/>
                  <a:pt x="61" y="12"/>
                  <a:pt x="113" y="12"/>
                </a:cubicBezTo>
                <a:moveTo>
                  <a:pt x="113" y="0"/>
                </a:moveTo>
                <a:cubicBezTo>
                  <a:pt x="51" y="0"/>
                  <a:pt x="0" y="21"/>
                  <a:pt x="0" y="43"/>
                </a:cubicBezTo>
                <a:cubicBezTo>
                  <a:pt x="0" y="224"/>
                  <a:pt x="0" y="224"/>
                  <a:pt x="0" y="224"/>
                </a:cubicBezTo>
                <a:cubicBezTo>
                  <a:pt x="0" y="247"/>
                  <a:pt x="51" y="268"/>
                  <a:pt x="113" y="268"/>
                </a:cubicBezTo>
                <a:cubicBezTo>
                  <a:pt x="174" y="268"/>
                  <a:pt x="225" y="247"/>
                  <a:pt x="225" y="224"/>
                </a:cubicBezTo>
                <a:cubicBezTo>
                  <a:pt x="225" y="45"/>
                  <a:pt x="225" y="45"/>
                  <a:pt x="225" y="45"/>
                </a:cubicBezTo>
                <a:cubicBezTo>
                  <a:pt x="225" y="22"/>
                  <a:pt x="174" y="0"/>
                  <a:pt x="113" y="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32742"/>
            <a:endParaRPr lang="en-US" sz="1800">
              <a:solidFill>
                <a:srgbClr val="000000"/>
              </a:solidFill>
            </a:endParaRPr>
          </a:p>
        </p:txBody>
      </p:sp>
    </p:spTree>
    <p:extLst>
      <p:ext uri="{BB962C8B-B14F-4D97-AF65-F5344CB8AC3E}">
        <p14:creationId xmlns:p14="http://schemas.microsoft.com/office/powerpoint/2010/main" val="768842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250"/>
                            </p:stCondLst>
                            <p:childTnLst>
                              <p:par>
                                <p:cTn id="13" presetID="22" presetClass="entr" presetSubtype="4" fill="hold" grpId="0" nodeType="after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2000"/>
                            </p:stCondLst>
                            <p:childTnLst>
                              <p:par>
                                <p:cTn id="17" presetID="22" presetClass="entr" presetSubtype="1" fill="hold" grpId="0" nodeType="after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childTnLst>
                          </p:cTn>
                        </p:par>
                        <p:par>
                          <p:cTn id="20" fill="hold">
                            <p:stCondLst>
                              <p:cond delay="2750"/>
                            </p:stCondLst>
                            <p:childTnLst>
                              <p:par>
                                <p:cTn id="21" presetID="22" presetClass="entr" presetSubtype="4" fill="hold" grpId="0" nodeType="afterEffect">
                                  <p:stCondLst>
                                    <p:cond delay="25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par>
                          <p:cTn id="24" fill="hold">
                            <p:stCondLst>
                              <p:cond delay="3500"/>
                            </p:stCondLst>
                            <p:childTnLst>
                              <p:par>
                                <p:cTn id="25" presetID="22" presetClass="entr" presetSubtype="1" fill="hold" grpId="0" nodeType="after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wipe(up)">
                                      <p:cBhvr>
                                        <p:cTn id="27" dur="500"/>
                                        <p:tgtEl>
                                          <p:spTgt spid="8"/>
                                        </p:tgtEl>
                                      </p:cBhvr>
                                    </p:animEffect>
                                  </p:childTnLst>
                                </p:cTn>
                              </p:par>
                            </p:childTnLst>
                          </p:cTn>
                        </p:par>
                        <p:par>
                          <p:cTn id="28" fill="hold">
                            <p:stCondLst>
                              <p:cond delay="4250"/>
                            </p:stCondLst>
                            <p:childTnLst>
                              <p:par>
                                <p:cTn id="29" presetID="22" presetClass="entr" presetSubtype="4" fill="hold" grpId="0" nodeType="afterEffect">
                                  <p:stCondLst>
                                    <p:cond delay="250"/>
                                  </p:stCondLst>
                                  <p:childTnLst>
                                    <p:set>
                                      <p:cBhvr>
                                        <p:cTn id="30" dur="1" fill="hold">
                                          <p:stCondLst>
                                            <p:cond delay="0"/>
                                          </p:stCondLst>
                                        </p:cTn>
                                        <p:tgtEl>
                                          <p:spTgt spid="9"/>
                                        </p:tgtEl>
                                        <p:attrNameLst>
                                          <p:attrName>style.visibility</p:attrName>
                                        </p:attrNameLst>
                                      </p:cBhvr>
                                      <p:to>
                                        <p:strVal val="visible"/>
                                      </p:to>
                                    </p:set>
                                    <p:animEffect transition="in" filter="wipe(down)">
                                      <p:cBhvr>
                                        <p:cTn id="3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a:t>Andy </a:t>
            </a:r>
            <a:r>
              <a:rPr lang="en-US" dirty="0" err="1"/>
              <a:t>Isley</a:t>
            </a:r>
            <a:r>
              <a:rPr lang="en-US" dirty="0"/>
              <a:t> </a:t>
            </a:r>
            <a:r>
              <a:rPr lang="en-US" dirty="0"/>
              <a:t>– </a:t>
            </a:r>
            <a:r>
              <a:rPr lang="en-US" dirty="0"/>
              <a:t>Architect</a:t>
            </a:r>
          </a:p>
          <a:p>
            <a:r>
              <a:rPr lang="en-US" dirty="0"/>
              <a:t>Paul Emond – Architect</a:t>
            </a:r>
          </a:p>
          <a:p>
            <a:r>
              <a:rPr lang="en-US" dirty="0"/>
              <a:t>Data Insights Global Practice</a:t>
            </a:r>
          </a:p>
        </p:txBody>
      </p:sp>
      <p:sp>
        <p:nvSpPr>
          <p:cNvPr id="4" name="Title 3"/>
          <p:cNvSpPr>
            <a:spLocks noGrp="1"/>
          </p:cNvSpPr>
          <p:nvPr>
            <p:ph type="title"/>
          </p:nvPr>
        </p:nvSpPr>
        <p:spPr>
          <a:xfrm>
            <a:off x="274703" y="2117165"/>
            <a:ext cx="11734734" cy="1837298"/>
          </a:xfrm>
        </p:spPr>
        <p:txBody>
          <a:bodyPr/>
          <a:lstStyle/>
          <a:p>
            <a:r>
              <a:rPr lang="en-US" sz="5400" dirty="0"/>
              <a:t>COE: Creating a Hybrid DW/DR solution between APS and Azure SQL DW</a:t>
            </a:r>
          </a:p>
        </p:txBody>
      </p:sp>
      <p:sp>
        <p:nvSpPr>
          <p:cNvPr id="2" name="Text Placeholder 1"/>
          <p:cNvSpPr>
            <a:spLocks noGrp="1"/>
          </p:cNvSpPr>
          <p:nvPr>
            <p:ph type="body" sz="quarter" idx="13"/>
          </p:nvPr>
        </p:nvSpPr>
        <p:spPr/>
        <p:txBody>
          <a:bodyPr/>
          <a:lstStyle/>
          <a:p>
            <a:r>
              <a:rPr lang="en-US" dirty="0"/>
              <a:t>DP319</a:t>
            </a:r>
          </a:p>
        </p:txBody>
      </p:sp>
      <p:sp>
        <p:nvSpPr>
          <p:cNvPr id="11" name="Text Placeholder 10"/>
          <p:cNvSpPr>
            <a:spLocks noGrp="1"/>
          </p:cNvSpPr>
          <p:nvPr>
            <p:ph type="body" sz="quarter" idx="14"/>
          </p:nvPr>
        </p:nvSpPr>
        <p:spPr>
          <a:xfrm>
            <a:off x="8504239" y="296863"/>
            <a:ext cx="3657600" cy="461665"/>
          </a:xfrm>
        </p:spPr>
        <p:txBody>
          <a:bodyPr/>
          <a:lstStyle/>
          <a:p>
            <a:pPr lvl="0" defTabSz="914400">
              <a:buClr>
                <a:srgbClr val="FFFFFF"/>
              </a:buClr>
              <a:defRPr/>
            </a:pPr>
            <a:r>
              <a:rPr lang="en-US" kern="0" dirty="0">
                <a:gradFill>
                  <a:gsLst>
                    <a:gs pos="1250">
                      <a:srgbClr val="FFFFFF"/>
                    </a:gs>
                    <a:gs pos="100000">
                      <a:srgbClr val="FFFFFF"/>
                    </a:gs>
                  </a:gsLst>
                  <a:lin ang="5400000" scaled="0"/>
                </a:gradFill>
              </a:rPr>
              <a:t>#TR22DP319</a:t>
            </a:r>
          </a:p>
        </p:txBody>
      </p:sp>
    </p:spTree>
    <p:extLst>
      <p:ext uri="{BB962C8B-B14F-4D97-AF65-F5344CB8AC3E}">
        <p14:creationId xmlns:p14="http://schemas.microsoft.com/office/powerpoint/2010/main" val="2785803637"/>
      </p:ext>
    </p:extLst>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 name="Rectangle 398"/>
          <p:cNvSpPr/>
          <p:nvPr/>
        </p:nvSpPr>
        <p:spPr bwMode="auto">
          <a:xfrm>
            <a:off x="7358522" y="1100039"/>
            <a:ext cx="4681395" cy="5678587"/>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15" name="Rectangle 1314"/>
          <p:cNvSpPr/>
          <p:nvPr/>
        </p:nvSpPr>
        <p:spPr bwMode="auto">
          <a:xfrm>
            <a:off x="2408237" y="1108076"/>
            <a:ext cx="4953000" cy="5670550"/>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Rectangle 3"/>
          <p:cNvSpPr/>
          <p:nvPr/>
        </p:nvSpPr>
        <p:spPr bwMode="auto">
          <a:xfrm>
            <a:off x="427037" y="1108076"/>
            <a:ext cx="2157758" cy="567055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solidFill>
                <a:schemeClr val="tx1"/>
              </a:solidFill>
            </a:endParaRPr>
          </a:p>
        </p:txBody>
      </p:sp>
      <p:sp>
        <p:nvSpPr>
          <p:cNvPr id="2" name="Title 1"/>
          <p:cNvSpPr>
            <a:spLocks noGrp="1"/>
          </p:cNvSpPr>
          <p:nvPr>
            <p:ph type="title"/>
          </p:nvPr>
        </p:nvSpPr>
        <p:spPr>
          <a:xfrm>
            <a:off x="274639" y="449262"/>
            <a:ext cx="4387792" cy="917575"/>
          </a:xfrm>
        </p:spPr>
        <p:txBody>
          <a:bodyPr/>
          <a:lstStyle/>
          <a:p>
            <a:r>
              <a:rPr lang="en-US" sz="3600" dirty="0">
                <a:solidFill>
                  <a:schemeClr val="tx1"/>
                </a:solidFill>
              </a:rPr>
              <a:t>High-level comparison</a:t>
            </a:r>
          </a:p>
        </p:txBody>
      </p:sp>
      <p:grpSp>
        <p:nvGrpSpPr>
          <p:cNvPr id="1320" name="Group 1319"/>
          <p:cNvGrpSpPr/>
          <p:nvPr/>
        </p:nvGrpSpPr>
        <p:grpSpPr>
          <a:xfrm>
            <a:off x="5075237" y="430729"/>
            <a:ext cx="477837" cy="628133"/>
            <a:chOff x="5130800" y="366711"/>
            <a:chExt cx="477837" cy="628133"/>
          </a:xfrm>
        </p:grpSpPr>
        <p:sp>
          <p:nvSpPr>
            <p:cNvPr id="7" name="Freeform 10"/>
            <p:cNvSpPr>
              <a:spLocks/>
            </p:cNvSpPr>
            <p:nvPr/>
          </p:nvSpPr>
          <p:spPr bwMode="auto">
            <a:xfrm>
              <a:off x="5130800" y="434974"/>
              <a:ext cx="477837" cy="559870"/>
            </a:xfrm>
            <a:custGeom>
              <a:avLst/>
              <a:gdLst>
                <a:gd name="T0" fmla="*/ 0 w 937"/>
                <a:gd name="T1" fmla="*/ 1087 h 1223"/>
                <a:gd name="T2" fmla="*/ 469 w 937"/>
                <a:gd name="T3" fmla="*/ 1223 h 1223"/>
                <a:gd name="T4" fmla="*/ 937 w 937"/>
                <a:gd name="T5" fmla="*/ 1087 h 1223"/>
                <a:gd name="T6" fmla="*/ 937 w 937"/>
                <a:gd name="T7" fmla="*/ 0 h 1223"/>
                <a:gd name="T8" fmla="*/ 0 w 937"/>
                <a:gd name="T9" fmla="*/ 0 h 1223"/>
                <a:gd name="T10" fmla="*/ 0 w 937"/>
                <a:gd name="T11" fmla="*/ 1087 h 1223"/>
              </a:gdLst>
              <a:ahLst/>
              <a:cxnLst>
                <a:cxn ang="0">
                  <a:pos x="T0" y="T1"/>
                </a:cxn>
                <a:cxn ang="0">
                  <a:pos x="T2" y="T3"/>
                </a:cxn>
                <a:cxn ang="0">
                  <a:pos x="T4" y="T5"/>
                </a:cxn>
                <a:cxn ang="0">
                  <a:pos x="T6" y="T7"/>
                </a:cxn>
                <a:cxn ang="0">
                  <a:pos x="T8" y="T9"/>
                </a:cxn>
                <a:cxn ang="0">
                  <a:pos x="T10" y="T11"/>
                </a:cxn>
              </a:cxnLst>
              <a:rect l="0" t="0" r="r" b="b"/>
              <a:pathLst>
                <a:path w="937" h="1223">
                  <a:moveTo>
                    <a:pt x="0" y="1087"/>
                  </a:moveTo>
                  <a:cubicBezTo>
                    <a:pt x="0" y="1162"/>
                    <a:pt x="210" y="1223"/>
                    <a:pt x="469" y="1223"/>
                  </a:cubicBezTo>
                  <a:cubicBezTo>
                    <a:pt x="728" y="1223"/>
                    <a:pt x="937" y="1162"/>
                    <a:pt x="937" y="1087"/>
                  </a:cubicBezTo>
                  <a:lnTo>
                    <a:pt x="937" y="0"/>
                  </a:lnTo>
                  <a:lnTo>
                    <a:pt x="0" y="0"/>
                  </a:lnTo>
                  <a:lnTo>
                    <a:pt x="0" y="1087"/>
                  </a:lnTo>
                  <a:close/>
                </a:path>
              </a:pathLst>
            </a:custGeom>
            <a:solidFill>
              <a:srgbClr val="0078D7"/>
            </a:solidFill>
            <a:ln w="7938"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Oval 12"/>
            <p:cNvSpPr>
              <a:spLocks noChangeArrowheads="1"/>
            </p:cNvSpPr>
            <p:nvPr/>
          </p:nvSpPr>
          <p:spPr bwMode="auto">
            <a:xfrm>
              <a:off x="5130800" y="366711"/>
              <a:ext cx="477837" cy="138113"/>
            </a:xfrm>
            <a:prstGeom prst="ellipse">
              <a:avLst/>
            </a:prstGeom>
            <a:solidFill>
              <a:srgbClr val="0078D7"/>
            </a:solid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 name="Rectangle 13"/>
            <p:cNvSpPr>
              <a:spLocks noChangeArrowheads="1"/>
            </p:cNvSpPr>
            <p:nvPr/>
          </p:nvSpPr>
          <p:spPr bwMode="auto">
            <a:xfrm>
              <a:off x="5216525" y="587374"/>
              <a:ext cx="3125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effectLst/>
                  <a:latin typeface="+mn-lt"/>
                </a:rPr>
                <a:t>APS</a:t>
              </a:r>
              <a:endParaRPr kumimoji="0" lang="en-US" altLang="en-US" sz="1600" i="0" u="none" strike="noStrike" cap="none" normalizeH="0" baseline="0" dirty="0">
                <a:ln>
                  <a:noFill/>
                </a:ln>
                <a:effectLst/>
                <a:latin typeface="+mn-lt"/>
              </a:endParaRPr>
            </a:p>
          </p:txBody>
        </p:sp>
      </p:grpSp>
      <p:sp>
        <p:nvSpPr>
          <p:cNvPr id="21" name="Rectangle 18"/>
          <p:cNvSpPr>
            <a:spLocks noChangeArrowheads="1"/>
          </p:cNvSpPr>
          <p:nvPr/>
        </p:nvSpPr>
        <p:spPr bwMode="auto">
          <a:xfrm>
            <a:off x="2850197" y="1183514"/>
            <a:ext cx="137160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22" name="Rectangle 19"/>
          <p:cNvSpPr>
            <a:spLocks noChangeArrowheads="1"/>
          </p:cNvSpPr>
          <p:nvPr/>
        </p:nvSpPr>
        <p:spPr bwMode="auto">
          <a:xfrm>
            <a:off x="3095877" y="1320267"/>
            <a:ext cx="880241"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Distributed</a:t>
            </a:r>
          </a:p>
        </p:txBody>
      </p:sp>
      <p:sp>
        <p:nvSpPr>
          <p:cNvPr id="24" name="Rectangle 23"/>
          <p:cNvSpPr>
            <a:spLocks noChangeArrowheads="1"/>
          </p:cNvSpPr>
          <p:nvPr/>
        </p:nvSpPr>
        <p:spPr bwMode="auto">
          <a:xfrm>
            <a:off x="4282757" y="1181101"/>
            <a:ext cx="1463040" cy="493776"/>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25" name="Rectangle 24"/>
          <p:cNvSpPr>
            <a:spLocks noChangeArrowheads="1"/>
          </p:cNvSpPr>
          <p:nvPr/>
        </p:nvSpPr>
        <p:spPr bwMode="auto">
          <a:xfrm>
            <a:off x="4602305" y="1320267"/>
            <a:ext cx="823944"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Replicated</a:t>
            </a:r>
          </a:p>
        </p:txBody>
      </p:sp>
      <p:sp>
        <p:nvSpPr>
          <p:cNvPr id="27" name="Rectangle 28"/>
          <p:cNvSpPr>
            <a:spLocks noChangeArrowheads="1"/>
          </p:cNvSpPr>
          <p:nvPr/>
        </p:nvSpPr>
        <p:spPr bwMode="auto">
          <a:xfrm>
            <a:off x="5821997" y="118351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28" name="Rectangle 29"/>
          <p:cNvSpPr>
            <a:spLocks noChangeArrowheads="1"/>
          </p:cNvSpPr>
          <p:nvPr/>
        </p:nvSpPr>
        <p:spPr bwMode="auto">
          <a:xfrm>
            <a:off x="6051553" y="1320267"/>
            <a:ext cx="1003929"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p>
            <a:pPr algn="ctr" defTabSz="914400" eaLnBrk="0" fontAlgn="base" hangingPunct="0">
              <a:spcBef>
                <a:spcPct val="0"/>
              </a:spcBef>
              <a:spcAft>
                <a:spcPct val="0"/>
              </a:spcAft>
            </a:pPr>
            <a:r>
              <a:rPr lang="en-US" altLang="en-US" sz="1400" dirty="0">
                <a:solidFill>
                  <a:srgbClr val="0078D7"/>
                </a:solidFill>
              </a:rPr>
              <a:t>Round-robin</a:t>
            </a:r>
          </a:p>
        </p:txBody>
      </p:sp>
      <p:sp>
        <p:nvSpPr>
          <p:cNvPr id="1024" name="Rectangle 35"/>
          <p:cNvSpPr>
            <a:spLocks noChangeArrowheads="1"/>
          </p:cNvSpPr>
          <p:nvPr/>
        </p:nvSpPr>
        <p:spPr bwMode="auto">
          <a:xfrm>
            <a:off x="7437437" y="118351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dirty="0">
              <a:solidFill>
                <a:schemeClr val="bg1"/>
              </a:solidFill>
            </a:endParaRPr>
          </a:p>
        </p:txBody>
      </p:sp>
      <p:sp>
        <p:nvSpPr>
          <p:cNvPr id="1025" name="Rectangle 36"/>
          <p:cNvSpPr>
            <a:spLocks noChangeArrowheads="1"/>
          </p:cNvSpPr>
          <p:nvPr/>
        </p:nvSpPr>
        <p:spPr bwMode="auto">
          <a:xfrm>
            <a:off x="7728837" y="1320267"/>
            <a:ext cx="880241"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Distributed</a:t>
            </a:r>
          </a:p>
        </p:txBody>
      </p:sp>
      <p:sp>
        <p:nvSpPr>
          <p:cNvPr id="1027" name="Rectangle 40"/>
          <p:cNvSpPr>
            <a:spLocks noChangeArrowheads="1"/>
          </p:cNvSpPr>
          <p:nvPr/>
        </p:nvSpPr>
        <p:spPr bwMode="auto">
          <a:xfrm>
            <a:off x="8961437" y="1183514"/>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28" name="Rectangle 41"/>
          <p:cNvSpPr>
            <a:spLocks noChangeArrowheads="1"/>
          </p:cNvSpPr>
          <p:nvPr/>
        </p:nvSpPr>
        <p:spPr bwMode="auto">
          <a:xfrm>
            <a:off x="9280985" y="1320267"/>
            <a:ext cx="823944"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Replicated</a:t>
            </a:r>
          </a:p>
        </p:txBody>
      </p:sp>
      <p:sp>
        <p:nvSpPr>
          <p:cNvPr id="1034" name="Rectangle 45"/>
          <p:cNvSpPr>
            <a:spLocks noChangeArrowheads="1"/>
          </p:cNvSpPr>
          <p:nvPr/>
        </p:nvSpPr>
        <p:spPr bwMode="auto">
          <a:xfrm>
            <a:off x="10513097" y="118351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35" name="Rectangle 46"/>
          <p:cNvSpPr>
            <a:spLocks noChangeArrowheads="1"/>
          </p:cNvSpPr>
          <p:nvPr/>
        </p:nvSpPr>
        <p:spPr bwMode="auto">
          <a:xfrm>
            <a:off x="10742653" y="1320267"/>
            <a:ext cx="1003929"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Round-robin</a:t>
            </a:r>
          </a:p>
        </p:txBody>
      </p:sp>
      <p:grpSp>
        <p:nvGrpSpPr>
          <p:cNvPr id="1319" name="Group 1318"/>
          <p:cNvGrpSpPr/>
          <p:nvPr/>
        </p:nvGrpSpPr>
        <p:grpSpPr>
          <a:xfrm>
            <a:off x="7500242" y="471487"/>
            <a:ext cx="931862" cy="587375"/>
            <a:chOff x="7589837" y="376238"/>
            <a:chExt cx="931862" cy="587375"/>
          </a:xfrm>
        </p:grpSpPr>
        <p:sp>
          <p:nvSpPr>
            <p:cNvPr id="1038" name="Freeform 49"/>
            <p:cNvSpPr>
              <a:spLocks/>
            </p:cNvSpPr>
            <p:nvPr/>
          </p:nvSpPr>
          <p:spPr bwMode="auto">
            <a:xfrm>
              <a:off x="7589837" y="376238"/>
              <a:ext cx="931862" cy="587375"/>
            </a:xfrm>
            <a:custGeom>
              <a:avLst/>
              <a:gdLst>
                <a:gd name="T0" fmla="*/ 14677 w 18864"/>
                <a:gd name="T1" fmla="*/ 10416 h 10416"/>
                <a:gd name="T2" fmla="*/ 2113 w 18864"/>
                <a:gd name="T3" fmla="*/ 10416 h 10416"/>
                <a:gd name="T4" fmla="*/ 0 w 18864"/>
                <a:gd name="T5" fmla="*/ 8267 h 10416"/>
                <a:gd name="T6" fmla="*/ 1594 w 18864"/>
                <a:gd name="T7" fmla="*/ 6228 h 10416"/>
                <a:gd name="T8" fmla="*/ 4077 w 18864"/>
                <a:gd name="T9" fmla="*/ 4300 h 10416"/>
                <a:gd name="T10" fmla="*/ 8599 w 18864"/>
                <a:gd name="T11" fmla="*/ 0 h 10416"/>
                <a:gd name="T12" fmla="*/ 12712 w 18864"/>
                <a:gd name="T13" fmla="*/ 2595 h 10416"/>
                <a:gd name="T14" fmla="*/ 14677 w 18864"/>
                <a:gd name="T15" fmla="*/ 2076 h 10416"/>
                <a:gd name="T16" fmla="*/ 18864 w 18864"/>
                <a:gd name="T17" fmla="*/ 6265 h 10416"/>
                <a:gd name="T18" fmla="*/ 14677 w 18864"/>
                <a:gd name="T19" fmla="*/ 10416 h 10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64" h="10416">
                  <a:moveTo>
                    <a:pt x="14677" y="10416"/>
                  </a:moveTo>
                  <a:cubicBezTo>
                    <a:pt x="2113" y="10416"/>
                    <a:pt x="2113" y="10416"/>
                    <a:pt x="2113" y="10416"/>
                  </a:cubicBezTo>
                  <a:cubicBezTo>
                    <a:pt x="964" y="10416"/>
                    <a:pt x="0" y="9453"/>
                    <a:pt x="0" y="8267"/>
                  </a:cubicBezTo>
                  <a:cubicBezTo>
                    <a:pt x="0" y="7266"/>
                    <a:pt x="668" y="6450"/>
                    <a:pt x="1594" y="6228"/>
                  </a:cubicBezTo>
                  <a:cubicBezTo>
                    <a:pt x="2039" y="5190"/>
                    <a:pt x="2965" y="4449"/>
                    <a:pt x="4077" y="4300"/>
                  </a:cubicBezTo>
                  <a:cubicBezTo>
                    <a:pt x="4188" y="1928"/>
                    <a:pt x="6190" y="0"/>
                    <a:pt x="8599" y="0"/>
                  </a:cubicBezTo>
                  <a:cubicBezTo>
                    <a:pt x="10378" y="0"/>
                    <a:pt x="11971" y="1038"/>
                    <a:pt x="12712" y="2595"/>
                  </a:cubicBezTo>
                  <a:cubicBezTo>
                    <a:pt x="13305" y="2262"/>
                    <a:pt x="13972" y="2076"/>
                    <a:pt x="14677" y="2076"/>
                  </a:cubicBezTo>
                  <a:cubicBezTo>
                    <a:pt x="16974" y="2076"/>
                    <a:pt x="18864" y="3967"/>
                    <a:pt x="18864" y="6265"/>
                  </a:cubicBezTo>
                  <a:cubicBezTo>
                    <a:pt x="18864" y="8526"/>
                    <a:pt x="16974" y="10416"/>
                    <a:pt x="14677" y="1041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90" name="Rectangle 51"/>
            <p:cNvSpPr>
              <a:spLocks noChangeArrowheads="1"/>
            </p:cNvSpPr>
            <p:nvPr/>
          </p:nvSpPr>
          <p:spPr bwMode="auto">
            <a:xfrm>
              <a:off x="7771515" y="646641"/>
              <a:ext cx="660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effectLst/>
                  <a:latin typeface="+mn-lt"/>
                </a:rPr>
                <a:t>SQL DW</a:t>
              </a:r>
              <a:endParaRPr kumimoji="0" lang="en-US" altLang="en-US" sz="1600" i="0" u="none" strike="noStrike" cap="none" normalizeH="0" baseline="0" dirty="0">
                <a:ln>
                  <a:noFill/>
                </a:ln>
                <a:effectLst/>
                <a:latin typeface="+mn-lt"/>
              </a:endParaRPr>
            </a:p>
          </p:txBody>
        </p:sp>
      </p:grpSp>
      <p:sp>
        <p:nvSpPr>
          <p:cNvPr id="1396" name="Rectangle 55"/>
          <p:cNvSpPr>
            <a:spLocks noChangeArrowheads="1"/>
          </p:cNvSpPr>
          <p:nvPr/>
        </p:nvSpPr>
        <p:spPr bwMode="auto">
          <a:xfrm>
            <a:off x="2850197" y="1814546"/>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97" name="Rectangle 56"/>
          <p:cNvSpPr>
            <a:spLocks noChangeArrowheads="1"/>
          </p:cNvSpPr>
          <p:nvPr/>
        </p:nvSpPr>
        <p:spPr bwMode="auto">
          <a:xfrm>
            <a:off x="3178528" y="1951299"/>
            <a:ext cx="714939"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Cloudera</a:t>
            </a:r>
          </a:p>
        </p:txBody>
      </p:sp>
      <p:sp>
        <p:nvSpPr>
          <p:cNvPr id="1403" name="Rectangle 60"/>
          <p:cNvSpPr>
            <a:spLocks noChangeArrowheads="1"/>
          </p:cNvSpPr>
          <p:nvPr/>
        </p:nvSpPr>
        <p:spPr bwMode="auto">
          <a:xfrm>
            <a:off x="4282757" y="1812133"/>
            <a:ext cx="1463040" cy="493776"/>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404" name="Rectangle 61"/>
          <p:cNvSpPr>
            <a:spLocks noChangeArrowheads="1"/>
          </p:cNvSpPr>
          <p:nvPr/>
        </p:nvSpPr>
        <p:spPr bwMode="auto">
          <a:xfrm>
            <a:off x="4480734" y="1951299"/>
            <a:ext cx="1067087"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HortonWorks</a:t>
            </a:r>
          </a:p>
        </p:txBody>
      </p:sp>
      <p:sp>
        <p:nvSpPr>
          <p:cNvPr id="1280" name="Rectangle 65"/>
          <p:cNvSpPr>
            <a:spLocks noChangeArrowheads="1"/>
          </p:cNvSpPr>
          <p:nvPr/>
        </p:nvSpPr>
        <p:spPr bwMode="auto">
          <a:xfrm>
            <a:off x="5821997" y="1814546"/>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81" name="Rectangle 66"/>
          <p:cNvSpPr>
            <a:spLocks noChangeArrowheads="1"/>
          </p:cNvSpPr>
          <p:nvPr/>
        </p:nvSpPr>
        <p:spPr bwMode="auto">
          <a:xfrm>
            <a:off x="6157576" y="1951299"/>
            <a:ext cx="791883"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HDInsight</a:t>
            </a:r>
          </a:p>
        </p:txBody>
      </p:sp>
      <p:sp>
        <p:nvSpPr>
          <p:cNvPr id="1283" name="Rectangle 70"/>
          <p:cNvSpPr>
            <a:spLocks noChangeArrowheads="1"/>
          </p:cNvSpPr>
          <p:nvPr/>
        </p:nvSpPr>
        <p:spPr bwMode="auto">
          <a:xfrm>
            <a:off x="7437437" y="1814546"/>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dirty="0">
              <a:solidFill>
                <a:schemeClr val="bg1"/>
              </a:solidFill>
            </a:endParaRPr>
          </a:p>
        </p:txBody>
      </p:sp>
      <p:sp>
        <p:nvSpPr>
          <p:cNvPr id="1284" name="Rectangle 71"/>
          <p:cNvSpPr>
            <a:spLocks noChangeArrowheads="1"/>
          </p:cNvSpPr>
          <p:nvPr/>
        </p:nvSpPr>
        <p:spPr bwMode="auto">
          <a:xfrm>
            <a:off x="7811488" y="1951299"/>
            <a:ext cx="714939"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Cloudera</a:t>
            </a:r>
          </a:p>
        </p:txBody>
      </p:sp>
      <p:sp>
        <p:nvSpPr>
          <p:cNvPr id="1288" name="Rectangle 75"/>
          <p:cNvSpPr>
            <a:spLocks noChangeArrowheads="1"/>
          </p:cNvSpPr>
          <p:nvPr/>
        </p:nvSpPr>
        <p:spPr bwMode="auto">
          <a:xfrm>
            <a:off x="8961437" y="1814546"/>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89" name="Rectangle 76"/>
          <p:cNvSpPr>
            <a:spLocks noChangeArrowheads="1"/>
          </p:cNvSpPr>
          <p:nvPr/>
        </p:nvSpPr>
        <p:spPr bwMode="auto">
          <a:xfrm>
            <a:off x="9159414" y="1951299"/>
            <a:ext cx="1067087"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HortonWorks</a:t>
            </a:r>
          </a:p>
        </p:txBody>
      </p:sp>
      <p:sp>
        <p:nvSpPr>
          <p:cNvPr id="1293" name="Rectangle 80"/>
          <p:cNvSpPr>
            <a:spLocks noChangeArrowheads="1"/>
          </p:cNvSpPr>
          <p:nvPr/>
        </p:nvSpPr>
        <p:spPr bwMode="auto">
          <a:xfrm>
            <a:off x="10513097" y="1814546"/>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94" name="Rectangle 81"/>
          <p:cNvSpPr>
            <a:spLocks noChangeArrowheads="1"/>
          </p:cNvSpPr>
          <p:nvPr/>
        </p:nvSpPr>
        <p:spPr bwMode="auto">
          <a:xfrm>
            <a:off x="10848676" y="1951299"/>
            <a:ext cx="791883"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HDInsight</a:t>
            </a:r>
          </a:p>
        </p:txBody>
      </p:sp>
      <p:sp>
        <p:nvSpPr>
          <p:cNvPr id="1295" name="Line 82"/>
          <p:cNvSpPr>
            <a:spLocks noChangeShapeType="1"/>
          </p:cNvSpPr>
          <p:nvPr/>
        </p:nvSpPr>
        <p:spPr bwMode="auto">
          <a:xfrm>
            <a:off x="2584795" y="1108076"/>
            <a:ext cx="0" cy="567055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96" name="Line 83"/>
          <p:cNvSpPr>
            <a:spLocks noChangeShapeType="1"/>
          </p:cNvSpPr>
          <p:nvPr/>
        </p:nvSpPr>
        <p:spPr bwMode="auto">
          <a:xfrm flipH="1">
            <a:off x="427037" y="1108076"/>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97" name="Line 84"/>
          <p:cNvSpPr>
            <a:spLocks noChangeShapeType="1"/>
          </p:cNvSpPr>
          <p:nvPr/>
        </p:nvSpPr>
        <p:spPr bwMode="auto">
          <a:xfrm flipH="1">
            <a:off x="427037" y="1743505"/>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02" name="Rectangle 89"/>
          <p:cNvSpPr>
            <a:spLocks noChangeArrowheads="1"/>
          </p:cNvSpPr>
          <p:nvPr/>
        </p:nvSpPr>
        <p:spPr bwMode="auto">
          <a:xfrm>
            <a:off x="569760" y="1268414"/>
            <a:ext cx="180434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Supported </a:t>
            </a:r>
            <a:r>
              <a:rPr lang="en-US" altLang="en-US" sz="1400" dirty="0">
                <a:latin typeface="Segoe UI Semibold" panose="020B0702040204020203" pitchFamily="34" charset="0"/>
                <a:cs typeface="Segoe UI Semibold" panose="020B0702040204020203" pitchFamily="34" charset="0"/>
              </a:rPr>
              <a:t>table types</a:t>
            </a:r>
          </a:p>
        </p:txBody>
      </p:sp>
      <p:sp>
        <p:nvSpPr>
          <p:cNvPr id="1308" name="Rectangle 95"/>
          <p:cNvSpPr>
            <a:spLocks noChangeArrowheads="1"/>
          </p:cNvSpPr>
          <p:nvPr/>
        </p:nvSpPr>
        <p:spPr bwMode="auto">
          <a:xfrm>
            <a:off x="569760" y="1825626"/>
            <a:ext cx="172059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400" dirty="0">
                <a:latin typeface="Segoe UI Semibold" panose="020B0702040204020203" pitchFamily="34" charset="0"/>
                <a:cs typeface="Segoe UI Semibold" panose="020B0702040204020203" pitchFamily="34" charset="0"/>
              </a:rPr>
              <a:t>Predicate </a:t>
            </a:r>
            <a:r>
              <a:rPr lang="en-US" altLang="en-US" sz="1400" dirty="0" err="1">
                <a:latin typeface="Segoe UI Semibold" panose="020B0702040204020203" pitchFamily="34" charset="0"/>
                <a:cs typeface="Segoe UI Semibold" panose="020B0702040204020203" pitchFamily="34" charset="0"/>
              </a:rPr>
              <a:t>PushDown</a:t>
            </a:r>
            <a:r>
              <a:rPr lang="en-US" altLang="en-US" sz="1400" dirty="0">
                <a:latin typeface="Segoe UI Semibold" panose="020B0702040204020203" pitchFamily="34" charset="0"/>
                <a:cs typeface="Segoe UI Semibold" panose="020B0702040204020203" pitchFamily="34" charset="0"/>
              </a:rPr>
              <a:t> </a:t>
            </a:r>
            <a:br>
              <a:rPr lang="en-US" altLang="en-US" sz="1400" dirty="0">
                <a:latin typeface="Segoe UI Semibold" panose="020B0702040204020203" pitchFamily="34" charset="0"/>
                <a:cs typeface="Segoe UI Semibold" panose="020B0702040204020203" pitchFamily="34" charset="0"/>
              </a:rPr>
            </a:br>
            <a:r>
              <a:rPr lang="en-US" altLang="en-US" sz="1400" dirty="0">
                <a:latin typeface="Segoe UI Semibold" panose="020B0702040204020203" pitchFamily="34" charset="0"/>
                <a:cs typeface="Segoe UI Semibold" panose="020B0702040204020203" pitchFamily="34" charset="0"/>
              </a:rPr>
              <a:t>support</a:t>
            </a:r>
          </a:p>
        </p:txBody>
      </p:sp>
      <p:sp>
        <p:nvSpPr>
          <p:cNvPr id="1120" name="Rectangle 101"/>
          <p:cNvSpPr>
            <a:spLocks noChangeArrowheads="1"/>
          </p:cNvSpPr>
          <p:nvPr/>
        </p:nvSpPr>
        <p:spPr bwMode="auto">
          <a:xfrm>
            <a:off x="2850197" y="2445578"/>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21" name="Rectangle 102"/>
          <p:cNvSpPr>
            <a:spLocks noChangeArrowheads="1"/>
          </p:cNvSpPr>
          <p:nvPr/>
        </p:nvSpPr>
        <p:spPr bwMode="auto">
          <a:xfrm>
            <a:off x="3031853" y="2582331"/>
            <a:ext cx="1008289"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User defined</a:t>
            </a:r>
          </a:p>
        </p:txBody>
      </p:sp>
      <p:sp>
        <p:nvSpPr>
          <p:cNvPr id="1125" name="Rectangle 106"/>
          <p:cNvSpPr>
            <a:spLocks noChangeArrowheads="1"/>
          </p:cNvSpPr>
          <p:nvPr/>
        </p:nvSpPr>
        <p:spPr bwMode="auto">
          <a:xfrm>
            <a:off x="4282757" y="2443165"/>
            <a:ext cx="1463040" cy="493776"/>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26" name="Rectangle 107"/>
          <p:cNvSpPr>
            <a:spLocks noChangeArrowheads="1"/>
          </p:cNvSpPr>
          <p:nvPr/>
        </p:nvSpPr>
        <p:spPr bwMode="auto">
          <a:xfrm>
            <a:off x="4577395" y="2582331"/>
            <a:ext cx="873765"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Table value</a:t>
            </a:r>
          </a:p>
        </p:txBody>
      </p:sp>
      <p:sp>
        <p:nvSpPr>
          <p:cNvPr id="1130" name="Rectangle 111"/>
          <p:cNvSpPr>
            <a:spLocks noChangeArrowheads="1"/>
          </p:cNvSpPr>
          <p:nvPr/>
        </p:nvSpPr>
        <p:spPr bwMode="auto">
          <a:xfrm>
            <a:off x="5821997" y="2445578"/>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31" name="Rectangle 112"/>
          <p:cNvSpPr>
            <a:spLocks noChangeArrowheads="1"/>
          </p:cNvSpPr>
          <p:nvPr/>
        </p:nvSpPr>
        <p:spPr bwMode="auto">
          <a:xfrm>
            <a:off x="6319479" y="2582331"/>
            <a:ext cx="468077"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Scalar</a:t>
            </a:r>
          </a:p>
        </p:txBody>
      </p:sp>
      <p:sp>
        <p:nvSpPr>
          <p:cNvPr id="1135" name="Rectangle 116"/>
          <p:cNvSpPr>
            <a:spLocks noChangeArrowheads="1"/>
          </p:cNvSpPr>
          <p:nvPr/>
        </p:nvSpPr>
        <p:spPr bwMode="auto">
          <a:xfrm>
            <a:off x="7437437" y="2445578"/>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36" name="Rectangle 117"/>
          <p:cNvSpPr>
            <a:spLocks noChangeArrowheads="1"/>
          </p:cNvSpPr>
          <p:nvPr/>
        </p:nvSpPr>
        <p:spPr bwMode="auto">
          <a:xfrm>
            <a:off x="7664813" y="2582331"/>
            <a:ext cx="1008289"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User defined</a:t>
            </a:r>
          </a:p>
        </p:txBody>
      </p:sp>
      <p:sp>
        <p:nvSpPr>
          <p:cNvPr id="1140" name="Rectangle 121"/>
          <p:cNvSpPr>
            <a:spLocks noChangeArrowheads="1"/>
          </p:cNvSpPr>
          <p:nvPr/>
        </p:nvSpPr>
        <p:spPr bwMode="auto">
          <a:xfrm>
            <a:off x="8961437" y="2445578"/>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41" name="Rectangle 122"/>
          <p:cNvSpPr>
            <a:spLocks noChangeArrowheads="1"/>
          </p:cNvSpPr>
          <p:nvPr/>
        </p:nvSpPr>
        <p:spPr bwMode="auto">
          <a:xfrm>
            <a:off x="9256075" y="2582331"/>
            <a:ext cx="873765"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Table value</a:t>
            </a:r>
          </a:p>
        </p:txBody>
      </p:sp>
      <p:sp>
        <p:nvSpPr>
          <p:cNvPr id="1145" name="Rectangle 126"/>
          <p:cNvSpPr>
            <a:spLocks noChangeArrowheads="1"/>
          </p:cNvSpPr>
          <p:nvPr/>
        </p:nvSpPr>
        <p:spPr bwMode="auto">
          <a:xfrm>
            <a:off x="10513097" y="2445578"/>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46" name="Rectangle 127"/>
          <p:cNvSpPr>
            <a:spLocks noChangeArrowheads="1"/>
          </p:cNvSpPr>
          <p:nvPr/>
        </p:nvSpPr>
        <p:spPr bwMode="auto">
          <a:xfrm>
            <a:off x="11010579" y="2582331"/>
            <a:ext cx="468077"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Scalar</a:t>
            </a:r>
          </a:p>
        </p:txBody>
      </p:sp>
      <p:sp>
        <p:nvSpPr>
          <p:cNvPr id="1149" name="Line 128"/>
          <p:cNvSpPr>
            <a:spLocks noChangeShapeType="1"/>
          </p:cNvSpPr>
          <p:nvPr/>
        </p:nvSpPr>
        <p:spPr bwMode="auto">
          <a:xfrm flipH="1">
            <a:off x="427037" y="2374537"/>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88" name="Rectangle 133"/>
          <p:cNvSpPr>
            <a:spLocks noChangeArrowheads="1"/>
          </p:cNvSpPr>
          <p:nvPr/>
        </p:nvSpPr>
        <p:spPr bwMode="auto">
          <a:xfrm>
            <a:off x="569760" y="2605089"/>
            <a:ext cx="13933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Function support</a:t>
            </a:r>
          </a:p>
        </p:txBody>
      </p:sp>
      <p:sp>
        <p:nvSpPr>
          <p:cNvPr id="1090" name="Rectangle 137"/>
          <p:cNvSpPr>
            <a:spLocks noChangeArrowheads="1"/>
          </p:cNvSpPr>
          <p:nvPr/>
        </p:nvSpPr>
        <p:spPr bwMode="auto">
          <a:xfrm>
            <a:off x="2850197" y="3076610"/>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93" name="Rectangle 138"/>
          <p:cNvSpPr>
            <a:spLocks noChangeArrowheads="1"/>
          </p:cNvSpPr>
          <p:nvPr/>
        </p:nvSpPr>
        <p:spPr bwMode="auto">
          <a:xfrm>
            <a:off x="3367682" y="3213363"/>
            <a:ext cx="336631"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SSIS</a:t>
            </a:r>
          </a:p>
        </p:txBody>
      </p:sp>
      <p:sp>
        <p:nvSpPr>
          <p:cNvPr id="1095" name="Rectangle 142"/>
          <p:cNvSpPr>
            <a:spLocks noChangeArrowheads="1"/>
          </p:cNvSpPr>
          <p:nvPr/>
        </p:nvSpPr>
        <p:spPr bwMode="auto">
          <a:xfrm>
            <a:off x="4282757" y="3074197"/>
            <a:ext cx="1463040" cy="493776"/>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98" name="Rectangle 143"/>
          <p:cNvSpPr>
            <a:spLocks noChangeArrowheads="1"/>
          </p:cNvSpPr>
          <p:nvPr/>
        </p:nvSpPr>
        <p:spPr bwMode="auto">
          <a:xfrm>
            <a:off x="4595476" y="3213363"/>
            <a:ext cx="837602"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DWLoader</a:t>
            </a:r>
          </a:p>
        </p:txBody>
      </p:sp>
      <p:sp>
        <p:nvSpPr>
          <p:cNvPr id="1100" name="Rectangle 147"/>
          <p:cNvSpPr>
            <a:spLocks noChangeArrowheads="1"/>
          </p:cNvSpPr>
          <p:nvPr/>
        </p:nvSpPr>
        <p:spPr bwMode="auto">
          <a:xfrm>
            <a:off x="5821997" y="3076610"/>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03" name="Rectangle 148"/>
          <p:cNvSpPr>
            <a:spLocks noChangeArrowheads="1"/>
          </p:cNvSpPr>
          <p:nvPr/>
        </p:nvSpPr>
        <p:spPr bwMode="auto">
          <a:xfrm>
            <a:off x="6396423" y="3213363"/>
            <a:ext cx="314189"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BCP</a:t>
            </a:r>
          </a:p>
        </p:txBody>
      </p:sp>
      <p:sp>
        <p:nvSpPr>
          <p:cNvPr id="1105" name="Rectangle 152"/>
          <p:cNvSpPr>
            <a:spLocks noChangeArrowheads="1"/>
          </p:cNvSpPr>
          <p:nvPr/>
        </p:nvSpPr>
        <p:spPr bwMode="auto">
          <a:xfrm>
            <a:off x="7437437" y="3076610"/>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06" name="Rectangle 153"/>
          <p:cNvSpPr>
            <a:spLocks noChangeArrowheads="1"/>
          </p:cNvSpPr>
          <p:nvPr/>
        </p:nvSpPr>
        <p:spPr bwMode="auto">
          <a:xfrm>
            <a:off x="8000642" y="3213363"/>
            <a:ext cx="336631"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SSIS</a:t>
            </a:r>
          </a:p>
        </p:txBody>
      </p:sp>
      <p:sp>
        <p:nvSpPr>
          <p:cNvPr id="1108" name="Rectangle 157"/>
          <p:cNvSpPr>
            <a:spLocks noChangeArrowheads="1"/>
          </p:cNvSpPr>
          <p:nvPr/>
        </p:nvSpPr>
        <p:spPr bwMode="auto">
          <a:xfrm>
            <a:off x="8961437" y="3076610"/>
            <a:ext cx="1463040" cy="488950"/>
          </a:xfrm>
          <a:prstGeom prst="rect">
            <a:avLst/>
          </a:prstGeom>
          <a:solidFill>
            <a:schemeClr val="bg1">
              <a:lumMod val="20000"/>
              <a:lumOff val="80000"/>
            </a:schemeClr>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11" name="Rectangle 158"/>
          <p:cNvSpPr>
            <a:spLocks noChangeArrowheads="1"/>
          </p:cNvSpPr>
          <p:nvPr/>
        </p:nvSpPr>
        <p:spPr bwMode="auto">
          <a:xfrm>
            <a:off x="9274156" y="3213363"/>
            <a:ext cx="837602"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DWLoader</a:t>
            </a:r>
          </a:p>
        </p:txBody>
      </p:sp>
      <p:sp>
        <p:nvSpPr>
          <p:cNvPr id="1113" name="Rectangle 162"/>
          <p:cNvSpPr>
            <a:spLocks noChangeArrowheads="1"/>
          </p:cNvSpPr>
          <p:nvPr/>
        </p:nvSpPr>
        <p:spPr bwMode="auto">
          <a:xfrm>
            <a:off x="10513097" y="3076610"/>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14" name="Rectangle 163"/>
          <p:cNvSpPr>
            <a:spLocks noChangeArrowheads="1"/>
          </p:cNvSpPr>
          <p:nvPr/>
        </p:nvSpPr>
        <p:spPr bwMode="auto">
          <a:xfrm>
            <a:off x="11087523" y="3213363"/>
            <a:ext cx="314189"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BCP</a:t>
            </a:r>
          </a:p>
        </p:txBody>
      </p:sp>
      <p:sp>
        <p:nvSpPr>
          <p:cNvPr id="1117" name="Line 164"/>
          <p:cNvSpPr>
            <a:spLocks noChangeShapeType="1"/>
          </p:cNvSpPr>
          <p:nvPr/>
        </p:nvSpPr>
        <p:spPr bwMode="auto">
          <a:xfrm flipH="1">
            <a:off x="427037" y="3005569"/>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52" name="Rectangle 169"/>
          <p:cNvSpPr>
            <a:spLocks noChangeArrowheads="1"/>
          </p:cNvSpPr>
          <p:nvPr/>
        </p:nvSpPr>
        <p:spPr bwMode="auto">
          <a:xfrm>
            <a:off x="569760" y="3228976"/>
            <a:ext cx="6249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1400" dirty="0">
                <a:latin typeface="Segoe UI Semibold" panose="020B0702040204020203" pitchFamily="34" charset="0"/>
                <a:cs typeface="Segoe UI Semibold" panose="020B0702040204020203" pitchFamily="34" charset="0"/>
              </a:rPr>
              <a:t>ETL/ELT</a:t>
            </a:r>
          </a:p>
        </p:txBody>
      </p:sp>
      <p:sp>
        <p:nvSpPr>
          <p:cNvPr id="1160" name="Rectangle 175"/>
          <p:cNvSpPr>
            <a:spLocks noChangeArrowheads="1"/>
          </p:cNvSpPr>
          <p:nvPr/>
        </p:nvSpPr>
        <p:spPr bwMode="auto">
          <a:xfrm>
            <a:off x="2850197" y="3707642"/>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61" name="Rectangle 176"/>
          <p:cNvSpPr>
            <a:spLocks noChangeArrowheads="1"/>
          </p:cNvSpPr>
          <p:nvPr/>
        </p:nvSpPr>
        <p:spPr bwMode="auto">
          <a:xfrm>
            <a:off x="3354056" y="3844395"/>
            <a:ext cx="363882"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MPP</a:t>
            </a:r>
          </a:p>
        </p:txBody>
      </p:sp>
      <p:sp>
        <p:nvSpPr>
          <p:cNvPr id="1165" name="Rectangle 180"/>
          <p:cNvSpPr>
            <a:spLocks noChangeArrowheads="1"/>
          </p:cNvSpPr>
          <p:nvPr/>
        </p:nvSpPr>
        <p:spPr bwMode="auto">
          <a:xfrm>
            <a:off x="4282757" y="3705229"/>
            <a:ext cx="1463040" cy="493776"/>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66" name="Rectangle 181"/>
          <p:cNvSpPr>
            <a:spLocks noChangeArrowheads="1"/>
          </p:cNvSpPr>
          <p:nvPr/>
        </p:nvSpPr>
        <p:spPr bwMode="auto">
          <a:xfrm>
            <a:off x="4405521" y="3844395"/>
            <a:ext cx="1217513"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Shared nothing</a:t>
            </a:r>
          </a:p>
        </p:txBody>
      </p:sp>
      <p:sp>
        <p:nvSpPr>
          <p:cNvPr id="1170" name="Rectangle 185"/>
          <p:cNvSpPr>
            <a:spLocks noChangeArrowheads="1"/>
          </p:cNvSpPr>
          <p:nvPr/>
        </p:nvSpPr>
        <p:spPr bwMode="auto">
          <a:xfrm>
            <a:off x="5821997" y="3707642"/>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71" name="Rectangle 186"/>
          <p:cNvSpPr>
            <a:spLocks noChangeArrowheads="1"/>
          </p:cNvSpPr>
          <p:nvPr/>
        </p:nvSpPr>
        <p:spPr bwMode="auto">
          <a:xfrm>
            <a:off x="6146355" y="3736674"/>
            <a:ext cx="814325" cy="430887"/>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Scale unit </a:t>
            </a:r>
            <a:br>
              <a:rPr lang="en-US" altLang="en-US" sz="1400" dirty="0">
                <a:solidFill>
                  <a:srgbClr val="0078D7"/>
                </a:solidFill>
                <a:latin typeface="+mn-lt"/>
              </a:rPr>
            </a:br>
            <a:r>
              <a:rPr lang="en-US" altLang="en-US" sz="1400" dirty="0">
                <a:solidFill>
                  <a:srgbClr val="0078D7"/>
                </a:solidFill>
                <a:latin typeface="+mn-lt"/>
              </a:rPr>
              <a:t>hardware</a:t>
            </a:r>
          </a:p>
        </p:txBody>
      </p:sp>
      <p:sp>
        <p:nvSpPr>
          <p:cNvPr id="1176" name="Rectangle 191"/>
          <p:cNvSpPr>
            <a:spLocks noChangeArrowheads="1"/>
          </p:cNvSpPr>
          <p:nvPr/>
        </p:nvSpPr>
        <p:spPr bwMode="auto">
          <a:xfrm>
            <a:off x="7437437" y="3707642"/>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77" name="Rectangle 192"/>
          <p:cNvSpPr>
            <a:spLocks noChangeArrowheads="1"/>
          </p:cNvSpPr>
          <p:nvPr/>
        </p:nvSpPr>
        <p:spPr bwMode="auto">
          <a:xfrm>
            <a:off x="7987016" y="3844395"/>
            <a:ext cx="363882"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MPP</a:t>
            </a:r>
          </a:p>
        </p:txBody>
      </p:sp>
      <p:sp>
        <p:nvSpPr>
          <p:cNvPr id="1181" name="Rectangle 196"/>
          <p:cNvSpPr>
            <a:spLocks noChangeArrowheads="1"/>
          </p:cNvSpPr>
          <p:nvPr/>
        </p:nvSpPr>
        <p:spPr bwMode="auto">
          <a:xfrm>
            <a:off x="8961437" y="3707642"/>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82" name="Rectangle 197"/>
          <p:cNvSpPr>
            <a:spLocks noChangeArrowheads="1"/>
          </p:cNvSpPr>
          <p:nvPr/>
        </p:nvSpPr>
        <p:spPr bwMode="auto">
          <a:xfrm>
            <a:off x="9084201" y="3844395"/>
            <a:ext cx="1217513"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Shared nothing</a:t>
            </a:r>
          </a:p>
        </p:txBody>
      </p:sp>
      <p:sp>
        <p:nvSpPr>
          <p:cNvPr id="1186" name="Rectangle 201"/>
          <p:cNvSpPr>
            <a:spLocks noChangeArrowheads="1"/>
          </p:cNvSpPr>
          <p:nvPr/>
        </p:nvSpPr>
        <p:spPr bwMode="auto">
          <a:xfrm>
            <a:off x="10513097" y="3707642"/>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87" name="Rectangle 202"/>
          <p:cNvSpPr>
            <a:spLocks noChangeArrowheads="1"/>
          </p:cNvSpPr>
          <p:nvPr/>
        </p:nvSpPr>
        <p:spPr bwMode="auto">
          <a:xfrm>
            <a:off x="10539680" y="3736674"/>
            <a:ext cx="1409873" cy="430887"/>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SQL DB database </a:t>
            </a:r>
            <a:br>
              <a:rPr lang="en-US" altLang="en-US" sz="1400" dirty="0">
                <a:solidFill>
                  <a:srgbClr val="0078D7"/>
                </a:solidFill>
                <a:latin typeface="+mn-lt"/>
              </a:rPr>
            </a:br>
            <a:r>
              <a:rPr lang="en-US" altLang="en-US" sz="1400" dirty="0">
                <a:solidFill>
                  <a:srgbClr val="0078D7"/>
                </a:solidFill>
                <a:latin typeface="+mn-lt"/>
              </a:rPr>
              <a:t>instances</a:t>
            </a:r>
          </a:p>
        </p:txBody>
      </p:sp>
      <p:sp>
        <p:nvSpPr>
          <p:cNvPr id="1191" name="Line 204"/>
          <p:cNvSpPr>
            <a:spLocks noChangeShapeType="1"/>
          </p:cNvSpPr>
          <p:nvPr/>
        </p:nvSpPr>
        <p:spPr bwMode="auto">
          <a:xfrm flipH="1">
            <a:off x="427037" y="3636601"/>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94" name="Rectangle 209"/>
          <p:cNvSpPr>
            <a:spLocks noChangeArrowheads="1"/>
          </p:cNvSpPr>
          <p:nvPr/>
        </p:nvSpPr>
        <p:spPr bwMode="auto">
          <a:xfrm>
            <a:off x="569760" y="3863976"/>
            <a:ext cx="99283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Architecture</a:t>
            </a:r>
          </a:p>
        </p:txBody>
      </p:sp>
      <p:sp>
        <p:nvSpPr>
          <p:cNvPr id="1198" name="Rectangle 213"/>
          <p:cNvSpPr>
            <a:spLocks noChangeArrowheads="1"/>
          </p:cNvSpPr>
          <p:nvPr/>
        </p:nvSpPr>
        <p:spPr bwMode="auto">
          <a:xfrm>
            <a:off x="2850197" y="4338674"/>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199" name="Rectangle 214"/>
          <p:cNvSpPr>
            <a:spLocks noChangeArrowheads="1"/>
          </p:cNvSpPr>
          <p:nvPr/>
        </p:nvSpPr>
        <p:spPr bwMode="auto">
          <a:xfrm>
            <a:off x="3422985" y="4475427"/>
            <a:ext cx="226024"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GB</a:t>
            </a:r>
          </a:p>
        </p:txBody>
      </p:sp>
      <p:sp>
        <p:nvSpPr>
          <p:cNvPr id="1203" name="Rectangle 218"/>
          <p:cNvSpPr>
            <a:spLocks noChangeArrowheads="1"/>
          </p:cNvSpPr>
          <p:nvPr/>
        </p:nvSpPr>
        <p:spPr bwMode="auto">
          <a:xfrm>
            <a:off x="4282757" y="4336261"/>
            <a:ext cx="1463040" cy="493776"/>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04" name="Rectangle 219"/>
          <p:cNvSpPr>
            <a:spLocks noChangeArrowheads="1"/>
          </p:cNvSpPr>
          <p:nvPr/>
        </p:nvSpPr>
        <p:spPr bwMode="auto">
          <a:xfrm>
            <a:off x="4915692" y="4475427"/>
            <a:ext cx="197170"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TB</a:t>
            </a:r>
          </a:p>
        </p:txBody>
      </p:sp>
      <p:sp>
        <p:nvSpPr>
          <p:cNvPr id="1208" name="Rectangle 223"/>
          <p:cNvSpPr>
            <a:spLocks noChangeArrowheads="1"/>
          </p:cNvSpPr>
          <p:nvPr/>
        </p:nvSpPr>
        <p:spPr bwMode="auto">
          <a:xfrm>
            <a:off x="5821997" y="4338674"/>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09" name="Rectangle 224"/>
          <p:cNvSpPr>
            <a:spLocks noChangeArrowheads="1"/>
          </p:cNvSpPr>
          <p:nvPr/>
        </p:nvSpPr>
        <p:spPr bwMode="auto">
          <a:xfrm>
            <a:off x="6451726" y="4475427"/>
            <a:ext cx="203582"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PB</a:t>
            </a:r>
          </a:p>
        </p:txBody>
      </p:sp>
      <p:sp>
        <p:nvSpPr>
          <p:cNvPr id="1215" name="Rectangle 228"/>
          <p:cNvSpPr>
            <a:spLocks noChangeArrowheads="1"/>
          </p:cNvSpPr>
          <p:nvPr/>
        </p:nvSpPr>
        <p:spPr bwMode="auto">
          <a:xfrm>
            <a:off x="7437437" y="4338674"/>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16" name="Rectangle 229"/>
          <p:cNvSpPr>
            <a:spLocks noChangeArrowheads="1"/>
          </p:cNvSpPr>
          <p:nvPr/>
        </p:nvSpPr>
        <p:spPr bwMode="auto">
          <a:xfrm>
            <a:off x="8055945" y="4475427"/>
            <a:ext cx="226024"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GB</a:t>
            </a:r>
          </a:p>
        </p:txBody>
      </p:sp>
      <p:sp>
        <p:nvSpPr>
          <p:cNvPr id="1224" name="Rectangle 233"/>
          <p:cNvSpPr>
            <a:spLocks noChangeArrowheads="1"/>
          </p:cNvSpPr>
          <p:nvPr/>
        </p:nvSpPr>
        <p:spPr bwMode="auto">
          <a:xfrm>
            <a:off x="8961437" y="4338674"/>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25" name="Rectangle 234"/>
          <p:cNvSpPr>
            <a:spLocks noChangeArrowheads="1"/>
          </p:cNvSpPr>
          <p:nvPr/>
        </p:nvSpPr>
        <p:spPr bwMode="auto">
          <a:xfrm>
            <a:off x="9594372" y="4475427"/>
            <a:ext cx="197170"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78D7"/>
                </a:solidFill>
                <a:effectLst/>
                <a:latin typeface="+mn-lt"/>
              </a:rPr>
              <a:t>TB</a:t>
            </a:r>
          </a:p>
        </p:txBody>
      </p:sp>
      <p:sp>
        <p:nvSpPr>
          <p:cNvPr id="1231" name="Rectangle 238"/>
          <p:cNvSpPr>
            <a:spLocks noChangeArrowheads="1"/>
          </p:cNvSpPr>
          <p:nvPr/>
        </p:nvSpPr>
        <p:spPr bwMode="auto">
          <a:xfrm>
            <a:off x="10513097" y="4338674"/>
            <a:ext cx="146304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32" name="Rectangle 239"/>
          <p:cNvSpPr>
            <a:spLocks noChangeArrowheads="1"/>
          </p:cNvSpPr>
          <p:nvPr/>
        </p:nvSpPr>
        <p:spPr bwMode="auto">
          <a:xfrm>
            <a:off x="11142826" y="4475427"/>
            <a:ext cx="203582" cy="215444"/>
          </a:xfrm>
          <a:prstGeom prst="rect">
            <a:avLst/>
          </a:prstGeom>
          <a:solidFill>
            <a:schemeClr val="tx1"/>
          </a:solid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PB</a:t>
            </a:r>
          </a:p>
        </p:txBody>
      </p:sp>
      <p:sp>
        <p:nvSpPr>
          <p:cNvPr id="1233" name="Line 240"/>
          <p:cNvSpPr>
            <a:spLocks noChangeShapeType="1"/>
          </p:cNvSpPr>
          <p:nvPr/>
        </p:nvSpPr>
        <p:spPr bwMode="auto">
          <a:xfrm flipH="1">
            <a:off x="427037" y="4267633"/>
            <a:ext cx="11612880" cy="0"/>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42" name="Rectangle 245"/>
          <p:cNvSpPr>
            <a:spLocks noChangeArrowheads="1"/>
          </p:cNvSpPr>
          <p:nvPr/>
        </p:nvSpPr>
        <p:spPr bwMode="auto">
          <a:xfrm>
            <a:off x="569760" y="4511676"/>
            <a:ext cx="110786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Data volumes</a:t>
            </a:r>
          </a:p>
        </p:txBody>
      </p:sp>
      <p:sp>
        <p:nvSpPr>
          <p:cNvPr id="1314" name="Rectangle 249"/>
          <p:cNvSpPr>
            <a:spLocks noChangeArrowheads="1"/>
          </p:cNvSpPr>
          <p:nvPr/>
        </p:nvSpPr>
        <p:spPr bwMode="auto">
          <a:xfrm>
            <a:off x="2850197" y="4969706"/>
            <a:ext cx="1371600" cy="488950"/>
          </a:xfrm>
          <a:prstGeom prst="rect">
            <a:avLst/>
          </a:prstGeom>
          <a:solidFill>
            <a:schemeClr val="tx1"/>
          </a:solidFill>
          <a:ln w="7938" cap="sq">
            <a:solidFill>
              <a:srgbClr val="C8C8C8"/>
            </a:solidFill>
            <a:prstDash val="solid"/>
            <a:miter lim="800000"/>
            <a:headEnd/>
            <a:tailEnd/>
          </a:ln>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42" name="Rectangle 251"/>
          <p:cNvSpPr>
            <a:spLocks noChangeArrowheads="1"/>
          </p:cNvSpPr>
          <p:nvPr/>
        </p:nvSpPr>
        <p:spPr bwMode="auto">
          <a:xfrm>
            <a:off x="3082347" y="5106459"/>
            <a:ext cx="907301"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Local/JBOD</a:t>
            </a:r>
          </a:p>
        </p:txBody>
      </p:sp>
      <p:sp>
        <p:nvSpPr>
          <p:cNvPr id="1048" name="Rectangle 257"/>
          <p:cNvSpPr>
            <a:spLocks noChangeArrowheads="1"/>
          </p:cNvSpPr>
          <p:nvPr/>
        </p:nvSpPr>
        <p:spPr bwMode="auto">
          <a:xfrm>
            <a:off x="4282757" y="4967293"/>
            <a:ext cx="1463040" cy="493776"/>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51" name="Rectangle 258"/>
          <p:cNvSpPr>
            <a:spLocks noChangeArrowheads="1"/>
          </p:cNvSpPr>
          <p:nvPr/>
        </p:nvSpPr>
        <p:spPr bwMode="auto">
          <a:xfrm>
            <a:off x="4683289" y="5106459"/>
            <a:ext cx="661976"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WASB(s)</a:t>
            </a:r>
          </a:p>
        </p:txBody>
      </p:sp>
      <p:sp>
        <p:nvSpPr>
          <p:cNvPr id="1248" name="Rectangle 265"/>
          <p:cNvSpPr>
            <a:spLocks noChangeArrowheads="1"/>
          </p:cNvSpPr>
          <p:nvPr/>
        </p:nvSpPr>
        <p:spPr bwMode="auto">
          <a:xfrm>
            <a:off x="5821997" y="4969706"/>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49" name="Rectangle 266"/>
          <p:cNvSpPr>
            <a:spLocks noChangeArrowheads="1"/>
          </p:cNvSpPr>
          <p:nvPr/>
        </p:nvSpPr>
        <p:spPr bwMode="auto">
          <a:xfrm>
            <a:off x="5948352" y="5106459"/>
            <a:ext cx="1210331"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Azure Premium</a:t>
            </a:r>
          </a:p>
        </p:txBody>
      </p:sp>
      <p:sp>
        <p:nvSpPr>
          <p:cNvPr id="1251" name="Rectangle 270"/>
          <p:cNvSpPr>
            <a:spLocks noChangeArrowheads="1"/>
          </p:cNvSpPr>
          <p:nvPr/>
        </p:nvSpPr>
        <p:spPr bwMode="auto">
          <a:xfrm>
            <a:off x="7437437" y="4969706"/>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52" name="Rectangle 271"/>
          <p:cNvSpPr>
            <a:spLocks noChangeArrowheads="1"/>
          </p:cNvSpPr>
          <p:nvPr/>
        </p:nvSpPr>
        <p:spPr bwMode="auto">
          <a:xfrm>
            <a:off x="7715307" y="5106459"/>
            <a:ext cx="907300"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FF8C00"/>
                </a:solidFill>
                <a:latin typeface="+mn-lt"/>
              </a:rPr>
              <a:t>Local/JBOD</a:t>
            </a:r>
          </a:p>
        </p:txBody>
      </p:sp>
      <p:sp>
        <p:nvSpPr>
          <p:cNvPr id="1256" name="Rectangle 277"/>
          <p:cNvSpPr>
            <a:spLocks noChangeArrowheads="1"/>
          </p:cNvSpPr>
          <p:nvPr/>
        </p:nvSpPr>
        <p:spPr bwMode="auto">
          <a:xfrm>
            <a:off x="8961437" y="4969706"/>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57" name="Rectangle 278"/>
          <p:cNvSpPr>
            <a:spLocks noChangeArrowheads="1"/>
          </p:cNvSpPr>
          <p:nvPr/>
        </p:nvSpPr>
        <p:spPr bwMode="auto">
          <a:xfrm>
            <a:off x="9361969" y="5106459"/>
            <a:ext cx="661976"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WASB(s)</a:t>
            </a:r>
          </a:p>
        </p:txBody>
      </p:sp>
      <p:sp>
        <p:nvSpPr>
          <p:cNvPr id="1262" name="Rectangle 285"/>
          <p:cNvSpPr>
            <a:spLocks noChangeArrowheads="1"/>
          </p:cNvSpPr>
          <p:nvPr/>
        </p:nvSpPr>
        <p:spPr bwMode="auto">
          <a:xfrm>
            <a:off x="10513097" y="4969706"/>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63" name="Rectangle 286"/>
          <p:cNvSpPr>
            <a:spLocks noChangeArrowheads="1"/>
          </p:cNvSpPr>
          <p:nvPr/>
        </p:nvSpPr>
        <p:spPr bwMode="auto">
          <a:xfrm>
            <a:off x="10639452" y="5106459"/>
            <a:ext cx="1210331"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Azure Premium</a:t>
            </a:r>
          </a:p>
        </p:txBody>
      </p:sp>
      <p:sp>
        <p:nvSpPr>
          <p:cNvPr id="1264" name="Line 287"/>
          <p:cNvSpPr>
            <a:spLocks noChangeShapeType="1"/>
          </p:cNvSpPr>
          <p:nvPr/>
        </p:nvSpPr>
        <p:spPr bwMode="auto">
          <a:xfrm flipH="1">
            <a:off x="427037" y="4898665"/>
            <a:ext cx="11612880"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67" name="Rectangle 292"/>
          <p:cNvSpPr>
            <a:spLocks noChangeArrowheads="1"/>
          </p:cNvSpPr>
          <p:nvPr/>
        </p:nvSpPr>
        <p:spPr bwMode="auto">
          <a:xfrm>
            <a:off x="569760" y="5135563"/>
            <a:ext cx="1313436"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Storage support</a:t>
            </a:r>
          </a:p>
        </p:txBody>
      </p:sp>
      <p:sp>
        <p:nvSpPr>
          <p:cNvPr id="1269" name="Rectangle 296"/>
          <p:cNvSpPr>
            <a:spLocks noChangeArrowheads="1"/>
          </p:cNvSpPr>
          <p:nvPr/>
        </p:nvSpPr>
        <p:spPr bwMode="auto">
          <a:xfrm>
            <a:off x="2850197" y="5600738"/>
            <a:ext cx="137160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70" name="Rectangle 297"/>
          <p:cNvSpPr>
            <a:spLocks noChangeArrowheads="1"/>
          </p:cNvSpPr>
          <p:nvPr/>
        </p:nvSpPr>
        <p:spPr bwMode="auto">
          <a:xfrm>
            <a:off x="3078146" y="5737491"/>
            <a:ext cx="915700"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OLAP/SSAS</a:t>
            </a:r>
          </a:p>
        </p:txBody>
      </p:sp>
      <p:sp>
        <p:nvSpPr>
          <p:cNvPr id="1272" name="Rectangle 299"/>
          <p:cNvSpPr>
            <a:spLocks noChangeArrowheads="1"/>
          </p:cNvSpPr>
          <p:nvPr/>
        </p:nvSpPr>
        <p:spPr bwMode="auto">
          <a:xfrm>
            <a:off x="3535965" y="5737491"/>
            <a:ext cx="6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bg1"/>
              </a:solidFill>
              <a:effectLst/>
              <a:latin typeface="+mn-lt"/>
            </a:endParaRPr>
          </a:p>
        </p:txBody>
      </p:sp>
      <p:sp>
        <p:nvSpPr>
          <p:cNvPr id="1274" name="Rectangle 303"/>
          <p:cNvSpPr>
            <a:spLocks noChangeArrowheads="1"/>
          </p:cNvSpPr>
          <p:nvPr/>
        </p:nvSpPr>
        <p:spPr bwMode="auto">
          <a:xfrm>
            <a:off x="4282757" y="5598325"/>
            <a:ext cx="1463040" cy="493776"/>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275" name="Rectangle 304"/>
          <p:cNvSpPr>
            <a:spLocks noChangeArrowheads="1"/>
          </p:cNvSpPr>
          <p:nvPr/>
        </p:nvSpPr>
        <p:spPr bwMode="auto">
          <a:xfrm>
            <a:off x="4493204" y="5737491"/>
            <a:ext cx="104214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AA Suite/ML </a:t>
            </a:r>
          </a:p>
        </p:txBody>
      </p:sp>
      <p:sp>
        <p:nvSpPr>
          <p:cNvPr id="1059" name="Rectangle 310"/>
          <p:cNvSpPr>
            <a:spLocks noChangeArrowheads="1"/>
          </p:cNvSpPr>
          <p:nvPr/>
        </p:nvSpPr>
        <p:spPr bwMode="auto">
          <a:xfrm>
            <a:off x="5821997" y="5600738"/>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60" name="Rectangle 311"/>
          <p:cNvSpPr>
            <a:spLocks noChangeArrowheads="1"/>
          </p:cNvSpPr>
          <p:nvPr/>
        </p:nvSpPr>
        <p:spPr bwMode="auto">
          <a:xfrm>
            <a:off x="6121284" y="5737491"/>
            <a:ext cx="864467"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FF8C00"/>
                </a:solidFill>
                <a:effectLst/>
                <a:latin typeface="+mn-lt"/>
              </a:rPr>
              <a:t>Third party</a:t>
            </a:r>
          </a:p>
        </p:txBody>
      </p:sp>
      <p:sp>
        <p:nvSpPr>
          <p:cNvPr id="1064" name="Rectangle 315"/>
          <p:cNvSpPr>
            <a:spLocks noChangeArrowheads="1"/>
          </p:cNvSpPr>
          <p:nvPr/>
        </p:nvSpPr>
        <p:spPr bwMode="auto">
          <a:xfrm>
            <a:off x="7437437" y="5600738"/>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65" name="Rectangle 316"/>
          <p:cNvSpPr>
            <a:spLocks noChangeArrowheads="1"/>
          </p:cNvSpPr>
          <p:nvPr/>
        </p:nvSpPr>
        <p:spPr bwMode="auto">
          <a:xfrm>
            <a:off x="7711106" y="5737491"/>
            <a:ext cx="915700"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OLAP/SSAS</a:t>
            </a:r>
          </a:p>
        </p:txBody>
      </p:sp>
      <p:sp>
        <p:nvSpPr>
          <p:cNvPr id="1071" name="Rectangle 322"/>
          <p:cNvSpPr>
            <a:spLocks noChangeArrowheads="1"/>
          </p:cNvSpPr>
          <p:nvPr/>
        </p:nvSpPr>
        <p:spPr bwMode="auto">
          <a:xfrm>
            <a:off x="8961437" y="5600738"/>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72" name="Rectangle 323"/>
          <p:cNvSpPr>
            <a:spLocks noChangeArrowheads="1"/>
          </p:cNvSpPr>
          <p:nvPr/>
        </p:nvSpPr>
        <p:spPr bwMode="auto">
          <a:xfrm>
            <a:off x="9196731" y="5737491"/>
            <a:ext cx="992452"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AA Suite/ML</a:t>
            </a:r>
          </a:p>
        </p:txBody>
      </p:sp>
      <p:sp>
        <p:nvSpPr>
          <p:cNvPr id="1076" name="Rectangle 329"/>
          <p:cNvSpPr>
            <a:spLocks noChangeArrowheads="1"/>
          </p:cNvSpPr>
          <p:nvPr/>
        </p:nvSpPr>
        <p:spPr bwMode="auto">
          <a:xfrm>
            <a:off x="10513097" y="5600738"/>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077" name="Rectangle 330"/>
          <p:cNvSpPr>
            <a:spLocks noChangeArrowheads="1"/>
          </p:cNvSpPr>
          <p:nvPr/>
        </p:nvSpPr>
        <p:spPr bwMode="auto">
          <a:xfrm>
            <a:off x="10812384" y="5737491"/>
            <a:ext cx="864467"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Third party</a:t>
            </a:r>
          </a:p>
        </p:txBody>
      </p:sp>
      <p:sp>
        <p:nvSpPr>
          <p:cNvPr id="1078" name="Line 331"/>
          <p:cNvSpPr>
            <a:spLocks noChangeShapeType="1"/>
          </p:cNvSpPr>
          <p:nvPr/>
        </p:nvSpPr>
        <p:spPr bwMode="auto">
          <a:xfrm flipH="1">
            <a:off x="427037" y="5529697"/>
            <a:ext cx="11612880"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81" name="Rectangle 336"/>
          <p:cNvSpPr>
            <a:spLocks noChangeArrowheads="1"/>
          </p:cNvSpPr>
          <p:nvPr/>
        </p:nvSpPr>
        <p:spPr bwMode="auto">
          <a:xfrm>
            <a:off x="569760" y="5692776"/>
            <a:ext cx="1738681"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1400" dirty="0">
                <a:latin typeface="Segoe UI Semibold" panose="020B0702040204020203" pitchFamily="34" charset="0"/>
                <a:cs typeface="Segoe UI Semibold" panose="020B0702040204020203" pitchFamily="34" charset="0"/>
              </a:rPr>
              <a:t>Analytical integration</a:t>
            </a:r>
          </a:p>
        </p:txBody>
      </p:sp>
      <p:sp>
        <p:nvSpPr>
          <p:cNvPr id="1084" name="Rectangle 341"/>
          <p:cNvSpPr>
            <a:spLocks noChangeArrowheads="1"/>
          </p:cNvSpPr>
          <p:nvPr/>
        </p:nvSpPr>
        <p:spPr bwMode="auto">
          <a:xfrm>
            <a:off x="2850197" y="6231764"/>
            <a:ext cx="137160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dirty="0">
              <a:solidFill>
                <a:schemeClr val="bg1"/>
              </a:solidFill>
            </a:endParaRPr>
          </a:p>
        </p:txBody>
      </p:sp>
      <p:sp>
        <p:nvSpPr>
          <p:cNvPr id="1085" name="Rectangle 342"/>
          <p:cNvSpPr>
            <a:spLocks noChangeArrowheads="1"/>
          </p:cNvSpPr>
          <p:nvPr/>
        </p:nvSpPr>
        <p:spPr bwMode="auto">
          <a:xfrm>
            <a:off x="3064588" y="6368517"/>
            <a:ext cx="942822"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Governance</a:t>
            </a:r>
          </a:p>
        </p:txBody>
      </p:sp>
      <p:sp>
        <p:nvSpPr>
          <p:cNvPr id="1087" name="Rectangle 346"/>
          <p:cNvSpPr>
            <a:spLocks noChangeArrowheads="1"/>
          </p:cNvSpPr>
          <p:nvPr/>
        </p:nvSpPr>
        <p:spPr bwMode="auto">
          <a:xfrm>
            <a:off x="4282757" y="6229351"/>
            <a:ext cx="1463040" cy="493776"/>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45" name="Rectangle 347"/>
          <p:cNvSpPr>
            <a:spLocks noChangeArrowheads="1"/>
          </p:cNvSpPr>
          <p:nvPr/>
        </p:nvSpPr>
        <p:spPr bwMode="auto">
          <a:xfrm>
            <a:off x="4722628" y="6368517"/>
            <a:ext cx="583301"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Archive</a:t>
            </a:r>
          </a:p>
        </p:txBody>
      </p:sp>
      <p:sp>
        <p:nvSpPr>
          <p:cNvPr id="1346" name="Rectangle 348"/>
          <p:cNvSpPr>
            <a:spLocks noChangeArrowheads="1"/>
          </p:cNvSpPr>
          <p:nvPr/>
        </p:nvSpPr>
        <p:spPr bwMode="auto">
          <a:xfrm>
            <a:off x="5014245" y="6368517"/>
            <a:ext cx="6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bg1"/>
              </a:solidFill>
              <a:effectLst/>
              <a:latin typeface="+mn-lt"/>
            </a:endParaRPr>
          </a:p>
        </p:txBody>
      </p:sp>
      <p:sp>
        <p:nvSpPr>
          <p:cNvPr id="1348" name="Rectangle 352"/>
          <p:cNvSpPr>
            <a:spLocks noChangeArrowheads="1"/>
          </p:cNvSpPr>
          <p:nvPr/>
        </p:nvSpPr>
        <p:spPr bwMode="auto">
          <a:xfrm>
            <a:off x="5821997" y="623176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49" name="Rectangle 353"/>
          <p:cNvSpPr>
            <a:spLocks noChangeArrowheads="1"/>
          </p:cNvSpPr>
          <p:nvPr/>
        </p:nvSpPr>
        <p:spPr bwMode="auto">
          <a:xfrm>
            <a:off x="6218394" y="6368517"/>
            <a:ext cx="670247"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Dev/test</a:t>
            </a:r>
          </a:p>
        </p:txBody>
      </p:sp>
      <p:sp>
        <p:nvSpPr>
          <p:cNvPr id="1353" name="Rectangle 355"/>
          <p:cNvSpPr>
            <a:spLocks noChangeArrowheads="1"/>
          </p:cNvSpPr>
          <p:nvPr/>
        </p:nvSpPr>
        <p:spPr bwMode="auto">
          <a:xfrm>
            <a:off x="6553485" y="6368517"/>
            <a:ext cx="6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bg1"/>
              </a:solidFill>
              <a:effectLst/>
              <a:latin typeface="+mn-lt"/>
            </a:endParaRPr>
          </a:p>
        </p:txBody>
      </p:sp>
      <p:sp>
        <p:nvSpPr>
          <p:cNvPr id="1355" name="Rectangle 359"/>
          <p:cNvSpPr>
            <a:spLocks noChangeArrowheads="1"/>
          </p:cNvSpPr>
          <p:nvPr/>
        </p:nvSpPr>
        <p:spPr bwMode="auto">
          <a:xfrm>
            <a:off x="7437437" y="623176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58" name="Rectangle 360"/>
          <p:cNvSpPr>
            <a:spLocks noChangeArrowheads="1"/>
          </p:cNvSpPr>
          <p:nvPr/>
        </p:nvSpPr>
        <p:spPr bwMode="auto">
          <a:xfrm>
            <a:off x="7697547" y="6368517"/>
            <a:ext cx="942823"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78D7"/>
                </a:solidFill>
                <a:effectLst/>
                <a:latin typeface="+mn-lt"/>
              </a:rPr>
              <a:t>Governance</a:t>
            </a:r>
          </a:p>
        </p:txBody>
      </p:sp>
      <p:sp>
        <p:nvSpPr>
          <p:cNvPr id="1360" name="Rectangle 364"/>
          <p:cNvSpPr>
            <a:spLocks noChangeArrowheads="1"/>
          </p:cNvSpPr>
          <p:nvPr/>
        </p:nvSpPr>
        <p:spPr bwMode="auto">
          <a:xfrm>
            <a:off x="8961437" y="6231764"/>
            <a:ext cx="1463040" cy="488950"/>
          </a:xfrm>
          <a:prstGeom prst="rect">
            <a:avLst/>
          </a:prstGeom>
          <a:solidFill>
            <a:schemeClr val="bg1">
              <a:lumMod val="20000"/>
              <a:lumOff val="80000"/>
            </a:schemeClr>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61" name="Rectangle 365"/>
          <p:cNvSpPr>
            <a:spLocks noChangeArrowheads="1"/>
          </p:cNvSpPr>
          <p:nvPr/>
        </p:nvSpPr>
        <p:spPr bwMode="auto">
          <a:xfrm>
            <a:off x="9401308" y="6368517"/>
            <a:ext cx="583301" cy="215444"/>
          </a:xfrm>
          <a:prstGeom prst="rect">
            <a:avLst/>
          </a:prstGeom>
          <a:no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FF8C00"/>
                </a:solidFill>
                <a:latin typeface="+mn-lt"/>
              </a:rPr>
              <a:t>Archive</a:t>
            </a:r>
          </a:p>
        </p:txBody>
      </p:sp>
      <p:sp>
        <p:nvSpPr>
          <p:cNvPr id="1364" name="Rectangle 366"/>
          <p:cNvSpPr>
            <a:spLocks noChangeArrowheads="1"/>
          </p:cNvSpPr>
          <p:nvPr/>
        </p:nvSpPr>
        <p:spPr bwMode="auto">
          <a:xfrm>
            <a:off x="9692925" y="6368517"/>
            <a:ext cx="6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bg1"/>
              </a:solidFill>
              <a:effectLst/>
              <a:latin typeface="+mn-lt"/>
            </a:endParaRPr>
          </a:p>
        </p:txBody>
      </p:sp>
      <p:sp>
        <p:nvSpPr>
          <p:cNvPr id="1366" name="Rectangle 370"/>
          <p:cNvSpPr>
            <a:spLocks noChangeArrowheads="1"/>
          </p:cNvSpPr>
          <p:nvPr/>
        </p:nvSpPr>
        <p:spPr bwMode="auto">
          <a:xfrm>
            <a:off x="10513097" y="6231764"/>
            <a:ext cx="1463040" cy="488950"/>
          </a:xfrm>
          <a:prstGeom prst="rect">
            <a:avLst/>
          </a:prstGeom>
          <a:solidFill>
            <a:schemeClr val="tx1"/>
          </a:solidFill>
          <a:ln w="7938" cap="sq">
            <a:solidFill>
              <a:srgbClr val="C8C8C8"/>
            </a:solidFill>
            <a:prstDash val="solid"/>
            <a:miter lim="800000"/>
            <a:headEnd/>
            <a:tailEnd/>
          </a:ln>
          <a:effectLst/>
          <a:extLst/>
        </p:spPr>
        <p:txBody>
          <a:bodyPr vert="horz" wrap="square" lIns="91440" tIns="45720" rIns="91440" bIns="45720" numCol="1" anchor="t" anchorCtr="0" compatLnSpc="1">
            <a:prstTxWarp prst="textNoShape">
              <a:avLst/>
            </a:prstTxWarp>
          </a:bodyPr>
          <a:lstStyle/>
          <a:p>
            <a:pPr algn="ctr"/>
            <a:endParaRPr lang="en-US" sz="1400">
              <a:solidFill>
                <a:schemeClr val="bg1"/>
              </a:solidFill>
            </a:endParaRPr>
          </a:p>
        </p:txBody>
      </p:sp>
      <p:sp>
        <p:nvSpPr>
          <p:cNvPr id="1369" name="Rectangle 371"/>
          <p:cNvSpPr>
            <a:spLocks noChangeArrowheads="1"/>
          </p:cNvSpPr>
          <p:nvPr/>
        </p:nvSpPr>
        <p:spPr bwMode="auto">
          <a:xfrm>
            <a:off x="10909495" y="6368517"/>
            <a:ext cx="670248"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1400" dirty="0">
                <a:solidFill>
                  <a:srgbClr val="0078D7"/>
                </a:solidFill>
                <a:latin typeface="+mn-lt"/>
              </a:rPr>
              <a:t>Dev/test</a:t>
            </a:r>
          </a:p>
        </p:txBody>
      </p:sp>
      <p:sp>
        <p:nvSpPr>
          <p:cNvPr id="1371" name="Rectangle 373"/>
          <p:cNvSpPr>
            <a:spLocks noChangeArrowheads="1"/>
          </p:cNvSpPr>
          <p:nvPr/>
        </p:nvSpPr>
        <p:spPr bwMode="auto">
          <a:xfrm>
            <a:off x="11244585" y="6368517"/>
            <a:ext cx="65" cy="215444"/>
          </a:xfrm>
          <a:prstGeom prst="rect">
            <a:avLst/>
          </a:prstGeom>
          <a:solidFill>
            <a:schemeClr val="tx1"/>
          </a:solidFill>
          <a:ln>
            <a:noFill/>
          </a:ln>
          <a:effectLs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bg1"/>
              </a:solidFill>
              <a:effectLst/>
              <a:latin typeface="+mn-lt"/>
            </a:endParaRPr>
          </a:p>
        </p:txBody>
      </p:sp>
      <p:sp>
        <p:nvSpPr>
          <p:cNvPr id="1372" name="Line 374"/>
          <p:cNvSpPr>
            <a:spLocks noChangeShapeType="1"/>
          </p:cNvSpPr>
          <p:nvPr/>
        </p:nvSpPr>
        <p:spPr bwMode="auto">
          <a:xfrm flipH="1">
            <a:off x="427037" y="6160729"/>
            <a:ext cx="11612880" cy="0"/>
          </a:xfrm>
          <a:prstGeom prst="line">
            <a:avLst/>
          </a:prstGeom>
          <a:noFill/>
          <a:ln w="11113" cap="rnd">
            <a:solidFill>
              <a:srgbClr val="5B9BD5"/>
            </a:solidFill>
            <a:prstDash val="solid"/>
            <a:round/>
            <a:headEnd/>
            <a:tailEnd/>
          </a:ln>
          <a:effectLst/>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77" name="Rectangle 379"/>
          <p:cNvSpPr>
            <a:spLocks noChangeArrowheads="1"/>
          </p:cNvSpPr>
          <p:nvPr/>
        </p:nvSpPr>
        <p:spPr bwMode="auto">
          <a:xfrm>
            <a:off x="569760" y="6316663"/>
            <a:ext cx="1516184"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1400" b="0" i="0" u="none" strike="noStrike" cap="none" normalizeH="0" baseline="0" dirty="0">
                <a:ln>
                  <a:noFill/>
                </a:ln>
                <a:effectLst/>
                <a:latin typeface="Segoe UI Semibold" panose="020B0702040204020203" pitchFamily="34" charset="0"/>
                <a:cs typeface="Segoe UI Semibold" panose="020B0702040204020203" pitchFamily="34" charset="0"/>
              </a:rPr>
              <a:t>Workload </a:t>
            </a:r>
            <a:r>
              <a:rPr lang="en-US" altLang="en-US" sz="1400" dirty="0">
                <a:latin typeface="Segoe UI Semibold" panose="020B0702040204020203" pitchFamily="34" charset="0"/>
                <a:cs typeface="Segoe UI Semibold" panose="020B0702040204020203" pitchFamily="34" charset="0"/>
              </a:rPr>
              <a:t>use case</a:t>
            </a:r>
          </a:p>
        </p:txBody>
      </p:sp>
      <p:sp>
        <p:nvSpPr>
          <p:cNvPr id="1379" name="Rectangle 381"/>
          <p:cNvSpPr>
            <a:spLocks noChangeArrowheads="1"/>
          </p:cNvSpPr>
          <p:nvPr/>
        </p:nvSpPr>
        <p:spPr bwMode="auto">
          <a:xfrm>
            <a:off x="5629274" y="751085"/>
            <a:ext cx="16062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lang="en-US" altLang="en-US" sz="2000" dirty="0">
                <a:latin typeface="+mj-lt"/>
              </a:rPr>
              <a:t>Cloud-enabled</a:t>
            </a:r>
          </a:p>
        </p:txBody>
      </p:sp>
      <p:sp>
        <p:nvSpPr>
          <p:cNvPr id="1384" name="Rectangle 384"/>
          <p:cNvSpPr>
            <a:spLocks noChangeArrowheads="1"/>
          </p:cNvSpPr>
          <p:nvPr/>
        </p:nvSpPr>
        <p:spPr bwMode="auto">
          <a:xfrm>
            <a:off x="8490842" y="751085"/>
            <a:ext cx="138499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effectLst/>
                <a:latin typeface="+mj-lt"/>
              </a:rPr>
              <a:t>Cloud-based</a:t>
            </a:r>
            <a:endParaRPr kumimoji="0" lang="en-US" altLang="en-US" sz="4400" b="0" i="0" u="none" strike="noStrike" cap="none" normalizeH="0" baseline="0" dirty="0">
              <a:ln>
                <a:noFill/>
              </a:ln>
              <a:effectLst/>
              <a:latin typeface="+mj-lt"/>
            </a:endParaRPr>
          </a:p>
        </p:txBody>
      </p:sp>
      <p:sp>
        <p:nvSpPr>
          <p:cNvPr id="396" name="Line 82"/>
          <p:cNvSpPr>
            <a:spLocks noChangeShapeType="1"/>
          </p:cNvSpPr>
          <p:nvPr/>
        </p:nvSpPr>
        <p:spPr bwMode="auto">
          <a:xfrm>
            <a:off x="7361237" y="545463"/>
            <a:ext cx="0" cy="6233163"/>
          </a:xfrm>
          <a:prstGeom prst="line">
            <a:avLst/>
          </a:prstGeom>
          <a:noFill/>
          <a:ln w="11113" cap="rnd">
            <a:solidFill>
              <a:srgbClr val="5B9BD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 name="Explosion 1 4"/>
          <p:cNvSpPr/>
          <p:nvPr/>
        </p:nvSpPr>
        <p:spPr bwMode="auto">
          <a:xfrm>
            <a:off x="6608682" y="3019717"/>
            <a:ext cx="893600" cy="665268"/>
          </a:xfrm>
          <a:prstGeom prst="irregularSeal1">
            <a:avLst/>
          </a:prstGeom>
          <a:solidFill>
            <a:srgbClr val="FFF1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chemeClr val="bg1">
                    <a:lumMod val="50000"/>
                  </a:schemeClr>
                </a:solidFill>
              </a:rPr>
              <a:t>AU5</a:t>
            </a:r>
          </a:p>
        </p:txBody>
      </p:sp>
    </p:spTree>
    <p:extLst>
      <p:ext uri="{BB962C8B-B14F-4D97-AF65-F5344CB8AC3E}">
        <p14:creationId xmlns:p14="http://schemas.microsoft.com/office/powerpoint/2010/main" val="1963157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scenarios which work well</a:t>
            </a:r>
          </a:p>
        </p:txBody>
      </p:sp>
      <p:sp>
        <p:nvSpPr>
          <p:cNvPr id="13" name="Text Placeholder 2"/>
          <p:cNvSpPr txBox="1">
            <a:spLocks/>
          </p:cNvSpPr>
          <p:nvPr/>
        </p:nvSpPr>
        <p:spPr>
          <a:xfrm>
            <a:off x="515590" y="1531811"/>
            <a:ext cx="10588793" cy="1142675"/>
          </a:xfrm>
          <a:prstGeom prst="rect">
            <a:avLst/>
          </a:prstGeom>
        </p:spPr>
        <p:txBody>
          <a:bodyPr/>
          <a:lst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444">
              <a:buNone/>
              <a:defRPr/>
            </a:pPr>
            <a:r>
              <a:rPr lang="en-US" sz="2800" dirty="0">
                <a:solidFill>
                  <a:schemeClr val="tx1"/>
                </a:solidFill>
              </a:rPr>
              <a:t>Both Analytics Platform System and Azure SQL Data Warehouse have a massively parallel processing (MPP) engine. Here are a few scenarios where they can be leveraged together.</a:t>
            </a:r>
          </a:p>
        </p:txBody>
      </p:sp>
      <p:sp>
        <p:nvSpPr>
          <p:cNvPr id="40" name="Rectangle 39"/>
          <p:cNvSpPr/>
          <p:nvPr/>
        </p:nvSpPr>
        <p:spPr bwMode="auto">
          <a:xfrm>
            <a:off x="219804" y="3499186"/>
            <a:ext cx="2894956" cy="2661604"/>
          </a:xfrm>
          <a:prstGeom prst="rect">
            <a:avLst/>
          </a:prstGeom>
          <a:solidFill>
            <a:schemeClr val="accent6">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91414" rIns="186468" bIns="149175" numCol="1" spcCol="0" rtlCol="0" fromWordArt="0" anchor="t" anchorCtr="0" forceAA="0" compatLnSpc="1">
            <a:prstTxWarp prst="textNoShape">
              <a:avLst/>
            </a:prstTxWarp>
            <a:noAutofit/>
          </a:bodyPr>
          <a:lstStyle/>
          <a:p>
            <a:pPr defTabSz="950663" fontAlgn="base">
              <a:lnSpc>
                <a:spcPct val="90000"/>
              </a:lnSpc>
              <a:spcBef>
                <a:spcPts val="600"/>
              </a:spcBef>
              <a:spcAft>
                <a:spcPct val="0"/>
              </a:spcAft>
              <a:defRPr/>
            </a:pPr>
            <a:r>
              <a:rPr lang="en-US" sz="3998" kern="0" dirty="0">
                <a:solidFill>
                  <a:srgbClr val="FFFFFF"/>
                </a:solidFill>
                <a:latin typeface="Segoe UI Light"/>
                <a:ea typeface="Calibri" panose="020F0502020204030204" pitchFamily="34" charset="0"/>
                <a:cs typeface="Segoe UI Semibold" panose="020B0702040204020203" pitchFamily="34" charset="0"/>
              </a:rPr>
              <a:t>Dev/test</a:t>
            </a:r>
            <a:endParaRPr lang="en-US" sz="4488" kern="0" dirty="0">
              <a:solidFill>
                <a:srgbClr val="FFFFFF"/>
              </a:solidFill>
              <a:latin typeface="Segoe UI Light"/>
              <a:ea typeface="Calibri" panose="020F0502020204030204" pitchFamily="34" charset="0"/>
              <a:cs typeface="Segoe UI Semibold" panose="020B0702040204020203" pitchFamily="34" charset="0"/>
            </a:endParaRPr>
          </a:p>
          <a:p>
            <a:pPr defTabSz="950663" fontAlgn="base">
              <a:lnSpc>
                <a:spcPct val="90000"/>
              </a:lnSpc>
              <a:spcBef>
                <a:spcPts val="1224"/>
              </a:spcBef>
              <a:spcAft>
                <a:spcPct val="0"/>
              </a:spcAft>
              <a:defRPr/>
            </a:pPr>
            <a:r>
              <a:rPr lang="en-US" sz="2400" kern="0" dirty="0">
                <a:solidFill>
                  <a:srgbClr val="FFFFFF"/>
                </a:solidFill>
                <a:latin typeface="Segoe UI Light"/>
                <a:ea typeface="Segoe UI" pitchFamily="34" charset="0"/>
                <a:cs typeface="Segoe UI" pitchFamily="34" charset="0"/>
              </a:rPr>
              <a:t>Test new ideas in SQL DW before rolling out to production in APS</a:t>
            </a:r>
          </a:p>
          <a:p>
            <a:pPr defTabSz="950663" fontAlgn="base">
              <a:lnSpc>
                <a:spcPct val="90000"/>
              </a:lnSpc>
              <a:spcBef>
                <a:spcPct val="0"/>
              </a:spcBef>
              <a:spcAft>
                <a:spcPct val="0"/>
              </a:spcAft>
              <a:defRPr/>
            </a:pPr>
            <a:endParaRPr lang="en-US" sz="1836" kern="0" dirty="0">
              <a:gradFill>
                <a:gsLst>
                  <a:gs pos="0">
                    <a:srgbClr val="737373"/>
                  </a:gs>
                  <a:gs pos="100000">
                    <a:srgbClr val="737373"/>
                  </a:gs>
                </a:gsLst>
                <a:lin ang="5400000" scaled="0"/>
              </a:gradFill>
              <a:ea typeface="Segoe UI" pitchFamily="34" charset="0"/>
              <a:cs typeface="Segoe UI" pitchFamily="34" charset="0"/>
            </a:endParaRPr>
          </a:p>
        </p:txBody>
      </p:sp>
      <p:sp>
        <p:nvSpPr>
          <p:cNvPr id="50" name="Rectangle 49"/>
          <p:cNvSpPr/>
          <p:nvPr/>
        </p:nvSpPr>
        <p:spPr bwMode="auto">
          <a:xfrm>
            <a:off x="3255621" y="3499186"/>
            <a:ext cx="2894956" cy="266160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91414" rIns="186468" bIns="149175" numCol="1" spcCol="0" rtlCol="0" fromWordArt="0" anchor="t" anchorCtr="0" forceAA="0" compatLnSpc="1">
            <a:prstTxWarp prst="textNoShape">
              <a:avLst/>
            </a:prstTxWarp>
            <a:noAutofit/>
          </a:bodyPr>
          <a:lstStyle/>
          <a:p>
            <a:pPr defTabSz="950663" fontAlgn="base">
              <a:lnSpc>
                <a:spcPct val="90000"/>
              </a:lnSpc>
              <a:spcBef>
                <a:spcPts val="600"/>
              </a:spcBef>
              <a:spcAft>
                <a:spcPct val="0"/>
              </a:spcAft>
              <a:defRPr/>
            </a:pPr>
            <a:r>
              <a:rPr lang="en-US" sz="3998" kern="0" dirty="0">
                <a:solidFill>
                  <a:srgbClr val="FFFFFF"/>
                </a:solidFill>
                <a:latin typeface="Segoe UI Light"/>
                <a:ea typeface="Calibri" panose="020F0502020204030204" pitchFamily="34" charset="0"/>
                <a:cs typeface="Segoe UI Semibold" panose="020B0702040204020203" pitchFamily="34" charset="0"/>
              </a:rPr>
              <a:t>Archive</a:t>
            </a:r>
            <a:endParaRPr lang="en-US" sz="4488" kern="0" dirty="0">
              <a:solidFill>
                <a:srgbClr val="FFFFFF"/>
              </a:solidFill>
              <a:latin typeface="Segoe UI Light"/>
              <a:ea typeface="Calibri" panose="020F0502020204030204" pitchFamily="34" charset="0"/>
              <a:cs typeface="Segoe UI Semibold" panose="020B0702040204020203" pitchFamily="34" charset="0"/>
            </a:endParaRPr>
          </a:p>
          <a:p>
            <a:pPr defTabSz="950663" fontAlgn="base">
              <a:lnSpc>
                <a:spcPct val="90000"/>
              </a:lnSpc>
              <a:spcBef>
                <a:spcPts val="1224"/>
              </a:spcBef>
              <a:spcAft>
                <a:spcPct val="0"/>
              </a:spcAft>
              <a:defRPr/>
            </a:pPr>
            <a:r>
              <a:rPr lang="en-US" sz="2400" kern="0" dirty="0">
                <a:solidFill>
                  <a:srgbClr val="FFFFFF"/>
                </a:solidFill>
                <a:latin typeface="Segoe UI Light"/>
                <a:ea typeface="Segoe UI" pitchFamily="34" charset="0"/>
                <a:cs typeface="Segoe UI" pitchFamily="34" charset="0"/>
              </a:rPr>
              <a:t>Archive cold data to blob storage for any workload execution</a:t>
            </a:r>
            <a:endParaRPr lang="en-US" sz="1836" kern="0" dirty="0">
              <a:gradFill>
                <a:gsLst>
                  <a:gs pos="0">
                    <a:srgbClr val="737373"/>
                  </a:gs>
                  <a:gs pos="100000">
                    <a:srgbClr val="737373"/>
                  </a:gs>
                </a:gsLst>
                <a:lin ang="5400000" scaled="0"/>
              </a:gradFill>
              <a:ea typeface="Segoe UI" pitchFamily="34" charset="0"/>
              <a:cs typeface="Segoe UI" pitchFamily="34" charset="0"/>
            </a:endParaRPr>
          </a:p>
        </p:txBody>
      </p:sp>
      <p:sp>
        <p:nvSpPr>
          <p:cNvPr id="11" name="Rectangle 10"/>
          <p:cNvSpPr/>
          <p:nvPr/>
        </p:nvSpPr>
        <p:spPr bwMode="auto">
          <a:xfrm>
            <a:off x="6294028" y="3499186"/>
            <a:ext cx="2894956" cy="2661603"/>
          </a:xfrm>
          <a:prstGeom prst="rect">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91414" rIns="186468" bIns="149175" numCol="1" spcCol="0" rtlCol="0" fromWordArt="0" anchor="t" anchorCtr="0" forceAA="0" compatLnSpc="1">
            <a:prstTxWarp prst="textNoShape">
              <a:avLst/>
            </a:prstTxWarp>
            <a:noAutofit/>
          </a:bodyPr>
          <a:lstStyle/>
          <a:p>
            <a:pPr defTabSz="950663" fontAlgn="base">
              <a:lnSpc>
                <a:spcPct val="90000"/>
              </a:lnSpc>
              <a:spcBef>
                <a:spcPct val="0"/>
              </a:spcBef>
              <a:spcAft>
                <a:spcPct val="0"/>
              </a:spcAft>
              <a:defRPr/>
            </a:pPr>
            <a:r>
              <a:rPr lang="en-US" sz="3876" kern="0" dirty="0">
                <a:solidFill>
                  <a:srgbClr val="FFFFFF"/>
                </a:solidFill>
                <a:latin typeface="Segoe UI Light"/>
                <a:ea typeface="Calibri" panose="020F0502020204030204" pitchFamily="34" charset="0"/>
                <a:cs typeface="Segoe UI Semibold" panose="020B0702040204020203" pitchFamily="34" charset="0"/>
              </a:rPr>
              <a:t>Governance</a:t>
            </a:r>
          </a:p>
          <a:p>
            <a:pPr defTabSz="950663" fontAlgn="base">
              <a:lnSpc>
                <a:spcPct val="90000"/>
              </a:lnSpc>
              <a:spcBef>
                <a:spcPts val="1224"/>
              </a:spcBef>
              <a:spcAft>
                <a:spcPct val="0"/>
              </a:spcAft>
              <a:defRPr/>
            </a:pPr>
            <a:r>
              <a:rPr lang="en-US" sz="2400" kern="0" dirty="0">
                <a:solidFill>
                  <a:srgbClr val="FFFFFF"/>
                </a:solidFill>
                <a:latin typeface="Segoe UI Light"/>
                <a:ea typeface="Segoe UI" pitchFamily="34" charset="0"/>
                <a:cs typeface="Segoe UI" pitchFamily="34" charset="0"/>
              </a:rPr>
              <a:t>Store data in APS that company policy prohibits being in the cloud</a:t>
            </a:r>
          </a:p>
          <a:p>
            <a:pPr defTabSz="950663" fontAlgn="base">
              <a:lnSpc>
                <a:spcPct val="90000"/>
              </a:lnSpc>
              <a:spcBef>
                <a:spcPct val="0"/>
              </a:spcBef>
              <a:spcAft>
                <a:spcPct val="0"/>
              </a:spcAft>
              <a:defRPr/>
            </a:pPr>
            <a:endParaRPr lang="en-US" sz="2244" kern="0" dirty="0">
              <a:gradFill>
                <a:gsLst>
                  <a:gs pos="0">
                    <a:srgbClr val="737373"/>
                  </a:gs>
                  <a:gs pos="100000">
                    <a:srgbClr val="737373"/>
                  </a:gs>
                </a:gsLst>
                <a:lin ang="5400000" scaled="0"/>
              </a:gradFill>
              <a:ea typeface="Segoe UI" pitchFamily="34" charset="0"/>
              <a:cs typeface="Segoe UI" pitchFamily="34" charset="0"/>
            </a:endParaRPr>
          </a:p>
          <a:p>
            <a:pPr defTabSz="950663" fontAlgn="base">
              <a:lnSpc>
                <a:spcPct val="90000"/>
              </a:lnSpc>
              <a:spcBef>
                <a:spcPct val="0"/>
              </a:spcBef>
              <a:spcAft>
                <a:spcPct val="0"/>
              </a:spcAft>
              <a:defRPr/>
            </a:pPr>
            <a:endParaRPr lang="en-US" sz="1836" kern="0" dirty="0">
              <a:gradFill>
                <a:gsLst>
                  <a:gs pos="0">
                    <a:srgbClr val="737373"/>
                  </a:gs>
                  <a:gs pos="100000">
                    <a:srgbClr val="737373"/>
                  </a:gs>
                </a:gsLst>
                <a:lin ang="5400000" scaled="0"/>
              </a:gradFill>
              <a:ea typeface="Segoe UI" pitchFamily="34" charset="0"/>
              <a:cs typeface="Segoe UI" pitchFamily="34" charset="0"/>
            </a:endParaRPr>
          </a:p>
        </p:txBody>
      </p:sp>
      <p:sp>
        <p:nvSpPr>
          <p:cNvPr id="12" name="Rectangle 11"/>
          <p:cNvSpPr/>
          <p:nvPr/>
        </p:nvSpPr>
        <p:spPr bwMode="auto">
          <a:xfrm>
            <a:off x="9332436" y="3499186"/>
            <a:ext cx="2894956" cy="2661603"/>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91414" rIns="186468" bIns="149175" numCol="1" spcCol="0" rtlCol="0" fromWordArt="0" anchor="t" anchorCtr="0" forceAA="0" compatLnSpc="1">
            <a:prstTxWarp prst="textNoShape">
              <a:avLst/>
            </a:prstTxWarp>
            <a:noAutofit/>
          </a:bodyPr>
          <a:lstStyle/>
          <a:p>
            <a:pPr defTabSz="950663" fontAlgn="base">
              <a:lnSpc>
                <a:spcPct val="90000"/>
              </a:lnSpc>
              <a:spcAft>
                <a:spcPct val="0"/>
              </a:spcAft>
              <a:defRPr/>
            </a:pPr>
            <a:r>
              <a:rPr lang="en-US" sz="3998" kern="0" dirty="0">
                <a:solidFill>
                  <a:srgbClr val="FFFFFF"/>
                </a:solidFill>
                <a:latin typeface="Segoe UI Light"/>
                <a:ea typeface="Calibri" panose="020F0502020204030204" pitchFamily="34" charset="0"/>
                <a:cs typeface="Segoe UI Semibold" panose="020B0702040204020203" pitchFamily="34" charset="0"/>
              </a:rPr>
              <a:t>Disaster</a:t>
            </a:r>
          </a:p>
          <a:p>
            <a:pPr defTabSz="950663" fontAlgn="base">
              <a:lnSpc>
                <a:spcPct val="90000"/>
              </a:lnSpc>
              <a:spcAft>
                <a:spcPct val="0"/>
              </a:spcAft>
              <a:defRPr/>
            </a:pPr>
            <a:r>
              <a:rPr lang="en-US" sz="3998" kern="0" dirty="0">
                <a:solidFill>
                  <a:srgbClr val="FFFFFF"/>
                </a:solidFill>
                <a:latin typeface="Segoe UI Light"/>
                <a:ea typeface="Calibri" panose="020F0502020204030204" pitchFamily="34" charset="0"/>
                <a:cs typeface="Segoe UI Semibold" panose="020B0702040204020203" pitchFamily="34" charset="0"/>
              </a:rPr>
              <a:t>Recovery</a:t>
            </a:r>
            <a:endParaRPr lang="en-US" sz="4488" kern="0" dirty="0">
              <a:solidFill>
                <a:srgbClr val="FFFFFF"/>
              </a:solidFill>
              <a:latin typeface="Segoe UI Light"/>
              <a:ea typeface="Calibri" panose="020F0502020204030204" pitchFamily="34" charset="0"/>
              <a:cs typeface="Segoe UI Semibold" panose="020B0702040204020203" pitchFamily="34" charset="0"/>
            </a:endParaRPr>
          </a:p>
          <a:p>
            <a:pPr defTabSz="950663" fontAlgn="base">
              <a:lnSpc>
                <a:spcPct val="90000"/>
              </a:lnSpc>
              <a:spcBef>
                <a:spcPts val="1224"/>
              </a:spcBef>
              <a:spcAft>
                <a:spcPct val="0"/>
              </a:spcAft>
              <a:defRPr/>
            </a:pPr>
            <a:r>
              <a:rPr lang="en-US" sz="2400" kern="0" dirty="0">
                <a:solidFill>
                  <a:srgbClr val="FFFFFF"/>
                </a:solidFill>
                <a:latin typeface="Segoe UI Light"/>
                <a:ea typeface="Segoe UI" pitchFamily="34" charset="0"/>
                <a:cs typeface="Segoe UI" pitchFamily="34" charset="0"/>
              </a:rPr>
              <a:t>Azure SQL DW or APS as disaster recovery solution</a:t>
            </a:r>
          </a:p>
        </p:txBody>
      </p:sp>
    </p:spTree>
    <p:extLst>
      <p:ext uri="{BB962C8B-B14F-4D97-AF65-F5344CB8AC3E}">
        <p14:creationId xmlns:p14="http://schemas.microsoft.com/office/powerpoint/2010/main" val="1655754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50" grpId="0" animBg="1"/>
      <p:bldP spid="11" grpId="0" animBg="1"/>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DR Options for APS</a:t>
            </a:r>
          </a:p>
        </p:txBody>
      </p:sp>
      <p:graphicFrame>
        <p:nvGraphicFramePr>
          <p:cNvPr id="4" name="Table 3"/>
          <p:cNvGraphicFramePr>
            <a:graphicFrameLocks noGrp="1"/>
          </p:cNvGraphicFramePr>
          <p:nvPr>
            <p:extLst>
              <p:ext uri="{D42A27DB-BD31-4B8C-83A1-F6EECF244321}">
                <p14:modId xmlns:p14="http://schemas.microsoft.com/office/powerpoint/2010/main" val="2994502981"/>
              </p:ext>
            </p:extLst>
          </p:nvPr>
        </p:nvGraphicFramePr>
        <p:xfrm>
          <a:off x="1190220" y="1744662"/>
          <a:ext cx="10058401" cy="4038597"/>
        </p:xfrm>
        <a:graphic>
          <a:graphicData uri="http://schemas.openxmlformats.org/drawingml/2006/table">
            <a:tbl>
              <a:tblPr firstRow="1" bandRow="1">
                <a:tableStyleId>{08FB837D-C827-4EFA-A057-4D05807E0F7C}</a:tableStyleId>
              </a:tblPr>
              <a:tblGrid>
                <a:gridCol w="2680871">
                  <a:extLst>
                    <a:ext uri="{9D8B030D-6E8A-4147-A177-3AD203B41FA5}">
                      <a16:colId xmlns:a16="http://schemas.microsoft.com/office/drawing/2014/main" val="89328964"/>
                    </a:ext>
                  </a:extLst>
                </a:gridCol>
                <a:gridCol w="2348330">
                  <a:extLst>
                    <a:ext uri="{9D8B030D-6E8A-4147-A177-3AD203B41FA5}">
                      <a16:colId xmlns:a16="http://schemas.microsoft.com/office/drawing/2014/main" val="2040632061"/>
                    </a:ext>
                  </a:extLst>
                </a:gridCol>
                <a:gridCol w="2514600">
                  <a:extLst>
                    <a:ext uri="{9D8B030D-6E8A-4147-A177-3AD203B41FA5}">
                      <a16:colId xmlns:a16="http://schemas.microsoft.com/office/drawing/2014/main" val="3925107192"/>
                    </a:ext>
                  </a:extLst>
                </a:gridCol>
                <a:gridCol w="2514600">
                  <a:extLst>
                    <a:ext uri="{9D8B030D-6E8A-4147-A177-3AD203B41FA5}">
                      <a16:colId xmlns:a16="http://schemas.microsoft.com/office/drawing/2014/main" val="1732850221"/>
                    </a:ext>
                  </a:extLst>
                </a:gridCol>
              </a:tblGrid>
              <a:tr h="971113">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PS to A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QLDW to SQLD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PS to SQLD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223476"/>
                  </a:ext>
                </a:extLst>
              </a:tr>
              <a:tr h="971113">
                <a:tc>
                  <a:txBody>
                    <a:bodyPr/>
                    <a:lstStyle/>
                    <a:p>
                      <a:r>
                        <a:rPr lang="en-US" dirty="0">
                          <a:solidFill>
                            <a:schemeClr val="tx1"/>
                          </a:solidFill>
                        </a:rPr>
                        <a:t>Backup/Restore</a:t>
                      </a:r>
                    </a:p>
                  </a:txBody>
                  <a:tcPr>
                    <a:lnT w="12700" cap="flat" cmpd="sng" algn="ctr">
                      <a:solidFill>
                        <a:schemeClr val="tx1"/>
                      </a:solidFill>
                      <a:prstDash val="solid"/>
                      <a:round/>
                      <a:headEnd type="none" w="med" len="med"/>
                      <a:tailEnd type="none" w="med" len="med"/>
                    </a:lnT>
                  </a:tcPr>
                </a:tc>
                <a:tc>
                  <a:txBody>
                    <a:bodyPr/>
                    <a:lstStyle/>
                    <a:p>
                      <a:r>
                        <a:rPr lang="en-US" dirty="0">
                          <a:solidFill>
                            <a:schemeClr val="tx1"/>
                          </a:solidFill>
                        </a:rPr>
                        <a:t>Yes – Some Limitation</a:t>
                      </a:r>
                    </a:p>
                  </a:txBody>
                  <a:tcPr>
                    <a:lnT w="12700" cap="flat" cmpd="sng" algn="ctr">
                      <a:solidFill>
                        <a:schemeClr val="tx1"/>
                      </a:solidFill>
                      <a:prstDash val="solid"/>
                      <a:round/>
                      <a:headEnd type="none" w="med" len="med"/>
                      <a:tailEnd type="none" w="med" len="med"/>
                    </a:lnT>
                  </a:tcPr>
                </a:tc>
                <a:tc>
                  <a:txBody>
                    <a:bodyPr/>
                    <a:lstStyle/>
                    <a:p>
                      <a:r>
                        <a:rPr lang="en-US" dirty="0">
                          <a:solidFill>
                            <a:schemeClr val="tx1"/>
                          </a:solidFill>
                        </a:rPr>
                        <a:t>To</a:t>
                      </a:r>
                      <a:r>
                        <a:rPr lang="en-US" baseline="0" dirty="0">
                          <a:solidFill>
                            <a:schemeClr val="tx1"/>
                          </a:solidFill>
                        </a:rPr>
                        <a:t> itself</a:t>
                      </a:r>
                      <a:endParaRPr lang="en-US" dirty="0">
                        <a:solidFill>
                          <a:schemeClr val="tx1"/>
                        </a:solidFill>
                      </a:endParaRPr>
                    </a:p>
                  </a:txBody>
                  <a:tcPr>
                    <a:lnT w="12700" cap="flat" cmpd="sng" algn="ctr">
                      <a:solidFill>
                        <a:schemeClr val="tx1"/>
                      </a:solidFill>
                      <a:prstDash val="solid"/>
                      <a:round/>
                      <a:headEnd type="none" w="med" len="med"/>
                      <a:tailEnd type="none" w="med" len="med"/>
                    </a:lnT>
                  </a:tcPr>
                </a:tc>
                <a:tc>
                  <a:txBody>
                    <a:bodyPr/>
                    <a:lstStyle/>
                    <a:p>
                      <a:r>
                        <a:rPr lang="en-US" dirty="0">
                          <a:solidFill>
                            <a:schemeClr val="tx1"/>
                          </a:solidFill>
                        </a:rPr>
                        <a:t>No</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47040397"/>
                  </a:ext>
                </a:extLst>
              </a:tr>
              <a:tr h="971113">
                <a:tc>
                  <a:txBody>
                    <a:bodyPr/>
                    <a:lstStyle/>
                    <a:p>
                      <a:r>
                        <a:rPr lang="en-US" dirty="0">
                          <a:solidFill>
                            <a:schemeClr val="tx1"/>
                          </a:solidFill>
                        </a:rPr>
                        <a:t>Dual Load</a:t>
                      </a:r>
                    </a:p>
                  </a:txBody>
                  <a:tcPr/>
                </a:tc>
                <a:tc>
                  <a:txBody>
                    <a:bodyPr/>
                    <a:lstStyle/>
                    <a:p>
                      <a:r>
                        <a:rPr lang="en-US" dirty="0">
                          <a:solidFill>
                            <a:schemeClr val="tx1"/>
                          </a:solidFill>
                        </a:rPr>
                        <a:t>Yes – Some Limitations</a:t>
                      </a:r>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dirty="0">
                          <a:solidFill>
                            <a:schemeClr val="tx1"/>
                          </a:solidFill>
                        </a:rPr>
                        <a:t>Yes – Some Limitations</a:t>
                      </a:r>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dirty="0">
                          <a:solidFill>
                            <a:schemeClr val="tx1"/>
                          </a:solidFill>
                        </a:rPr>
                        <a:t>Yes – Some Limitations</a:t>
                      </a:r>
                    </a:p>
                  </a:txBody>
                  <a:tcPr/>
                </a:tc>
                <a:extLst>
                  <a:ext uri="{0D108BD9-81ED-4DB2-BD59-A6C34878D82A}">
                    <a16:rowId xmlns:a16="http://schemas.microsoft.com/office/drawing/2014/main" val="3732686369"/>
                  </a:ext>
                </a:extLst>
              </a:tr>
              <a:tr h="562629">
                <a:tc>
                  <a:txBody>
                    <a:bodyPr/>
                    <a:lstStyle/>
                    <a:p>
                      <a:r>
                        <a:rPr lang="en-US" dirty="0">
                          <a:solidFill>
                            <a:schemeClr val="tx1"/>
                          </a:solidFill>
                        </a:rPr>
                        <a:t>Replication</a:t>
                      </a:r>
                    </a:p>
                  </a:txBody>
                  <a:tcPr/>
                </a:tc>
                <a:tc>
                  <a:txBody>
                    <a:bodyPr/>
                    <a:lstStyle/>
                    <a:p>
                      <a:r>
                        <a:rPr lang="en-US" dirty="0">
                          <a:solidFill>
                            <a:schemeClr val="tx1"/>
                          </a:solidFill>
                        </a:rPr>
                        <a:t>NO</a:t>
                      </a:r>
                    </a:p>
                  </a:txBody>
                  <a:tcPr/>
                </a:tc>
                <a:tc>
                  <a:txBody>
                    <a:bodyPr/>
                    <a:lstStyle/>
                    <a:p>
                      <a:r>
                        <a:rPr lang="en-US" dirty="0">
                          <a:solidFill>
                            <a:schemeClr val="tx1"/>
                          </a:solidFill>
                        </a:rPr>
                        <a:t>NO</a:t>
                      </a:r>
                    </a:p>
                  </a:txBody>
                  <a:tcPr/>
                </a:tc>
                <a:tc>
                  <a:txBody>
                    <a:bodyPr/>
                    <a:lstStyle/>
                    <a:p>
                      <a:r>
                        <a:rPr lang="en-US" dirty="0">
                          <a:solidFill>
                            <a:schemeClr val="tx1"/>
                          </a:solidFill>
                        </a:rPr>
                        <a:t>NO</a:t>
                      </a:r>
                    </a:p>
                  </a:txBody>
                  <a:tcPr/>
                </a:tc>
                <a:extLst>
                  <a:ext uri="{0D108BD9-81ED-4DB2-BD59-A6C34878D82A}">
                    <a16:rowId xmlns:a16="http://schemas.microsoft.com/office/drawing/2014/main" val="1633251071"/>
                  </a:ext>
                </a:extLst>
              </a:tr>
              <a:tr h="562629">
                <a:tc>
                  <a:txBody>
                    <a:bodyPr/>
                    <a:lstStyle/>
                    <a:p>
                      <a:r>
                        <a:rPr lang="en-US" dirty="0" err="1">
                          <a:solidFill>
                            <a:schemeClr val="tx1"/>
                          </a:solidFill>
                        </a:rPr>
                        <a:t>Polybase</a:t>
                      </a:r>
                      <a:r>
                        <a:rPr lang="en-US" dirty="0">
                          <a:solidFill>
                            <a:schemeClr val="tx1"/>
                          </a:solidFill>
                        </a:rPr>
                        <a:t>/CETAS</a:t>
                      </a:r>
                    </a:p>
                  </a:txBody>
                  <a:tcPr/>
                </a:tc>
                <a:tc>
                  <a:txBody>
                    <a:bodyPr/>
                    <a:lstStyle/>
                    <a:p>
                      <a:r>
                        <a:rPr lang="en-US" dirty="0">
                          <a:solidFill>
                            <a:schemeClr val="tx1"/>
                          </a:solidFill>
                        </a:rPr>
                        <a:t>Yes</a:t>
                      </a:r>
                    </a:p>
                  </a:txBody>
                  <a:tcPr/>
                </a:tc>
                <a:tc>
                  <a:txBody>
                    <a:bodyPr/>
                    <a:lstStyle/>
                    <a:p>
                      <a:r>
                        <a:rPr lang="en-US" dirty="0">
                          <a:solidFill>
                            <a:schemeClr val="tx1"/>
                          </a:solidFill>
                        </a:rPr>
                        <a:t>Yes</a:t>
                      </a:r>
                    </a:p>
                  </a:txBody>
                  <a:tcPr/>
                </a:tc>
                <a:tc>
                  <a:txBody>
                    <a:bodyPr/>
                    <a:lstStyle/>
                    <a:p>
                      <a:r>
                        <a:rPr lang="en-US" dirty="0">
                          <a:solidFill>
                            <a:schemeClr val="tx1"/>
                          </a:solidFill>
                        </a:rPr>
                        <a:t>Yes</a:t>
                      </a:r>
                    </a:p>
                  </a:txBody>
                  <a:tcPr/>
                </a:tc>
                <a:extLst>
                  <a:ext uri="{0D108BD9-81ED-4DB2-BD59-A6C34878D82A}">
                    <a16:rowId xmlns:a16="http://schemas.microsoft.com/office/drawing/2014/main" val="1672813612"/>
                  </a:ext>
                </a:extLst>
              </a:tr>
            </a:tbl>
          </a:graphicData>
        </a:graphic>
      </p:graphicFrame>
    </p:spTree>
    <p:extLst>
      <p:ext uri="{BB962C8B-B14F-4D97-AF65-F5344CB8AC3E}">
        <p14:creationId xmlns:p14="http://schemas.microsoft.com/office/powerpoint/2010/main" val="151980790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339650"/>
          </a:xfrm>
        </p:spPr>
        <p:txBody>
          <a:bodyPr/>
          <a:lstStyle/>
          <a:p>
            <a:pPr marL="0" indent="0">
              <a:buNone/>
            </a:pPr>
            <a:r>
              <a:rPr lang="en-US" dirty="0"/>
              <a:t>Cons:</a:t>
            </a:r>
          </a:p>
          <a:p>
            <a:pPr>
              <a:buFont typeface="Arial" panose="020B0604020202020204" pitchFamily="34" charset="0"/>
              <a:buChar char="•"/>
            </a:pPr>
            <a:r>
              <a:rPr lang="en-US" dirty="0"/>
              <a:t>Only available to restore from like system and size</a:t>
            </a:r>
          </a:p>
          <a:p>
            <a:pPr marL="342900" lvl="1" indent="0">
              <a:buNone/>
            </a:pPr>
            <a:r>
              <a:rPr lang="en-US" sz="6000" dirty="0"/>
              <a:t>	</a:t>
            </a:r>
            <a:r>
              <a:rPr lang="en-US" sz="4800" dirty="0">
                <a:solidFill>
                  <a:schemeClr val="accent1">
                    <a:lumMod val="75000"/>
                  </a:schemeClr>
                </a:solidFill>
              </a:rPr>
              <a:t>Can’t restore APS to SQLDW currently</a:t>
            </a:r>
            <a:r>
              <a:rPr lang="en-US" dirty="0"/>
              <a:t>.</a:t>
            </a:r>
          </a:p>
          <a:p>
            <a:pPr>
              <a:buFont typeface="Arial" panose="020B0604020202020204" pitchFamily="34" charset="0"/>
              <a:buChar char="•"/>
            </a:pPr>
            <a:r>
              <a:rPr lang="en-US" dirty="0"/>
              <a:t>As data volumes increase, backup become unsupportable.</a:t>
            </a:r>
          </a:p>
          <a:p>
            <a:pPr>
              <a:buFont typeface="Arial" panose="020B0604020202020204" pitchFamily="34" charset="0"/>
              <a:buChar char="•"/>
            </a:pPr>
            <a:r>
              <a:rPr lang="en-US" dirty="0"/>
              <a:t>Logins/</a:t>
            </a:r>
            <a:r>
              <a:rPr lang="en-US" dirty="0" err="1"/>
              <a:t>Secutiry</a:t>
            </a:r>
            <a:r>
              <a:rPr lang="en-US" dirty="0"/>
              <a:t> still need to be sync’d.</a:t>
            </a:r>
          </a:p>
        </p:txBody>
      </p:sp>
      <p:sp>
        <p:nvSpPr>
          <p:cNvPr id="3" name="Title 2"/>
          <p:cNvSpPr>
            <a:spLocks noGrp="1"/>
          </p:cNvSpPr>
          <p:nvPr>
            <p:ph type="title"/>
          </p:nvPr>
        </p:nvSpPr>
        <p:spPr/>
        <p:txBody>
          <a:bodyPr/>
          <a:lstStyle/>
          <a:p>
            <a:r>
              <a:rPr lang="en-US" dirty="0"/>
              <a:t>Backup/Restore</a:t>
            </a:r>
          </a:p>
        </p:txBody>
      </p:sp>
    </p:spTree>
    <p:extLst>
      <p:ext uri="{BB962C8B-B14F-4D97-AF65-F5344CB8AC3E}">
        <p14:creationId xmlns:p14="http://schemas.microsoft.com/office/powerpoint/2010/main" val="30493537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growth will impact backups</a:t>
            </a:r>
          </a:p>
        </p:txBody>
      </p:sp>
      <p:sp>
        <p:nvSpPr>
          <p:cNvPr id="14" name="Down Arrow 13"/>
          <p:cNvSpPr/>
          <p:nvPr/>
        </p:nvSpPr>
        <p:spPr bwMode="auto">
          <a:xfrm>
            <a:off x="10010217" y="4368801"/>
            <a:ext cx="1584176" cy="1185861"/>
          </a:xfrm>
          <a:prstGeom prst="downArrow">
            <a:avLst>
              <a:gd name="adj1" fmla="val 66217"/>
              <a:gd name="adj2" fmla="val 38741"/>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GB" sz="1600" dirty="0">
                <a:solidFill>
                  <a:schemeClr val="bg1"/>
                </a:solidFill>
              </a:rPr>
              <a:t>Time Increase</a:t>
            </a:r>
          </a:p>
        </p:txBody>
      </p:sp>
      <p:sp>
        <p:nvSpPr>
          <p:cNvPr id="15" name="Rectangle 14"/>
          <p:cNvSpPr/>
          <p:nvPr/>
        </p:nvSpPr>
        <p:spPr bwMode="auto">
          <a:xfrm>
            <a:off x="9855521" y="5700912"/>
            <a:ext cx="1893568" cy="615750"/>
          </a:xfrm>
          <a:prstGeom prst="rect">
            <a:avLst/>
          </a:prstGeom>
          <a:solidFill>
            <a:schemeClr val="accent6">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GB" sz="1600" dirty="0">
                <a:gradFill>
                  <a:gsLst>
                    <a:gs pos="0">
                      <a:srgbClr val="FFFFFF"/>
                    </a:gs>
                    <a:gs pos="100000">
                      <a:srgbClr val="FFFFFF"/>
                    </a:gs>
                  </a:gsLst>
                  <a:lin ang="5400000" scaled="0"/>
                </a:gradFill>
              </a:rPr>
              <a:t>Potentially Unsupportable</a:t>
            </a:r>
          </a:p>
        </p:txBody>
      </p:sp>
      <p:sp>
        <p:nvSpPr>
          <p:cNvPr id="16" name="Rectangle 15"/>
          <p:cNvSpPr/>
          <p:nvPr/>
        </p:nvSpPr>
        <p:spPr bwMode="auto">
          <a:xfrm>
            <a:off x="9855521" y="1376709"/>
            <a:ext cx="1893568" cy="536378"/>
          </a:xfrm>
          <a:prstGeom prst="rect">
            <a:avLst/>
          </a:prstGeom>
          <a:solidFill>
            <a:schemeClr val="accent5"/>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GB" sz="1600" dirty="0">
                <a:solidFill>
                  <a:schemeClr val="tx1"/>
                </a:solidFill>
              </a:rPr>
              <a:t>Supportable</a:t>
            </a:r>
          </a:p>
        </p:txBody>
      </p:sp>
      <p:sp>
        <p:nvSpPr>
          <p:cNvPr id="17" name="Rectangle 16"/>
          <p:cNvSpPr/>
          <p:nvPr/>
        </p:nvSpPr>
        <p:spPr bwMode="auto">
          <a:xfrm>
            <a:off x="9855521" y="3517105"/>
            <a:ext cx="1893568" cy="536378"/>
          </a:xfrm>
          <a:prstGeom prst="rect">
            <a:avLst/>
          </a:prstGeom>
          <a:solidFill>
            <a:schemeClr val="accent5"/>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GB" sz="1600" dirty="0">
                <a:solidFill>
                  <a:schemeClr val="tx1"/>
                </a:solidFill>
              </a:rPr>
              <a:t>Supportable</a:t>
            </a:r>
          </a:p>
        </p:txBody>
      </p:sp>
      <p:grpSp>
        <p:nvGrpSpPr>
          <p:cNvPr id="189" name="Group 188"/>
          <p:cNvGrpSpPr/>
          <p:nvPr/>
        </p:nvGrpSpPr>
        <p:grpSpPr>
          <a:xfrm>
            <a:off x="619916" y="1854200"/>
            <a:ext cx="7392988" cy="449263"/>
            <a:chOff x="544513" y="1854200"/>
            <a:chExt cx="7392988" cy="449263"/>
          </a:xfrm>
          <a:solidFill>
            <a:schemeClr val="accent5"/>
          </a:solidFill>
        </p:grpSpPr>
        <p:sp>
          <p:nvSpPr>
            <p:cNvPr id="5" name="Freeform 5"/>
            <p:cNvSpPr>
              <a:spLocks/>
            </p:cNvSpPr>
            <p:nvPr/>
          </p:nvSpPr>
          <p:spPr bwMode="auto">
            <a:xfrm>
              <a:off x="544513" y="1854200"/>
              <a:ext cx="678143" cy="449263"/>
            </a:xfrm>
            <a:custGeom>
              <a:avLst/>
              <a:gdLst>
                <a:gd name="T0" fmla="*/ 0 w 371"/>
                <a:gd name="T1" fmla="*/ 283 h 283"/>
                <a:gd name="T2" fmla="*/ 308 w 371"/>
                <a:gd name="T3" fmla="*/ 283 h 283"/>
                <a:gd name="T4" fmla="*/ 371 w 371"/>
                <a:gd name="T5" fmla="*/ 142 h 283"/>
                <a:gd name="T6" fmla="*/ 308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08" y="283"/>
                  </a:lnTo>
                  <a:lnTo>
                    <a:pt x="371" y="142"/>
                  </a:lnTo>
                  <a:lnTo>
                    <a:pt x="308"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Backup</a:t>
              </a:r>
            </a:p>
          </p:txBody>
        </p:sp>
        <p:sp>
          <p:nvSpPr>
            <p:cNvPr id="9" name="Freeform 9"/>
            <p:cNvSpPr>
              <a:spLocks/>
            </p:cNvSpPr>
            <p:nvPr/>
          </p:nvSpPr>
          <p:spPr bwMode="auto">
            <a:xfrm>
              <a:off x="1419225" y="1854200"/>
              <a:ext cx="579438" cy="449263"/>
            </a:xfrm>
            <a:custGeom>
              <a:avLst/>
              <a:gdLst>
                <a:gd name="T0" fmla="*/ 0 w 317"/>
                <a:gd name="T1" fmla="*/ 283 h 283"/>
                <a:gd name="T2" fmla="*/ 263 w 317"/>
                <a:gd name="T3" fmla="*/ 283 h 283"/>
                <a:gd name="T4" fmla="*/ 317 w 317"/>
                <a:gd name="T5" fmla="*/ 142 h 283"/>
                <a:gd name="T6" fmla="*/ 263 w 317"/>
                <a:gd name="T7" fmla="*/ 0 h 283"/>
                <a:gd name="T8" fmla="*/ 0 w 317"/>
                <a:gd name="T9" fmla="*/ 0 h 283"/>
                <a:gd name="T10" fmla="*/ 0 w 317"/>
                <a:gd name="T11" fmla="*/ 283 h 283"/>
              </a:gdLst>
              <a:ahLst/>
              <a:cxnLst>
                <a:cxn ang="0">
                  <a:pos x="T0" y="T1"/>
                </a:cxn>
                <a:cxn ang="0">
                  <a:pos x="T2" y="T3"/>
                </a:cxn>
                <a:cxn ang="0">
                  <a:pos x="T4" y="T5"/>
                </a:cxn>
                <a:cxn ang="0">
                  <a:pos x="T6" y="T7"/>
                </a:cxn>
                <a:cxn ang="0">
                  <a:pos x="T8" y="T9"/>
                </a:cxn>
                <a:cxn ang="0">
                  <a:pos x="T10" y="T11"/>
                </a:cxn>
              </a:cxnLst>
              <a:rect l="0" t="0" r="r" b="b"/>
              <a:pathLst>
                <a:path w="317" h="283">
                  <a:moveTo>
                    <a:pt x="0" y="283"/>
                  </a:moveTo>
                  <a:lnTo>
                    <a:pt x="263" y="283"/>
                  </a:lnTo>
                  <a:lnTo>
                    <a:pt x="317" y="142"/>
                  </a:lnTo>
                  <a:lnTo>
                    <a:pt x="263"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Backup</a:t>
              </a:r>
            </a:p>
          </p:txBody>
        </p:sp>
        <p:sp>
          <p:nvSpPr>
            <p:cNvPr id="34" name="Freeform 29"/>
            <p:cNvSpPr>
              <a:spLocks/>
            </p:cNvSpPr>
            <p:nvPr/>
          </p:nvSpPr>
          <p:spPr bwMode="auto">
            <a:xfrm>
              <a:off x="2354262" y="1854200"/>
              <a:ext cx="828029" cy="449263"/>
            </a:xfrm>
            <a:custGeom>
              <a:avLst/>
              <a:gdLst>
                <a:gd name="T0" fmla="*/ 0 w 453"/>
                <a:gd name="T1" fmla="*/ 283 h 283"/>
                <a:gd name="T2" fmla="*/ 379 w 453"/>
                <a:gd name="T3" fmla="*/ 283 h 283"/>
                <a:gd name="T4" fmla="*/ 453 w 453"/>
                <a:gd name="T5" fmla="*/ 142 h 283"/>
                <a:gd name="T6" fmla="*/ 379 w 453"/>
                <a:gd name="T7" fmla="*/ 0 h 283"/>
                <a:gd name="T8" fmla="*/ 0 w 453"/>
                <a:gd name="T9" fmla="*/ 0 h 283"/>
                <a:gd name="T10" fmla="*/ 0 w 453"/>
                <a:gd name="T11" fmla="*/ 283 h 283"/>
              </a:gdLst>
              <a:ahLst/>
              <a:cxnLst>
                <a:cxn ang="0">
                  <a:pos x="T0" y="T1"/>
                </a:cxn>
                <a:cxn ang="0">
                  <a:pos x="T2" y="T3"/>
                </a:cxn>
                <a:cxn ang="0">
                  <a:pos x="T4" y="T5"/>
                </a:cxn>
                <a:cxn ang="0">
                  <a:pos x="T6" y="T7"/>
                </a:cxn>
                <a:cxn ang="0">
                  <a:pos x="T8" y="T9"/>
                </a:cxn>
                <a:cxn ang="0">
                  <a:pos x="T10" y="T11"/>
                </a:cxn>
              </a:cxnLst>
              <a:rect l="0" t="0" r="r" b="b"/>
              <a:pathLst>
                <a:path w="453" h="283">
                  <a:moveTo>
                    <a:pt x="0" y="283"/>
                  </a:moveTo>
                  <a:lnTo>
                    <a:pt x="379" y="283"/>
                  </a:lnTo>
                  <a:lnTo>
                    <a:pt x="453" y="142"/>
                  </a:lnTo>
                  <a:lnTo>
                    <a:pt x="379"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Backup</a:t>
              </a:r>
            </a:p>
          </p:txBody>
        </p:sp>
        <p:sp>
          <p:nvSpPr>
            <p:cNvPr id="37" name="Freeform 32"/>
            <p:cNvSpPr>
              <a:spLocks/>
            </p:cNvSpPr>
            <p:nvPr/>
          </p:nvSpPr>
          <p:spPr bwMode="auto">
            <a:xfrm>
              <a:off x="3343275" y="1854200"/>
              <a:ext cx="579438" cy="449263"/>
            </a:xfrm>
            <a:custGeom>
              <a:avLst/>
              <a:gdLst>
                <a:gd name="T0" fmla="*/ 0 w 317"/>
                <a:gd name="T1" fmla="*/ 283 h 283"/>
                <a:gd name="T2" fmla="*/ 271 w 317"/>
                <a:gd name="T3" fmla="*/ 283 h 283"/>
                <a:gd name="T4" fmla="*/ 317 w 317"/>
                <a:gd name="T5" fmla="*/ 142 h 283"/>
                <a:gd name="T6" fmla="*/ 271 w 317"/>
                <a:gd name="T7" fmla="*/ 0 h 283"/>
                <a:gd name="T8" fmla="*/ 0 w 317"/>
                <a:gd name="T9" fmla="*/ 0 h 283"/>
                <a:gd name="T10" fmla="*/ 0 w 317"/>
                <a:gd name="T11" fmla="*/ 283 h 283"/>
              </a:gdLst>
              <a:ahLst/>
              <a:cxnLst>
                <a:cxn ang="0">
                  <a:pos x="T0" y="T1"/>
                </a:cxn>
                <a:cxn ang="0">
                  <a:pos x="T2" y="T3"/>
                </a:cxn>
                <a:cxn ang="0">
                  <a:pos x="T4" y="T5"/>
                </a:cxn>
                <a:cxn ang="0">
                  <a:pos x="T6" y="T7"/>
                </a:cxn>
                <a:cxn ang="0">
                  <a:pos x="T8" y="T9"/>
                </a:cxn>
                <a:cxn ang="0">
                  <a:pos x="T10" y="T11"/>
                </a:cxn>
              </a:cxnLst>
              <a:rect l="0" t="0" r="r" b="b"/>
              <a:pathLst>
                <a:path w="317" h="283">
                  <a:moveTo>
                    <a:pt x="0" y="283"/>
                  </a:moveTo>
                  <a:lnTo>
                    <a:pt x="271" y="283"/>
                  </a:lnTo>
                  <a:lnTo>
                    <a:pt x="317" y="142"/>
                  </a:lnTo>
                  <a:lnTo>
                    <a:pt x="271"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Backup</a:t>
              </a:r>
            </a:p>
          </p:txBody>
        </p:sp>
        <p:sp>
          <p:nvSpPr>
            <p:cNvPr id="41" name="Freeform 36"/>
            <p:cNvSpPr>
              <a:spLocks/>
            </p:cNvSpPr>
            <p:nvPr/>
          </p:nvSpPr>
          <p:spPr bwMode="auto">
            <a:xfrm>
              <a:off x="4291013" y="1854200"/>
              <a:ext cx="1122317" cy="449263"/>
            </a:xfrm>
            <a:custGeom>
              <a:avLst/>
              <a:gdLst>
                <a:gd name="T0" fmla="*/ 0 w 614"/>
                <a:gd name="T1" fmla="*/ 283 h 283"/>
                <a:gd name="T2" fmla="*/ 551 w 614"/>
                <a:gd name="T3" fmla="*/ 283 h 283"/>
                <a:gd name="T4" fmla="*/ 614 w 614"/>
                <a:gd name="T5" fmla="*/ 142 h 283"/>
                <a:gd name="T6" fmla="*/ 551 w 614"/>
                <a:gd name="T7" fmla="*/ 0 h 283"/>
                <a:gd name="T8" fmla="*/ 0 w 614"/>
                <a:gd name="T9" fmla="*/ 0 h 283"/>
                <a:gd name="T10" fmla="*/ 0 w 614"/>
                <a:gd name="T11" fmla="*/ 283 h 283"/>
              </a:gdLst>
              <a:ahLst/>
              <a:cxnLst>
                <a:cxn ang="0">
                  <a:pos x="T0" y="T1"/>
                </a:cxn>
                <a:cxn ang="0">
                  <a:pos x="T2" y="T3"/>
                </a:cxn>
                <a:cxn ang="0">
                  <a:pos x="T4" y="T5"/>
                </a:cxn>
                <a:cxn ang="0">
                  <a:pos x="T6" y="T7"/>
                </a:cxn>
                <a:cxn ang="0">
                  <a:pos x="T8" y="T9"/>
                </a:cxn>
                <a:cxn ang="0">
                  <a:pos x="T10" y="T11"/>
                </a:cxn>
              </a:cxnLst>
              <a:rect l="0" t="0" r="r" b="b"/>
              <a:pathLst>
                <a:path w="614" h="283">
                  <a:moveTo>
                    <a:pt x="0" y="283"/>
                  </a:moveTo>
                  <a:lnTo>
                    <a:pt x="551" y="283"/>
                  </a:lnTo>
                  <a:lnTo>
                    <a:pt x="614" y="142"/>
                  </a:lnTo>
                  <a:lnTo>
                    <a:pt x="551"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Backup</a:t>
              </a:r>
            </a:p>
          </p:txBody>
        </p:sp>
        <p:sp>
          <p:nvSpPr>
            <p:cNvPr id="44" name="Freeform 39"/>
            <p:cNvSpPr>
              <a:spLocks/>
            </p:cNvSpPr>
            <p:nvPr/>
          </p:nvSpPr>
          <p:spPr bwMode="auto">
            <a:xfrm>
              <a:off x="5568950" y="1854200"/>
              <a:ext cx="579438" cy="449263"/>
            </a:xfrm>
            <a:custGeom>
              <a:avLst/>
              <a:gdLst>
                <a:gd name="T0" fmla="*/ 0 w 317"/>
                <a:gd name="T1" fmla="*/ 283 h 283"/>
                <a:gd name="T2" fmla="*/ 248 w 317"/>
                <a:gd name="T3" fmla="*/ 283 h 283"/>
                <a:gd name="T4" fmla="*/ 317 w 317"/>
                <a:gd name="T5" fmla="*/ 142 h 283"/>
                <a:gd name="T6" fmla="*/ 248 w 317"/>
                <a:gd name="T7" fmla="*/ 0 h 283"/>
                <a:gd name="T8" fmla="*/ 0 w 317"/>
                <a:gd name="T9" fmla="*/ 0 h 283"/>
                <a:gd name="T10" fmla="*/ 0 w 317"/>
                <a:gd name="T11" fmla="*/ 283 h 283"/>
              </a:gdLst>
              <a:ahLst/>
              <a:cxnLst>
                <a:cxn ang="0">
                  <a:pos x="T0" y="T1"/>
                </a:cxn>
                <a:cxn ang="0">
                  <a:pos x="T2" y="T3"/>
                </a:cxn>
                <a:cxn ang="0">
                  <a:pos x="T4" y="T5"/>
                </a:cxn>
                <a:cxn ang="0">
                  <a:pos x="T6" y="T7"/>
                </a:cxn>
                <a:cxn ang="0">
                  <a:pos x="T8" y="T9"/>
                </a:cxn>
                <a:cxn ang="0">
                  <a:pos x="T10" y="T11"/>
                </a:cxn>
              </a:cxnLst>
              <a:rect l="0" t="0" r="r" b="b"/>
              <a:pathLst>
                <a:path w="317" h="283">
                  <a:moveTo>
                    <a:pt x="0" y="283"/>
                  </a:moveTo>
                  <a:lnTo>
                    <a:pt x="248" y="283"/>
                  </a:lnTo>
                  <a:lnTo>
                    <a:pt x="317" y="142"/>
                  </a:lnTo>
                  <a:lnTo>
                    <a:pt x="248"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Backup</a:t>
              </a:r>
            </a:p>
          </p:txBody>
        </p:sp>
        <p:sp>
          <p:nvSpPr>
            <p:cNvPr id="48" name="Freeform 43"/>
            <p:cNvSpPr>
              <a:spLocks/>
            </p:cNvSpPr>
            <p:nvPr/>
          </p:nvSpPr>
          <p:spPr bwMode="auto">
            <a:xfrm>
              <a:off x="6286500" y="1854200"/>
              <a:ext cx="1116364" cy="449263"/>
            </a:xfrm>
            <a:custGeom>
              <a:avLst/>
              <a:gdLst>
                <a:gd name="T0" fmla="*/ 0 w 696"/>
                <a:gd name="T1" fmla="*/ 283 h 283"/>
                <a:gd name="T2" fmla="*/ 610 w 696"/>
                <a:gd name="T3" fmla="*/ 283 h 283"/>
                <a:gd name="T4" fmla="*/ 696 w 696"/>
                <a:gd name="T5" fmla="*/ 142 h 283"/>
                <a:gd name="T6" fmla="*/ 610 w 696"/>
                <a:gd name="T7" fmla="*/ 0 h 283"/>
                <a:gd name="T8" fmla="*/ 0 w 696"/>
                <a:gd name="T9" fmla="*/ 0 h 283"/>
                <a:gd name="T10" fmla="*/ 0 w 696"/>
                <a:gd name="T11" fmla="*/ 283 h 283"/>
              </a:gdLst>
              <a:ahLst/>
              <a:cxnLst>
                <a:cxn ang="0">
                  <a:pos x="T0" y="T1"/>
                </a:cxn>
                <a:cxn ang="0">
                  <a:pos x="T2" y="T3"/>
                </a:cxn>
                <a:cxn ang="0">
                  <a:pos x="T4" y="T5"/>
                </a:cxn>
                <a:cxn ang="0">
                  <a:pos x="T6" y="T7"/>
                </a:cxn>
                <a:cxn ang="0">
                  <a:pos x="T8" y="T9"/>
                </a:cxn>
                <a:cxn ang="0">
                  <a:pos x="T10" y="T11"/>
                </a:cxn>
              </a:cxnLst>
              <a:rect l="0" t="0" r="r" b="b"/>
              <a:pathLst>
                <a:path w="696" h="283">
                  <a:moveTo>
                    <a:pt x="0" y="283"/>
                  </a:moveTo>
                  <a:lnTo>
                    <a:pt x="610" y="283"/>
                  </a:lnTo>
                  <a:lnTo>
                    <a:pt x="696" y="142"/>
                  </a:lnTo>
                  <a:lnTo>
                    <a:pt x="610"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Backup</a:t>
              </a:r>
            </a:p>
          </p:txBody>
        </p:sp>
        <p:sp>
          <p:nvSpPr>
            <p:cNvPr id="75" name="Oval 70"/>
            <p:cNvSpPr>
              <a:spLocks noChangeArrowheads="1"/>
            </p:cNvSpPr>
            <p:nvPr/>
          </p:nvSpPr>
          <p:spPr bwMode="auto">
            <a:xfrm>
              <a:off x="7477125" y="2021681"/>
              <a:ext cx="114300"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Oval 71"/>
            <p:cNvSpPr>
              <a:spLocks noChangeArrowheads="1"/>
            </p:cNvSpPr>
            <p:nvPr/>
          </p:nvSpPr>
          <p:spPr bwMode="auto">
            <a:xfrm>
              <a:off x="7477125" y="2021681"/>
              <a:ext cx="114300"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Oval 72"/>
            <p:cNvSpPr>
              <a:spLocks noChangeArrowheads="1"/>
            </p:cNvSpPr>
            <p:nvPr/>
          </p:nvSpPr>
          <p:spPr bwMode="auto">
            <a:xfrm>
              <a:off x="7650163" y="2021681"/>
              <a:ext cx="114300"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Oval 73"/>
            <p:cNvSpPr>
              <a:spLocks noChangeArrowheads="1"/>
            </p:cNvSpPr>
            <p:nvPr/>
          </p:nvSpPr>
          <p:spPr bwMode="auto">
            <a:xfrm>
              <a:off x="7650163" y="2021681"/>
              <a:ext cx="114300"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Oval 74"/>
            <p:cNvSpPr>
              <a:spLocks noChangeArrowheads="1"/>
            </p:cNvSpPr>
            <p:nvPr/>
          </p:nvSpPr>
          <p:spPr bwMode="auto">
            <a:xfrm>
              <a:off x="7821613" y="2021681"/>
              <a:ext cx="115888"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Oval 75"/>
            <p:cNvSpPr>
              <a:spLocks noChangeArrowheads="1"/>
            </p:cNvSpPr>
            <p:nvPr/>
          </p:nvSpPr>
          <p:spPr bwMode="auto">
            <a:xfrm>
              <a:off x="7821613" y="2021681"/>
              <a:ext cx="115888"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8" name="Group 187"/>
          <p:cNvGrpSpPr/>
          <p:nvPr/>
        </p:nvGrpSpPr>
        <p:grpSpPr>
          <a:xfrm>
            <a:off x="1182007" y="2596427"/>
            <a:ext cx="7458074" cy="449263"/>
            <a:chOff x="1047750" y="2523332"/>
            <a:chExt cx="7458074" cy="449263"/>
          </a:xfrm>
          <a:solidFill>
            <a:schemeClr val="accent5"/>
          </a:solidFill>
        </p:grpSpPr>
        <p:sp>
          <p:nvSpPr>
            <p:cNvPr id="23" name="Freeform 18"/>
            <p:cNvSpPr>
              <a:spLocks/>
            </p:cNvSpPr>
            <p:nvPr/>
          </p:nvSpPr>
          <p:spPr bwMode="auto">
            <a:xfrm>
              <a:off x="1047750" y="2524126"/>
              <a:ext cx="746125" cy="447675"/>
            </a:xfrm>
            <a:custGeom>
              <a:avLst/>
              <a:gdLst>
                <a:gd name="T0" fmla="*/ 0 w 371"/>
                <a:gd name="T1" fmla="*/ 282 h 282"/>
                <a:gd name="T2" fmla="*/ 316 w 371"/>
                <a:gd name="T3" fmla="*/ 282 h 282"/>
                <a:gd name="T4" fmla="*/ 371 w 371"/>
                <a:gd name="T5" fmla="*/ 141 h 282"/>
                <a:gd name="T6" fmla="*/ 316 w 371"/>
                <a:gd name="T7" fmla="*/ 0 h 282"/>
                <a:gd name="T8" fmla="*/ 0 w 371"/>
                <a:gd name="T9" fmla="*/ 0 h 282"/>
                <a:gd name="T10" fmla="*/ 0 w 371"/>
                <a:gd name="T11" fmla="*/ 282 h 282"/>
              </a:gdLst>
              <a:ahLst/>
              <a:cxnLst>
                <a:cxn ang="0">
                  <a:pos x="T0" y="T1"/>
                </a:cxn>
                <a:cxn ang="0">
                  <a:pos x="T2" y="T3"/>
                </a:cxn>
                <a:cxn ang="0">
                  <a:pos x="T4" y="T5"/>
                </a:cxn>
                <a:cxn ang="0">
                  <a:pos x="T6" y="T7"/>
                </a:cxn>
                <a:cxn ang="0">
                  <a:pos x="T8" y="T9"/>
                </a:cxn>
                <a:cxn ang="0">
                  <a:pos x="T10" y="T11"/>
                </a:cxn>
              </a:cxnLst>
              <a:rect l="0" t="0" r="r" b="b"/>
              <a:pathLst>
                <a:path w="371" h="282">
                  <a:moveTo>
                    <a:pt x="0" y="282"/>
                  </a:moveTo>
                  <a:lnTo>
                    <a:pt x="316" y="282"/>
                  </a:lnTo>
                  <a:lnTo>
                    <a:pt x="371" y="141"/>
                  </a:lnTo>
                  <a:lnTo>
                    <a:pt x="316" y="0"/>
                  </a:lnTo>
                  <a:lnTo>
                    <a:pt x="0" y="0"/>
                  </a:lnTo>
                  <a:lnTo>
                    <a:pt x="0" y="282"/>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Copy Operation</a:t>
              </a:r>
            </a:p>
          </p:txBody>
        </p:sp>
        <p:sp>
          <p:nvSpPr>
            <p:cNvPr id="51" name="Freeform 46"/>
            <p:cNvSpPr>
              <a:spLocks/>
            </p:cNvSpPr>
            <p:nvPr/>
          </p:nvSpPr>
          <p:spPr bwMode="auto">
            <a:xfrm>
              <a:off x="1973263" y="2524126"/>
              <a:ext cx="746125" cy="447675"/>
            </a:xfrm>
            <a:custGeom>
              <a:avLst/>
              <a:gdLst>
                <a:gd name="T0" fmla="*/ 0 w 371"/>
                <a:gd name="T1" fmla="*/ 282 h 282"/>
                <a:gd name="T2" fmla="*/ 316 w 371"/>
                <a:gd name="T3" fmla="*/ 282 h 282"/>
                <a:gd name="T4" fmla="*/ 371 w 371"/>
                <a:gd name="T5" fmla="*/ 141 h 282"/>
                <a:gd name="T6" fmla="*/ 316 w 371"/>
                <a:gd name="T7" fmla="*/ 0 h 282"/>
                <a:gd name="T8" fmla="*/ 0 w 371"/>
                <a:gd name="T9" fmla="*/ 0 h 282"/>
                <a:gd name="T10" fmla="*/ 0 w 371"/>
                <a:gd name="T11" fmla="*/ 282 h 282"/>
              </a:gdLst>
              <a:ahLst/>
              <a:cxnLst>
                <a:cxn ang="0">
                  <a:pos x="T0" y="T1"/>
                </a:cxn>
                <a:cxn ang="0">
                  <a:pos x="T2" y="T3"/>
                </a:cxn>
                <a:cxn ang="0">
                  <a:pos x="T4" y="T5"/>
                </a:cxn>
                <a:cxn ang="0">
                  <a:pos x="T6" y="T7"/>
                </a:cxn>
                <a:cxn ang="0">
                  <a:pos x="T8" y="T9"/>
                </a:cxn>
                <a:cxn ang="0">
                  <a:pos x="T10" y="T11"/>
                </a:cxn>
              </a:cxnLst>
              <a:rect l="0" t="0" r="r" b="b"/>
              <a:pathLst>
                <a:path w="371" h="282">
                  <a:moveTo>
                    <a:pt x="0" y="282"/>
                  </a:moveTo>
                  <a:lnTo>
                    <a:pt x="316" y="282"/>
                  </a:lnTo>
                  <a:lnTo>
                    <a:pt x="371" y="141"/>
                  </a:lnTo>
                  <a:lnTo>
                    <a:pt x="316" y="0"/>
                  </a:lnTo>
                  <a:lnTo>
                    <a:pt x="0" y="0"/>
                  </a:lnTo>
                  <a:lnTo>
                    <a:pt x="0" y="282"/>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Copy Operation</a:t>
              </a:r>
            </a:p>
          </p:txBody>
        </p:sp>
        <p:sp>
          <p:nvSpPr>
            <p:cNvPr id="55" name="Freeform 50"/>
            <p:cNvSpPr>
              <a:spLocks/>
            </p:cNvSpPr>
            <p:nvPr/>
          </p:nvSpPr>
          <p:spPr bwMode="auto">
            <a:xfrm>
              <a:off x="3049588" y="2523332"/>
              <a:ext cx="746125" cy="449263"/>
            </a:xfrm>
            <a:custGeom>
              <a:avLst/>
              <a:gdLst>
                <a:gd name="T0" fmla="*/ 0 w 371"/>
                <a:gd name="T1" fmla="*/ 283 h 283"/>
                <a:gd name="T2" fmla="*/ 316 w 371"/>
                <a:gd name="T3" fmla="*/ 283 h 283"/>
                <a:gd name="T4" fmla="*/ 371 w 371"/>
                <a:gd name="T5" fmla="*/ 141 h 283"/>
                <a:gd name="T6" fmla="*/ 316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16" y="283"/>
                  </a:lnTo>
                  <a:lnTo>
                    <a:pt x="371" y="141"/>
                  </a:lnTo>
                  <a:lnTo>
                    <a:pt x="316"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Copy Operation</a:t>
              </a:r>
            </a:p>
          </p:txBody>
        </p:sp>
        <p:sp>
          <p:nvSpPr>
            <p:cNvPr id="59" name="Freeform 54"/>
            <p:cNvSpPr>
              <a:spLocks/>
            </p:cNvSpPr>
            <p:nvPr/>
          </p:nvSpPr>
          <p:spPr bwMode="auto">
            <a:xfrm>
              <a:off x="3846513" y="2523332"/>
              <a:ext cx="746125" cy="449263"/>
            </a:xfrm>
            <a:custGeom>
              <a:avLst/>
              <a:gdLst>
                <a:gd name="T0" fmla="*/ 0 w 371"/>
                <a:gd name="T1" fmla="*/ 283 h 283"/>
                <a:gd name="T2" fmla="*/ 316 w 371"/>
                <a:gd name="T3" fmla="*/ 283 h 283"/>
                <a:gd name="T4" fmla="*/ 371 w 371"/>
                <a:gd name="T5" fmla="*/ 141 h 283"/>
                <a:gd name="T6" fmla="*/ 316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16" y="283"/>
                  </a:lnTo>
                  <a:lnTo>
                    <a:pt x="371" y="141"/>
                  </a:lnTo>
                  <a:lnTo>
                    <a:pt x="316"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a:t>Copy Operation</a:t>
              </a:r>
              <a:endParaRPr lang="en-US" sz="900" dirty="0"/>
            </a:p>
          </p:txBody>
        </p:sp>
        <p:sp>
          <p:nvSpPr>
            <p:cNvPr id="63" name="Freeform 58"/>
            <p:cNvSpPr>
              <a:spLocks/>
            </p:cNvSpPr>
            <p:nvPr/>
          </p:nvSpPr>
          <p:spPr bwMode="auto">
            <a:xfrm>
              <a:off x="5281613" y="2523332"/>
              <a:ext cx="746125" cy="449263"/>
            </a:xfrm>
            <a:custGeom>
              <a:avLst/>
              <a:gdLst>
                <a:gd name="T0" fmla="*/ 0 w 371"/>
                <a:gd name="T1" fmla="*/ 283 h 283"/>
                <a:gd name="T2" fmla="*/ 316 w 371"/>
                <a:gd name="T3" fmla="*/ 283 h 283"/>
                <a:gd name="T4" fmla="*/ 371 w 371"/>
                <a:gd name="T5" fmla="*/ 141 h 283"/>
                <a:gd name="T6" fmla="*/ 316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16" y="283"/>
                  </a:lnTo>
                  <a:lnTo>
                    <a:pt x="371" y="141"/>
                  </a:lnTo>
                  <a:lnTo>
                    <a:pt x="316"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a:t>Copy Operation</a:t>
              </a:r>
              <a:endParaRPr lang="en-US" sz="900" dirty="0"/>
            </a:p>
          </p:txBody>
        </p:sp>
        <p:sp>
          <p:nvSpPr>
            <p:cNvPr id="67" name="Freeform 62"/>
            <p:cNvSpPr>
              <a:spLocks/>
            </p:cNvSpPr>
            <p:nvPr/>
          </p:nvSpPr>
          <p:spPr bwMode="auto">
            <a:xfrm>
              <a:off x="6070600" y="2523332"/>
              <a:ext cx="746125" cy="449263"/>
            </a:xfrm>
            <a:custGeom>
              <a:avLst/>
              <a:gdLst>
                <a:gd name="T0" fmla="*/ 0 w 371"/>
                <a:gd name="T1" fmla="*/ 283 h 283"/>
                <a:gd name="T2" fmla="*/ 317 w 371"/>
                <a:gd name="T3" fmla="*/ 283 h 283"/>
                <a:gd name="T4" fmla="*/ 371 w 371"/>
                <a:gd name="T5" fmla="*/ 141 h 283"/>
                <a:gd name="T6" fmla="*/ 317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17" y="283"/>
                  </a:lnTo>
                  <a:lnTo>
                    <a:pt x="371" y="141"/>
                  </a:lnTo>
                  <a:lnTo>
                    <a:pt x="317"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a:t>Copy Operation</a:t>
              </a:r>
              <a:endParaRPr lang="en-US" sz="900" dirty="0"/>
            </a:p>
          </p:txBody>
        </p:sp>
        <p:sp>
          <p:nvSpPr>
            <p:cNvPr id="71" name="Freeform 66"/>
            <p:cNvSpPr>
              <a:spLocks/>
            </p:cNvSpPr>
            <p:nvPr/>
          </p:nvSpPr>
          <p:spPr bwMode="auto">
            <a:xfrm>
              <a:off x="7234238" y="2523332"/>
              <a:ext cx="746125" cy="449263"/>
            </a:xfrm>
            <a:custGeom>
              <a:avLst/>
              <a:gdLst>
                <a:gd name="T0" fmla="*/ 0 w 371"/>
                <a:gd name="T1" fmla="*/ 283 h 283"/>
                <a:gd name="T2" fmla="*/ 316 w 371"/>
                <a:gd name="T3" fmla="*/ 283 h 283"/>
                <a:gd name="T4" fmla="*/ 371 w 371"/>
                <a:gd name="T5" fmla="*/ 141 h 283"/>
                <a:gd name="T6" fmla="*/ 316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316" y="283"/>
                  </a:lnTo>
                  <a:lnTo>
                    <a:pt x="371" y="141"/>
                  </a:lnTo>
                  <a:lnTo>
                    <a:pt x="316"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Copy Operation</a:t>
              </a:r>
            </a:p>
          </p:txBody>
        </p:sp>
        <p:sp>
          <p:nvSpPr>
            <p:cNvPr id="81" name="Oval 76"/>
            <p:cNvSpPr>
              <a:spLocks noChangeArrowheads="1"/>
            </p:cNvSpPr>
            <p:nvPr/>
          </p:nvSpPr>
          <p:spPr bwMode="auto">
            <a:xfrm>
              <a:off x="8047037" y="2690019"/>
              <a:ext cx="114300" cy="115888"/>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Oval 77"/>
            <p:cNvSpPr>
              <a:spLocks noChangeArrowheads="1"/>
            </p:cNvSpPr>
            <p:nvPr/>
          </p:nvSpPr>
          <p:spPr bwMode="auto">
            <a:xfrm>
              <a:off x="8047037" y="2690019"/>
              <a:ext cx="114300" cy="115888"/>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Oval 78"/>
            <p:cNvSpPr>
              <a:spLocks noChangeArrowheads="1"/>
            </p:cNvSpPr>
            <p:nvPr/>
          </p:nvSpPr>
          <p:spPr bwMode="auto">
            <a:xfrm>
              <a:off x="8218487" y="2690019"/>
              <a:ext cx="115888" cy="115888"/>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Oval 79"/>
            <p:cNvSpPr>
              <a:spLocks noChangeArrowheads="1"/>
            </p:cNvSpPr>
            <p:nvPr/>
          </p:nvSpPr>
          <p:spPr bwMode="auto">
            <a:xfrm>
              <a:off x="8218487" y="2690019"/>
              <a:ext cx="115888" cy="115888"/>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 name="Oval 80"/>
            <p:cNvSpPr>
              <a:spLocks noChangeArrowheads="1"/>
            </p:cNvSpPr>
            <p:nvPr/>
          </p:nvSpPr>
          <p:spPr bwMode="auto">
            <a:xfrm>
              <a:off x="8391524" y="2690019"/>
              <a:ext cx="114300" cy="115888"/>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Oval 81"/>
            <p:cNvSpPr>
              <a:spLocks noChangeArrowheads="1"/>
            </p:cNvSpPr>
            <p:nvPr/>
          </p:nvSpPr>
          <p:spPr bwMode="auto">
            <a:xfrm>
              <a:off x="8391524" y="2690019"/>
              <a:ext cx="114300" cy="115888"/>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7" name="Group 186"/>
          <p:cNvGrpSpPr/>
          <p:nvPr/>
        </p:nvGrpSpPr>
        <p:grpSpPr>
          <a:xfrm>
            <a:off x="2636837" y="3338653"/>
            <a:ext cx="6345237" cy="449263"/>
            <a:chOff x="1620838" y="3210719"/>
            <a:chExt cx="6345237" cy="449263"/>
          </a:xfrm>
          <a:solidFill>
            <a:schemeClr val="accent5"/>
          </a:solidFill>
        </p:grpSpPr>
        <p:sp>
          <p:nvSpPr>
            <p:cNvPr id="27" name="Freeform 22"/>
            <p:cNvSpPr>
              <a:spLocks/>
            </p:cNvSpPr>
            <p:nvPr/>
          </p:nvSpPr>
          <p:spPr bwMode="auto">
            <a:xfrm>
              <a:off x="1620838" y="3210719"/>
              <a:ext cx="974725" cy="449263"/>
            </a:xfrm>
            <a:custGeom>
              <a:avLst/>
              <a:gdLst>
                <a:gd name="T0" fmla="*/ 0 w 614"/>
                <a:gd name="T1" fmla="*/ 283 h 283"/>
                <a:gd name="T2" fmla="*/ 543 w 614"/>
                <a:gd name="T3" fmla="*/ 283 h 283"/>
                <a:gd name="T4" fmla="*/ 614 w 614"/>
                <a:gd name="T5" fmla="*/ 141 h 283"/>
                <a:gd name="T6" fmla="*/ 543 w 614"/>
                <a:gd name="T7" fmla="*/ 0 h 283"/>
                <a:gd name="T8" fmla="*/ 0 w 614"/>
                <a:gd name="T9" fmla="*/ 0 h 283"/>
                <a:gd name="T10" fmla="*/ 0 w 614"/>
                <a:gd name="T11" fmla="*/ 283 h 283"/>
              </a:gdLst>
              <a:ahLst/>
              <a:cxnLst>
                <a:cxn ang="0">
                  <a:pos x="T0" y="T1"/>
                </a:cxn>
                <a:cxn ang="0">
                  <a:pos x="T2" y="T3"/>
                </a:cxn>
                <a:cxn ang="0">
                  <a:pos x="T4" y="T5"/>
                </a:cxn>
                <a:cxn ang="0">
                  <a:pos x="T6" y="T7"/>
                </a:cxn>
                <a:cxn ang="0">
                  <a:pos x="T8" y="T9"/>
                </a:cxn>
                <a:cxn ang="0">
                  <a:pos x="T10" y="T11"/>
                </a:cxn>
              </a:cxnLst>
              <a:rect l="0" t="0" r="r" b="b"/>
              <a:pathLst>
                <a:path w="614" h="283">
                  <a:moveTo>
                    <a:pt x="0" y="283"/>
                  </a:moveTo>
                  <a:lnTo>
                    <a:pt x="543" y="283"/>
                  </a:lnTo>
                  <a:lnTo>
                    <a:pt x="614" y="141"/>
                  </a:lnTo>
                  <a:lnTo>
                    <a:pt x="543"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Restore</a:t>
              </a:r>
            </a:p>
          </p:txBody>
        </p:sp>
        <p:sp>
          <p:nvSpPr>
            <p:cNvPr id="30" name="Freeform 25"/>
            <p:cNvSpPr>
              <a:spLocks/>
            </p:cNvSpPr>
            <p:nvPr/>
          </p:nvSpPr>
          <p:spPr bwMode="auto">
            <a:xfrm>
              <a:off x="2625725" y="3210719"/>
              <a:ext cx="588963" cy="449263"/>
            </a:xfrm>
            <a:custGeom>
              <a:avLst/>
              <a:gdLst>
                <a:gd name="T0" fmla="*/ 0 w 371"/>
                <a:gd name="T1" fmla="*/ 283 h 283"/>
                <a:gd name="T2" fmla="*/ 289 w 371"/>
                <a:gd name="T3" fmla="*/ 283 h 283"/>
                <a:gd name="T4" fmla="*/ 371 w 371"/>
                <a:gd name="T5" fmla="*/ 141 h 283"/>
                <a:gd name="T6" fmla="*/ 289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289" y="283"/>
                  </a:lnTo>
                  <a:lnTo>
                    <a:pt x="371" y="141"/>
                  </a:lnTo>
                  <a:lnTo>
                    <a:pt x="289"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Restore</a:t>
              </a:r>
            </a:p>
          </p:txBody>
        </p:sp>
        <p:sp>
          <p:nvSpPr>
            <p:cNvPr id="87" name="Freeform 82"/>
            <p:cNvSpPr>
              <a:spLocks/>
            </p:cNvSpPr>
            <p:nvPr/>
          </p:nvSpPr>
          <p:spPr bwMode="auto">
            <a:xfrm>
              <a:off x="3616325" y="3210719"/>
              <a:ext cx="974725" cy="449263"/>
            </a:xfrm>
            <a:custGeom>
              <a:avLst/>
              <a:gdLst>
                <a:gd name="T0" fmla="*/ 0 w 614"/>
                <a:gd name="T1" fmla="*/ 283 h 283"/>
                <a:gd name="T2" fmla="*/ 543 w 614"/>
                <a:gd name="T3" fmla="*/ 283 h 283"/>
                <a:gd name="T4" fmla="*/ 614 w 614"/>
                <a:gd name="T5" fmla="*/ 141 h 283"/>
                <a:gd name="T6" fmla="*/ 543 w 614"/>
                <a:gd name="T7" fmla="*/ 0 h 283"/>
                <a:gd name="T8" fmla="*/ 0 w 614"/>
                <a:gd name="T9" fmla="*/ 0 h 283"/>
                <a:gd name="T10" fmla="*/ 0 w 614"/>
                <a:gd name="T11" fmla="*/ 283 h 283"/>
              </a:gdLst>
              <a:ahLst/>
              <a:cxnLst>
                <a:cxn ang="0">
                  <a:pos x="T0" y="T1"/>
                </a:cxn>
                <a:cxn ang="0">
                  <a:pos x="T2" y="T3"/>
                </a:cxn>
                <a:cxn ang="0">
                  <a:pos x="T4" y="T5"/>
                </a:cxn>
                <a:cxn ang="0">
                  <a:pos x="T6" y="T7"/>
                </a:cxn>
                <a:cxn ang="0">
                  <a:pos x="T8" y="T9"/>
                </a:cxn>
                <a:cxn ang="0">
                  <a:pos x="T10" y="T11"/>
                </a:cxn>
              </a:cxnLst>
              <a:rect l="0" t="0" r="r" b="b"/>
              <a:pathLst>
                <a:path w="614" h="283">
                  <a:moveTo>
                    <a:pt x="0" y="283"/>
                  </a:moveTo>
                  <a:lnTo>
                    <a:pt x="543" y="283"/>
                  </a:lnTo>
                  <a:lnTo>
                    <a:pt x="614" y="141"/>
                  </a:lnTo>
                  <a:lnTo>
                    <a:pt x="543"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Restore</a:t>
              </a:r>
            </a:p>
          </p:txBody>
        </p:sp>
        <p:sp>
          <p:nvSpPr>
            <p:cNvPr id="90" name="Freeform 85"/>
            <p:cNvSpPr>
              <a:spLocks/>
            </p:cNvSpPr>
            <p:nvPr/>
          </p:nvSpPr>
          <p:spPr bwMode="auto">
            <a:xfrm>
              <a:off x="4621213" y="3210719"/>
              <a:ext cx="588963" cy="449263"/>
            </a:xfrm>
            <a:custGeom>
              <a:avLst/>
              <a:gdLst>
                <a:gd name="T0" fmla="*/ 0 w 371"/>
                <a:gd name="T1" fmla="*/ 283 h 283"/>
                <a:gd name="T2" fmla="*/ 289 w 371"/>
                <a:gd name="T3" fmla="*/ 283 h 283"/>
                <a:gd name="T4" fmla="*/ 371 w 371"/>
                <a:gd name="T5" fmla="*/ 141 h 283"/>
                <a:gd name="T6" fmla="*/ 289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289" y="283"/>
                  </a:lnTo>
                  <a:lnTo>
                    <a:pt x="371" y="141"/>
                  </a:lnTo>
                  <a:lnTo>
                    <a:pt x="289"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Restore</a:t>
              </a:r>
            </a:p>
          </p:txBody>
        </p:sp>
        <p:sp>
          <p:nvSpPr>
            <p:cNvPr id="94" name="Freeform 89"/>
            <p:cNvSpPr>
              <a:spLocks/>
            </p:cNvSpPr>
            <p:nvPr/>
          </p:nvSpPr>
          <p:spPr bwMode="auto">
            <a:xfrm>
              <a:off x="5848350" y="3210719"/>
              <a:ext cx="974725" cy="449263"/>
            </a:xfrm>
            <a:custGeom>
              <a:avLst/>
              <a:gdLst>
                <a:gd name="T0" fmla="*/ 0 w 614"/>
                <a:gd name="T1" fmla="*/ 283 h 283"/>
                <a:gd name="T2" fmla="*/ 543 w 614"/>
                <a:gd name="T3" fmla="*/ 283 h 283"/>
                <a:gd name="T4" fmla="*/ 614 w 614"/>
                <a:gd name="T5" fmla="*/ 142 h 283"/>
                <a:gd name="T6" fmla="*/ 543 w 614"/>
                <a:gd name="T7" fmla="*/ 0 h 283"/>
                <a:gd name="T8" fmla="*/ 0 w 614"/>
                <a:gd name="T9" fmla="*/ 0 h 283"/>
                <a:gd name="T10" fmla="*/ 0 w 614"/>
                <a:gd name="T11" fmla="*/ 283 h 283"/>
              </a:gdLst>
              <a:ahLst/>
              <a:cxnLst>
                <a:cxn ang="0">
                  <a:pos x="T0" y="T1"/>
                </a:cxn>
                <a:cxn ang="0">
                  <a:pos x="T2" y="T3"/>
                </a:cxn>
                <a:cxn ang="0">
                  <a:pos x="T4" y="T5"/>
                </a:cxn>
                <a:cxn ang="0">
                  <a:pos x="T6" y="T7"/>
                </a:cxn>
                <a:cxn ang="0">
                  <a:pos x="T8" y="T9"/>
                </a:cxn>
                <a:cxn ang="0">
                  <a:pos x="T10" y="T11"/>
                </a:cxn>
              </a:cxnLst>
              <a:rect l="0" t="0" r="r" b="b"/>
              <a:pathLst>
                <a:path w="614" h="283">
                  <a:moveTo>
                    <a:pt x="0" y="283"/>
                  </a:moveTo>
                  <a:lnTo>
                    <a:pt x="543" y="283"/>
                  </a:lnTo>
                  <a:lnTo>
                    <a:pt x="614" y="142"/>
                  </a:lnTo>
                  <a:lnTo>
                    <a:pt x="543"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Full Restore</a:t>
              </a:r>
            </a:p>
          </p:txBody>
        </p:sp>
        <p:sp>
          <p:nvSpPr>
            <p:cNvPr id="97" name="Freeform 92"/>
            <p:cNvSpPr>
              <a:spLocks/>
            </p:cNvSpPr>
            <p:nvPr/>
          </p:nvSpPr>
          <p:spPr bwMode="auto">
            <a:xfrm>
              <a:off x="6853238" y="3210719"/>
              <a:ext cx="588963" cy="449263"/>
            </a:xfrm>
            <a:custGeom>
              <a:avLst/>
              <a:gdLst>
                <a:gd name="T0" fmla="*/ 0 w 371"/>
                <a:gd name="T1" fmla="*/ 283 h 283"/>
                <a:gd name="T2" fmla="*/ 289 w 371"/>
                <a:gd name="T3" fmla="*/ 283 h 283"/>
                <a:gd name="T4" fmla="*/ 371 w 371"/>
                <a:gd name="T5" fmla="*/ 142 h 283"/>
                <a:gd name="T6" fmla="*/ 289 w 371"/>
                <a:gd name="T7" fmla="*/ 0 h 283"/>
                <a:gd name="T8" fmla="*/ 0 w 371"/>
                <a:gd name="T9" fmla="*/ 0 h 283"/>
                <a:gd name="T10" fmla="*/ 0 w 371"/>
                <a:gd name="T11" fmla="*/ 283 h 283"/>
              </a:gdLst>
              <a:ahLst/>
              <a:cxnLst>
                <a:cxn ang="0">
                  <a:pos x="T0" y="T1"/>
                </a:cxn>
                <a:cxn ang="0">
                  <a:pos x="T2" y="T3"/>
                </a:cxn>
                <a:cxn ang="0">
                  <a:pos x="T4" y="T5"/>
                </a:cxn>
                <a:cxn ang="0">
                  <a:pos x="T6" y="T7"/>
                </a:cxn>
                <a:cxn ang="0">
                  <a:pos x="T8" y="T9"/>
                </a:cxn>
                <a:cxn ang="0">
                  <a:pos x="T10" y="T11"/>
                </a:cxn>
              </a:cxnLst>
              <a:rect l="0" t="0" r="r" b="b"/>
              <a:pathLst>
                <a:path w="371" h="283">
                  <a:moveTo>
                    <a:pt x="0" y="283"/>
                  </a:moveTo>
                  <a:lnTo>
                    <a:pt x="289" y="283"/>
                  </a:lnTo>
                  <a:lnTo>
                    <a:pt x="371" y="142"/>
                  </a:lnTo>
                  <a:lnTo>
                    <a:pt x="289" y="0"/>
                  </a:lnTo>
                  <a:lnTo>
                    <a:pt x="0" y="0"/>
                  </a:lnTo>
                  <a:lnTo>
                    <a:pt x="0" y="283"/>
                  </a:lnTo>
                  <a:close/>
                </a:path>
              </a:pathLst>
            </a:custGeom>
            <a:grpFill/>
            <a:ln w="9525">
              <a:solidFill>
                <a:schemeClr val="accent5"/>
              </a:solidFill>
              <a:round/>
              <a:headEnd/>
              <a:tailEnd/>
            </a:ln>
          </p:spPr>
          <p:txBody>
            <a:bodyPr vert="horz" wrap="square" lIns="91440" tIns="45720" rIns="91440" bIns="45720" numCol="1" anchor="ctr" anchorCtr="0" compatLnSpc="1">
              <a:prstTxWarp prst="textNoShape">
                <a:avLst/>
              </a:prstTxWarp>
            </a:bodyPr>
            <a:lstStyle/>
            <a:p>
              <a:r>
                <a:rPr lang="en-US" sz="900" dirty="0"/>
                <a:t>Diff Restore</a:t>
              </a:r>
            </a:p>
          </p:txBody>
        </p:sp>
        <p:sp>
          <p:nvSpPr>
            <p:cNvPr id="101" name="Oval 96"/>
            <p:cNvSpPr>
              <a:spLocks noChangeArrowheads="1"/>
            </p:cNvSpPr>
            <p:nvPr/>
          </p:nvSpPr>
          <p:spPr bwMode="auto">
            <a:xfrm>
              <a:off x="7507288" y="3378200"/>
              <a:ext cx="114300"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Oval 97"/>
            <p:cNvSpPr>
              <a:spLocks noChangeArrowheads="1"/>
            </p:cNvSpPr>
            <p:nvPr/>
          </p:nvSpPr>
          <p:spPr bwMode="auto">
            <a:xfrm>
              <a:off x="7507288" y="3378200"/>
              <a:ext cx="114300"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 name="Oval 98"/>
            <p:cNvSpPr>
              <a:spLocks noChangeArrowheads="1"/>
            </p:cNvSpPr>
            <p:nvPr/>
          </p:nvSpPr>
          <p:spPr bwMode="auto">
            <a:xfrm>
              <a:off x="7678738" y="3378200"/>
              <a:ext cx="115888"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Oval 99"/>
            <p:cNvSpPr>
              <a:spLocks noChangeArrowheads="1"/>
            </p:cNvSpPr>
            <p:nvPr/>
          </p:nvSpPr>
          <p:spPr bwMode="auto">
            <a:xfrm>
              <a:off x="7678738" y="3378200"/>
              <a:ext cx="115888"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 name="Oval 100"/>
            <p:cNvSpPr>
              <a:spLocks noChangeArrowheads="1"/>
            </p:cNvSpPr>
            <p:nvPr/>
          </p:nvSpPr>
          <p:spPr bwMode="auto">
            <a:xfrm>
              <a:off x="7851775" y="3378200"/>
              <a:ext cx="114300" cy="114300"/>
            </a:xfrm>
            <a:prstGeom prst="ellipse">
              <a:avLst/>
            </a:prstGeom>
            <a:grp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Oval 101"/>
            <p:cNvSpPr>
              <a:spLocks noChangeArrowheads="1"/>
            </p:cNvSpPr>
            <p:nvPr/>
          </p:nvSpPr>
          <p:spPr bwMode="auto">
            <a:xfrm>
              <a:off x="7851775" y="3378200"/>
              <a:ext cx="114300" cy="114300"/>
            </a:xfrm>
            <a:prstGeom prst="ellipse">
              <a:avLst/>
            </a:prstGeom>
            <a:grpFill/>
            <a:ln w="635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2" name="Group 181"/>
          <p:cNvGrpSpPr/>
          <p:nvPr/>
        </p:nvGrpSpPr>
        <p:grpSpPr>
          <a:xfrm>
            <a:off x="544513" y="1352550"/>
            <a:ext cx="8594264" cy="287338"/>
            <a:chOff x="544513" y="1352550"/>
            <a:chExt cx="7621588" cy="287338"/>
          </a:xfrm>
          <a:solidFill>
            <a:schemeClr val="accent5"/>
          </a:solidFill>
        </p:grpSpPr>
        <p:sp>
          <p:nvSpPr>
            <p:cNvPr id="18" name="Line 13"/>
            <p:cNvSpPr>
              <a:spLocks noChangeShapeType="1"/>
            </p:cNvSpPr>
            <p:nvPr/>
          </p:nvSpPr>
          <p:spPr bwMode="auto">
            <a:xfrm>
              <a:off x="544513" y="1352550"/>
              <a:ext cx="7621588" cy="0"/>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9" name="Line 14"/>
            <p:cNvSpPr>
              <a:spLocks noChangeShapeType="1"/>
            </p:cNvSpPr>
            <p:nvPr/>
          </p:nvSpPr>
          <p:spPr bwMode="auto">
            <a:xfrm>
              <a:off x="2320925" y="1352550"/>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0" name="Line 15"/>
            <p:cNvSpPr>
              <a:spLocks noChangeShapeType="1"/>
            </p:cNvSpPr>
            <p:nvPr/>
          </p:nvSpPr>
          <p:spPr bwMode="auto">
            <a:xfrm>
              <a:off x="4303713" y="1352550"/>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 name="Line 16"/>
            <p:cNvSpPr>
              <a:spLocks noChangeShapeType="1"/>
            </p:cNvSpPr>
            <p:nvPr/>
          </p:nvSpPr>
          <p:spPr bwMode="auto">
            <a:xfrm>
              <a:off x="6292850" y="1352550"/>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 name="Line 17"/>
            <p:cNvSpPr>
              <a:spLocks noChangeShapeType="1"/>
            </p:cNvSpPr>
            <p:nvPr/>
          </p:nvSpPr>
          <p:spPr bwMode="auto">
            <a:xfrm>
              <a:off x="8166100" y="1352550"/>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7" name="Line 102"/>
            <p:cNvSpPr>
              <a:spLocks noChangeShapeType="1"/>
            </p:cNvSpPr>
            <p:nvPr/>
          </p:nvSpPr>
          <p:spPr bwMode="auto">
            <a:xfrm>
              <a:off x="546100" y="1352550"/>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09" name="Rectangle 104"/>
          <p:cNvSpPr>
            <a:spLocks noChangeArrowheads="1"/>
          </p:cNvSpPr>
          <p:nvPr/>
        </p:nvSpPr>
        <p:spPr bwMode="auto">
          <a:xfrm>
            <a:off x="653708" y="1411288"/>
            <a:ext cx="107402" cy="215444"/>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rPr>
              <a:t>0</a:t>
            </a:r>
            <a:endParaRPr kumimoji="0" lang="en-US" altLang="en-US" sz="18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11" name="Rectangle 106"/>
          <p:cNvSpPr>
            <a:spLocks noChangeArrowheads="1"/>
          </p:cNvSpPr>
          <p:nvPr/>
        </p:nvSpPr>
        <p:spPr bwMode="auto">
          <a:xfrm>
            <a:off x="2692631" y="1404938"/>
            <a:ext cx="86562" cy="215444"/>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rPr>
              <a:t>1</a:t>
            </a:r>
            <a:endParaRPr kumimoji="0" lang="en-US" altLang="en-US" sz="18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13" name="Rectangle 108"/>
          <p:cNvSpPr>
            <a:spLocks noChangeArrowheads="1"/>
          </p:cNvSpPr>
          <p:nvPr/>
        </p:nvSpPr>
        <p:spPr bwMode="auto">
          <a:xfrm>
            <a:off x="4876552" y="1404938"/>
            <a:ext cx="107402" cy="215444"/>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rPr>
              <a:t>2</a:t>
            </a:r>
            <a:endParaRPr kumimoji="0" lang="en-US" altLang="en-US" sz="18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15" name="Rectangle 110"/>
          <p:cNvSpPr>
            <a:spLocks noChangeArrowheads="1"/>
          </p:cNvSpPr>
          <p:nvPr/>
        </p:nvSpPr>
        <p:spPr bwMode="auto">
          <a:xfrm>
            <a:off x="7119545" y="1404938"/>
            <a:ext cx="107402" cy="215444"/>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rPr>
              <a:t>3</a:t>
            </a:r>
            <a:endParaRPr kumimoji="0" lang="en-US" altLang="en-US" sz="18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17" name="Rectangle 112"/>
          <p:cNvSpPr>
            <a:spLocks noChangeArrowheads="1"/>
          </p:cNvSpPr>
          <p:nvPr/>
        </p:nvSpPr>
        <p:spPr bwMode="auto">
          <a:xfrm>
            <a:off x="9230072" y="1404938"/>
            <a:ext cx="112210" cy="215444"/>
          </a:xfrm>
          <a:prstGeom prst="rect">
            <a:avLst/>
          </a:prstGeom>
          <a:noFill/>
          <a:ln w="9525">
            <a:noFill/>
            <a:miter lim="800000"/>
            <a:headEnd/>
            <a:tailEnd/>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rPr>
              <a:t>4</a:t>
            </a:r>
            <a:endParaRPr kumimoji="0" lang="en-US" altLang="en-US" sz="1800" b="0" i="0" u="none" strike="noStrike" cap="none" normalizeH="0" baseline="0" dirty="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83" name="Group 182"/>
          <p:cNvGrpSpPr/>
          <p:nvPr/>
        </p:nvGrpSpPr>
        <p:grpSpPr>
          <a:xfrm>
            <a:off x="546303" y="4081463"/>
            <a:ext cx="8592474" cy="287338"/>
            <a:chOff x="546100" y="4081463"/>
            <a:chExt cx="7620000" cy="287338"/>
          </a:xfrm>
          <a:solidFill>
            <a:schemeClr val="accent5"/>
          </a:solidFill>
        </p:grpSpPr>
        <p:sp>
          <p:nvSpPr>
            <p:cNvPr id="118" name="Line 113"/>
            <p:cNvSpPr>
              <a:spLocks noChangeShapeType="1"/>
            </p:cNvSpPr>
            <p:nvPr/>
          </p:nvSpPr>
          <p:spPr bwMode="auto">
            <a:xfrm>
              <a:off x="546100" y="4368801"/>
              <a:ext cx="7620000" cy="0"/>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9" name="Line 114"/>
            <p:cNvSpPr>
              <a:spLocks noChangeShapeType="1"/>
            </p:cNvSpPr>
            <p:nvPr/>
          </p:nvSpPr>
          <p:spPr bwMode="auto">
            <a:xfrm>
              <a:off x="2322513" y="4081463"/>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0" name="Line 115"/>
            <p:cNvSpPr>
              <a:spLocks noChangeShapeType="1"/>
            </p:cNvSpPr>
            <p:nvPr/>
          </p:nvSpPr>
          <p:spPr bwMode="auto">
            <a:xfrm>
              <a:off x="4303713" y="4081463"/>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1" name="Line 116"/>
            <p:cNvSpPr>
              <a:spLocks noChangeShapeType="1"/>
            </p:cNvSpPr>
            <p:nvPr/>
          </p:nvSpPr>
          <p:spPr bwMode="auto">
            <a:xfrm>
              <a:off x="6292850" y="4081463"/>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2" name="Line 117"/>
            <p:cNvSpPr>
              <a:spLocks noChangeShapeType="1"/>
            </p:cNvSpPr>
            <p:nvPr/>
          </p:nvSpPr>
          <p:spPr bwMode="auto">
            <a:xfrm>
              <a:off x="8166100" y="4081463"/>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3" name="Line 118"/>
            <p:cNvSpPr>
              <a:spLocks noChangeShapeType="1"/>
            </p:cNvSpPr>
            <p:nvPr/>
          </p:nvSpPr>
          <p:spPr bwMode="auto">
            <a:xfrm>
              <a:off x="546100" y="4081463"/>
              <a:ext cx="0" cy="287338"/>
            </a:xfrm>
            <a:prstGeom prst="line">
              <a:avLst/>
            </a:prstGeom>
            <a:grpFill/>
            <a:ln w="22225" cap="flat">
              <a:solidFill>
                <a:schemeClr val="accent5"/>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25" name="Rectangle 120"/>
          <p:cNvSpPr>
            <a:spLocks noChangeArrowheads="1"/>
          </p:cNvSpPr>
          <p:nvPr/>
        </p:nvSpPr>
        <p:spPr bwMode="auto">
          <a:xfrm>
            <a:off x="653708" y="4143375"/>
            <a:ext cx="107402"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rPr>
              <a:t>0</a:t>
            </a:r>
            <a:endParaRPr kumimoji="0" lang="en-US" altLang="en-US" sz="18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27" name="Rectangle 122"/>
          <p:cNvSpPr>
            <a:spLocks noChangeArrowheads="1"/>
          </p:cNvSpPr>
          <p:nvPr/>
        </p:nvSpPr>
        <p:spPr bwMode="auto">
          <a:xfrm>
            <a:off x="2692631" y="4133850"/>
            <a:ext cx="107402"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rPr>
              <a:t>2</a:t>
            </a:r>
            <a:endParaRPr kumimoji="0" lang="en-US" altLang="en-US" sz="18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29" name="Rectangle 124"/>
          <p:cNvSpPr>
            <a:spLocks noChangeArrowheads="1"/>
          </p:cNvSpPr>
          <p:nvPr/>
        </p:nvSpPr>
        <p:spPr bwMode="auto">
          <a:xfrm>
            <a:off x="4878341" y="4133850"/>
            <a:ext cx="112210"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rPr>
              <a:t>4</a:t>
            </a:r>
            <a:endParaRPr kumimoji="0" lang="en-US" altLang="en-US" sz="18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1" name="Rectangle 126"/>
          <p:cNvSpPr>
            <a:spLocks noChangeArrowheads="1"/>
          </p:cNvSpPr>
          <p:nvPr/>
        </p:nvSpPr>
        <p:spPr bwMode="auto">
          <a:xfrm>
            <a:off x="7119545" y="4133850"/>
            <a:ext cx="107402"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rPr>
              <a:t>6</a:t>
            </a:r>
            <a:endParaRPr kumimoji="0" lang="en-US" altLang="en-US" sz="18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3" name="Rectangle 128"/>
          <p:cNvSpPr>
            <a:spLocks noChangeArrowheads="1"/>
          </p:cNvSpPr>
          <p:nvPr/>
        </p:nvSpPr>
        <p:spPr bwMode="auto">
          <a:xfrm>
            <a:off x="9231861" y="4133850"/>
            <a:ext cx="107402" cy="215444"/>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rPr>
              <a:t>8</a:t>
            </a:r>
            <a:endParaRPr kumimoji="0" lang="en-US" altLang="en-US" sz="1800" b="0" i="0" u="none" strike="noStrike" cap="none" normalizeH="0" baseline="0">
              <a:ln>
                <a:noFill/>
              </a:ln>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84" name="Group 183"/>
          <p:cNvGrpSpPr/>
          <p:nvPr/>
        </p:nvGrpSpPr>
        <p:grpSpPr>
          <a:xfrm>
            <a:off x="546303" y="4727575"/>
            <a:ext cx="8592474" cy="287338"/>
            <a:chOff x="546100" y="4727575"/>
            <a:chExt cx="7620000" cy="287338"/>
          </a:xfrm>
        </p:grpSpPr>
        <p:sp>
          <p:nvSpPr>
            <p:cNvPr id="134" name="Line 129"/>
            <p:cNvSpPr>
              <a:spLocks noChangeShapeType="1"/>
            </p:cNvSpPr>
            <p:nvPr/>
          </p:nvSpPr>
          <p:spPr bwMode="auto">
            <a:xfrm>
              <a:off x="546100" y="5014913"/>
              <a:ext cx="7620000" cy="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5" name="Line 130"/>
            <p:cNvSpPr>
              <a:spLocks noChangeShapeType="1"/>
            </p:cNvSpPr>
            <p:nvPr/>
          </p:nvSpPr>
          <p:spPr bwMode="auto">
            <a:xfrm>
              <a:off x="2322513" y="4727575"/>
              <a:ext cx="0" cy="287338"/>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6" name="Line 131"/>
            <p:cNvSpPr>
              <a:spLocks noChangeShapeType="1"/>
            </p:cNvSpPr>
            <p:nvPr/>
          </p:nvSpPr>
          <p:spPr bwMode="auto">
            <a:xfrm>
              <a:off x="4303713" y="4727575"/>
              <a:ext cx="0" cy="287338"/>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7" name="Line 132"/>
            <p:cNvSpPr>
              <a:spLocks noChangeShapeType="1"/>
            </p:cNvSpPr>
            <p:nvPr/>
          </p:nvSpPr>
          <p:spPr bwMode="auto">
            <a:xfrm>
              <a:off x="6292850" y="4727575"/>
              <a:ext cx="0" cy="287338"/>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8" name="Line 133"/>
            <p:cNvSpPr>
              <a:spLocks noChangeShapeType="1"/>
            </p:cNvSpPr>
            <p:nvPr/>
          </p:nvSpPr>
          <p:spPr bwMode="auto">
            <a:xfrm>
              <a:off x="8166100" y="4727575"/>
              <a:ext cx="0" cy="287338"/>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9" name="Line 134"/>
            <p:cNvSpPr>
              <a:spLocks noChangeShapeType="1"/>
            </p:cNvSpPr>
            <p:nvPr/>
          </p:nvSpPr>
          <p:spPr bwMode="auto">
            <a:xfrm>
              <a:off x="546100" y="4727575"/>
              <a:ext cx="0" cy="287338"/>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141" name="Rectangle 136"/>
          <p:cNvSpPr>
            <a:spLocks noChangeArrowheads="1"/>
          </p:cNvSpPr>
          <p:nvPr/>
        </p:nvSpPr>
        <p:spPr bwMode="auto">
          <a:xfrm>
            <a:off x="653708" y="4789488"/>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0</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43" name="Rectangle 138"/>
          <p:cNvSpPr>
            <a:spLocks noChangeArrowheads="1"/>
          </p:cNvSpPr>
          <p:nvPr/>
        </p:nvSpPr>
        <p:spPr bwMode="auto">
          <a:xfrm>
            <a:off x="2692631" y="4778375"/>
            <a:ext cx="1265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4</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45" name="Rectangle 140"/>
          <p:cNvSpPr>
            <a:spLocks noChangeArrowheads="1"/>
          </p:cNvSpPr>
          <p:nvPr/>
        </p:nvSpPr>
        <p:spPr bwMode="auto">
          <a:xfrm>
            <a:off x="4878341" y="4778375"/>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8</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47" name="Rectangle 142"/>
          <p:cNvSpPr>
            <a:spLocks noChangeArrowheads="1"/>
          </p:cNvSpPr>
          <p:nvPr/>
        </p:nvSpPr>
        <p:spPr bwMode="auto">
          <a:xfrm>
            <a:off x="7060472" y="4778375"/>
            <a:ext cx="2187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12</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49" name="Rectangle 144"/>
          <p:cNvSpPr>
            <a:spLocks noChangeArrowheads="1"/>
          </p:cNvSpPr>
          <p:nvPr/>
        </p:nvSpPr>
        <p:spPr bwMode="auto">
          <a:xfrm>
            <a:off x="9170998" y="4778375"/>
            <a:ext cx="2187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16</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85" name="Group 184"/>
          <p:cNvGrpSpPr/>
          <p:nvPr/>
        </p:nvGrpSpPr>
        <p:grpSpPr>
          <a:xfrm>
            <a:off x="546303" y="5375275"/>
            <a:ext cx="8592474" cy="285750"/>
            <a:chOff x="546100" y="5375275"/>
            <a:chExt cx="7620000" cy="285750"/>
          </a:xfrm>
        </p:grpSpPr>
        <p:sp>
          <p:nvSpPr>
            <p:cNvPr id="150" name="Line 145"/>
            <p:cNvSpPr>
              <a:spLocks noChangeShapeType="1"/>
            </p:cNvSpPr>
            <p:nvPr/>
          </p:nvSpPr>
          <p:spPr bwMode="auto">
            <a:xfrm>
              <a:off x="546100" y="5661025"/>
              <a:ext cx="7620000" cy="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1" name="Line 146"/>
            <p:cNvSpPr>
              <a:spLocks noChangeShapeType="1"/>
            </p:cNvSpPr>
            <p:nvPr/>
          </p:nvSpPr>
          <p:spPr bwMode="auto">
            <a:xfrm>
              <a:off x="2322513" y="5375275"/>
              <a:ext cx="0" cy="28575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2" name="Line 147"/>
            <p:cNvSpPr>
              <a:spLocks noChangeShapeType="1"/>
            </p:cNvSpPr>
            <p:nvPr/>
          </p:nvSpPr>
          <p:spPr bwMode="auto">
            <a:xfrm>
              <a:off x="4303713" y="5375275"/>
              <a:ext cx="0" cy="28575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3" name="Line 148"/>
            <p:cNvSpPr>
              <a:spLocks noChangeShapeType="1"/>
            </p:cNvSpPr>
            <p:nvPr/>
          </p:nvSpPr>
          <p:spPr bwMode="auto">
            <a:xfrm>
              <a:off x="6292850" y="5375275"/>
              <a:ext cx="0" cy="28575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4" name="Line 149"/>
            <p:cNvSpPr>
              <a:spLocks noChangeShapeType="1"/>
            </p:cNvSpPr>
            <p:nvPr/>
          </p:nvSpPr>
          <p:spPr bwMode="auto">
            <a:xfrm>
              <a:off x="8166100" y="5375275"/>
              <a:ext cx="0" cy="28575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5" name="Line 150"/>
            <p:cNvSpPr>
              <a:spLocks noChangeShapeType="1"/>
            </p:cNvSpPr>
            <p:nvPr/>
          </p:nvSpPr>
          <p:spPr bwMode="auto">
            <a:xfrm>
              <a:off x="546100" y="5375275"/>
              <a:ext cx="0" cy="285750"/>
            </a:xfrm>
            <a:prstGeom prst="line">
              <a:avLst/>
            </a:prstGeom>
            <a:noFill/>
            <a:ln w="22225" cap="flat">
              <a:solidFill>
                <a:srgbClr val="FF8C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157" name="Rectangle 152"/>
          <p:cNvSpPr>
            <a:spLocks noChangeArrowheads="1"/>
          </p:cNvSpPr>
          <p:nvPr/>
        </p:nvSpPr>
        <p:spPr bwMode="auto">
          <a:xfrm>
            <a:off x="653708" y="5435600"/>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0</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59" name="Rectangle 154"/>
          <p:cNvSpPr>
            <a:spLocks noChangeArrowheads="1"/>
          </p:cNvSpPr>
          <p:nvPr/>
        </p:nvSpPr>
        <p:spPr bwMode="auto">
          <a:xfrm>
            <a:off x="2692631" y="5427663"/>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6</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1" name="Rectangle 156"/>
          <p:cNvSpPr>
            <a:spLocks noChangeArrowheads="1"/>
          </p:cNvSpPr>
          <p:nvPr/>
        </p:nvSpPr>
        <p:spPr bwMode="auto">
          <a:xfrm>
            <a:off x="4817478" y="5427663"/>
            <a:ext cx="2187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12</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3" name="Rectangle 158"/>
          <p:cNvSpPr>
            <a:spLocks noChangeArrowheads="1"/>
          </p:cNvSpPr>
          <p:nvPr/>
        </p:nvSpPr>
        <p:spPr bwMode="auto">
          <a:xfrm>
            <a:off x="7060472" y="5427663"/>
            <a:ext cx="2187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18</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5" name="Rectangle 160"/>
          <p:cNvSpPr>
            <a:spLocks noChangeArrowheads="1"/>
          </p:cNvSpPr>
          <p:nvPr/>
        </p:nvSpPr>
        <p:spPr bwMode="auto">
          <a:xfrm>
            <a:off x="9170998" y="5427663"/>
            <a:ext cx="2476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rPr>
              <a:t>24</a:t>
            </a:r>
            <a:endParaRPr kumimoji="0" lang="en-US" altLang="en-US" sz="1800" b="0" i="0" u="none" strike="noStrike" cap="none" normalizeH="0" baseline="0">
              <a:ln>
                <a:noFill/>
              </a:ln>
              <a:solidFill>
                <a:srgbClr val="FF8C00"/>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86" name="Group 185"/>
          <p:cNvGrpSpPr/>
          <p:nvPr/>
        </p:nvGrpSpPr>
        <p:grpSpPr>
          <a:xfrm>
            <a:off x="546303" y="5989638"/>
            <a:ext cx="8592474" cy="287338"/>
            <a:chOff x="546100" y="5989638"/>
            <a:chExt cx="7620000" cy="287338"/>
          </a:xfrm>
        </p:grpSpPr>
        <p:sp>
          <p:nvSpPr>
            <p:cNvPr id="166" name="Line 161"/>
            <p:cNvSpPr>
              <a:spLocks noChangeShapeType="1"/>
            </p:cNvSpPr>
            <p:nvPr/>
          </p:nvSpPr>
          <p:spPr bwMode="auto">
            <a:xfrm>
              <a:off x="546100" y="6276976"/>
              <a:ext cx="7620000" cy="0"/>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7" name="Line 162"/>
            <p:cNvSpPr>
              <a:spLocks noChangeShapeType="1"/>
            </p:cNvSpPr>
            <p:nvPr/>
          </p:nvSpPr>
          <p:spPr bwMode="auto">
            <a:xfrm>
              <a:off x="2322513" y="5989638"/>
              <a:ext cx="0" cy="287338"/>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8" name="Line 163"/>
            <p:cNvSpPr>
              <a:spLocks noChangeShapeType="1"/>
            </p:cNvSpPr>
            <p:nvPr/>
          </p:nvSpPr>
          <p:spPr bwMode="auto">
            <a:xfrm>
              <a:off x="4303713" y="5989638"/>
              <a:ext cx="0" cy="287338"/>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9" name="Line 164"/>
            <p:cNvSpPr>
              <a:spLocks noChangeShapeType="1"/>
            </p:cNvSpPr>
            <p:nvPr/>
          </p:nvSpPr>
          <p:spPr bwMode="auto">
            <a:xfrm>
              <a:off x="6292850" y="5989638"/>
              <a:ext cx="0" cy="287338"/>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70" name="Line 165"/>
            <p:cNvSpPr>
              <a:spLocks noChangeShapeType="1"/>
            </p:cNvSpPr>
            <p:nvPr/>
          </p:nvSpPr>
          <p:spPr bwMode="auto">
            <a:xfrm>
              <a:off x="8166100" y="5989638"/>
              <a:ext cx="0" cy="287338"/>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71" name="Line 166"/>
            <p:cNvSpPr>
              <a:spLocks noChangeShapeType="1"/>
            </p:cNvSpPr>
            <p:nvPr/>
          </p:nvSpPr>
          <p:spPr bwMode="auto">
            <a:xfrm>
              <a:off x="546100" y="5989638"/>
              <a:ext cx="0" cy="287338"/>
            </a:xfrm>
            <a:prstGeom prst="line">
              <a:avLst/>
            </a:prstGeom>
            <a:noFill/>
            <a:ln w="22225" cap="flat">
              <a:solidFill>
                <a:schemeClr val="accent6">
                  <a:lumMod val="90000"/>
                  <a:lumOff val="1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173" name="Rectangle 168"/>
          <p:cNvSpPr>
            <a:spLocks noChangeArrowheads="1"/>
          </p:cNvSpPr>
          <p:nvPr/>
        </p:nvSpPr>
        <p:spPr bwMode="auto">
          <a:xfrm>
            <a:off x="653708" y="6051550"/>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rPr>
              <a:t>0</a:t>
            </a:r>
            <a:endParaRPr kumimoji="0" lang="en-US" altLang="en-US" sz="18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75" name="Rectangle 170"/>
          <p:cNvSpPr>
            <a:spLocks noChangeArrowheads="1"/>
          </p:cNvSpPr>
          <p:nvPr/>
        </p:nvSpPr>
        <p:spPr bwMode="auto">
          <a:xfrm>
            <a:off x="2692631" y="6040438"/>
            <a:ext cx="121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rPr>
              <a:t>8</a:t>
            </a:r>
            <a:endParaRPr kumimoji="0" lang="en-US" altLang="en-US" sz="1800" b="0" i="0" u="none" strike="noStrike" cap="none" normalizeH="0" baseline="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77" name="Rectangle 172"/>
          <p:cNvSpPr>
            <a:spLocks noChangeArrowheads="1"/>
          </p:cNvSpPr>
          <p:nvPr/>
        </p:nvSpPr>
        <p:spPr bwMode="auto">
          <a:xfrm>
            <a:off x="4817478" y="6040438"/>
            <a:ext cx="2187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rPr>
              <a:t>16</a:t>
            </a:r>
            <a:endParaRPr kumimoji="0" lang="en-US" altLang="en-US" sz="18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79" name="Rectangle 174"/>
          <p:cNvSpPr>
            <a:spLocks noChangeArrowheads="1"/>
          </p:cNvSpPr>
          <p:nvPr/>
        </p:nvSpPr>
        <p:spPr bwMode="auto">
          <a:xfrm>
            <a:off x="7060472" y="6040438"/>
            <a:ext cx="2476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rPr>
              <a:t>24</a:t>
            </a:r>
            <a:endParaRPr kumimoji="0" lang="en-US" altLang="en-US" sz="1800" b="0" i="0" u="none" strike="noStrike" cap="none" normalizeH="0" baseline="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1" name="Rectangle 176"/>
          <p:cNvSpPr>
            <a:spLocks noChangeArrowheads="1"/>
          </p:cNvSpPr>
          <p:nvPr/>
        </p:nvSpPr>
        <p:spPr bwMode="auto">
          <a:xfrm>
            <a:off x="9170998" y="6040438"/>
            <a:ext cx="2422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rPr>
              <a:t>32</a:t>
            </a:r>
            <a:endParaRPr kumimoji="0" lang="en-US" altLang="en-US" sz="1800" b="0" i="0" u="none" strike="noStrike" cap="none" normalizeH="0" baseline="0" dirty="0">
              <a:ln>
                <a:noFill/>
              </a:ln>
              <a:solidFill>
                <a:srgbClr val="E81123"/>
              </a:solidFill>
              <a:effectLst/>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827078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wipe(left)">
                                      <p:cBhvr>
                                        <p:cTn id="7" dur="1000"/>
                                        <p:tgtEl>
                                          <p:spTgt spid="18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wipe(left)">
                                      <p:cBhvr>
                                        <p:cTn id="10" dur="1000"/>
                                        <p:tgtEl>
                                          <p:spTgt spid="11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09"/>
                                        </p:tgtEl>
                                        <p:attrNameLst>
                                          <p:attrName>style.visibility</p:attrName>
                                        </p:attrNameLst>
                                      </p:cBhvr>
                                      <p:to>
                                        <p:strVal val="visible"/>
                                      </p:to>
                                    </p:set>
                                    <p:animEffect transition="in" filter="wipe(left)">
                                      <p:cBhvr>
                                        <p:cTn id="13" dur="1000"/>
                                        <p:tgtEl>
                                          <p:spTgt spid="109"/>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13"/>
                                        </p:tgtEl>
                                        <p:attrNameLst>
                                          <p:attrName>style.visibility</p:attrName>
                                        </p:attrNameLst>
                                      </p:cBhvr>
                                      <p:to>
                                        <p:strVal val="visible"/>
                                      </p:to>
                                    </p:set>
                                    <p:animEffect transition="in" filter="wipe(left)">
                                      <p:cBhvr>
                                        <p:cTn id="16" dur="1000"/>
                                        <p:tgtEl>
                                          <p:spTgt spid="11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wipe(left)">
                                      <p:cBhvr>
                                        <p:cTn id="19" dur="1000"/>
                                        <p:tgtEl>
                                          <p:spTgt spid="115"/>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wipe(left)">
                                      <p:cBhvr>
                                        <p:cTn id="22" dur="1000"/>
                                        <p:tgtEl>
                                          <p:spTgt spid="117"/>
                                        </p:tgtEl>
                                      </p:cBhvr>
                                    </p:animEffect>
                                  </p:childTnLst>
                                </p:cTn>
                              </p:par>
                              <p:par>
                                <p:cTn id="23" presetID="22" presetClass="entr" presetSubtype="8" fill="hold" nodeType="withEffect">
                                  <p:stCondLst>
                                    <p:cond delay="0"/>
                                  </p:stCondLst>
                                  <p:childTnLst>
                                    <p:set>
                                      <p:cBhvr>
                                        <p:cTn id="24" dur="1" fill="hold">
                                          <p:stCondLst>
                                            <p:cond delay="0"/>
                                          </p:stCondLst>
                                        </p:cTn>
                                        <p:tgtEl>
                                          <p:spTgt spid="189"/>
                                        </p:tgtEl>
                                        <p:attrNameLst>
                                          <p:attrName>style.visibility</p:attrName>
                                        </p:attrNameLst>
                                      </p:cBhvr>
                                      <p:to>
                                        <p:strVal val="visible"/>
                                      </p:to>
                                    </p:set>
                                    <p:animEffect transition="in" filter="wipe(left)">
                                      <p:cBhvr>
                                        <p:cTn id="25" dur="1000"/>
                                        <p:tgtEl>
                                          <p:spTgt spid="189"/>
                                        </p:tgtEl>
                                      </p:cBhvr>
                                    </p:animEffect>
                                  </p:childTnLst>
                                </p:cTn>
                              </p:par>
                              <p:par>
                                <p:cTn id="26" presetID="22" presetClass="entr" presetSubtype="8"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wipe(left)">
                                      <p:cBhvr>
                                        <p:cTn id="28" dur="1000"/>
                                        <p:tgtEl>
                                          <p:spTgt spid="188"/>
                                        </p:tgtEl>
                                      </p:cBhvr>
                                    </p:animEffect>
                                  </p:childTnLst>
                                </p:cTn>
                              </p:par>
                              <p:par>
                                <p:cTn id="29" presetID="22" presetClass="entr" presetSubtype="8" fill="hold" nodeType="withEffect">
                                  <p:stCondLst>
                                    <p:cond delay="0"/>
                                  </p:stCondLst>
                                  <p:childTnLst>
                                    <p:set>
                                      <p:cBhvr>
                                        <p:cTn id="30" dur="1" fill="hold">
                                          <p:stCondLst>
                                            <p:cond delay="0"/>
                                          </p:stCondLst>
                                        </p:cTn>
                                        <p:tgtEl>
                                          <p:spTgt spid="187"/>
                                        </p:tgtEl>
                                        <p:attrNameLst>
                                          <p:attrName>style.visibility</p:attrName>
                                        </p:attrNameLst>
                                      </p:cBhvr>
                                      <p:to>
                                        <p:strVal val="visible"/>
                                      </p:to>
                                    </p:set>
                                    <p:animEffect transition="in" filter="wipe(left)">
                                      <p:cBhvr>
                                        <p:cTn id="31" dur="1000"/>
                                        <p:tgtEl>
                                          <p:spTgt spid="187"/>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1000"/>
                                        <p:tgtEl>
                                          <p:spTgt spid="16"/>
                                        </p:tgtEl>
                                      </p:cBhvr>
                                    </p:animEffect>
                                  </p:childTnLst>
                                </p:cTn>
                              </p:par>
                            </p:childTnLst>
                          </p:cTn>
                        </p:par>
                        <p:par>
                          <p:cTn id="35" fill="hold">
                            <p:stCondLst>
                              <p:cond delay="1000"/>
                            </p:stCondLst>
                            <p:childTnLst>
                              <p:par>
                                <p:cTn id="36" presetID="22" presetClass="entr" presetSubtype="8" fill="hold" nodeType="afterEffect">
                                  <p:stCondLst>
                                    <p:cond delay="0"/>
                                  </p:stCondLst>
                                  <p:childTnLst>
                                    <p:set>
                                      <p:cBhvr>
                                        <p:cTn id="37" dur="1" fill="hold">
                                          <p:stCondLst>
                                            <p:cond delay="0"/>
                                          </p:stCondLst>
                                        </p:cTn>
                                        <p:tgtEl>
                                          <p:spTgt spid="183"/>
                                        </p:tgtEl>
                                        <p:attrNameLst>
                                          <p:attrName>style.visibility</p:attrName>
                                        </p:attrNameLst>
                                      </p:cBhvr>
                                      <p:to>
                                        <p:strVal val="visible"/>
                                      </p:to>
                                    </p:set>
                                    <p:animEffect transition="in" filter="wipe(left)">
                                      <p:cBhvr>
                                        <p:cTn id="38" dur="1000"/>
                                        <p:tgtEl>
                                          <p:spTgt spid="18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125"/>
                                        </p:tgtEl>
                                        <p:attrNameLst>
                                          <p:attrName>style.visibility</p:attrName>
                                        </p:attrNameLst>
                                      </p:cBhvr>
                                      <p:to>
                                        <p:strVal val="visible"/>
                                      </p:to>
                                    </p:set>
                                    <p:animEffect transition="in" filter="wipe(left)">
                                      <p:cBhvr>
                                        <p:cTn id="41" dur="1000"/>
                                        <p:tgtEl>
                                          <p:spTgt spid="125"/>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27"/>
                                        </p:tgtEl>
                                        <p:attrNameLst>
                                          <p:attrName>style.visibility</p:attrName>
                                        </p:attrNameLst>
                                      </p:cBhvr>
                                      <p:to>
                                        <p:strVal val="visible"/>
                                      </p:to>
                                    </p:set>
                                    <p:animEffect transition="in" filter="wipe(left)">
                                      <p:cBhvr>
                                        <p:cTn id="44" dur="1000"/>
                                        <p:tgtEl>
                                          <p:spTgt spid="127"/>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29"/>
                                        </p:tgtEl>
                                        <p:attrNameLst>
                                          <p:attrName>style.visibility</p:attrName>
                                        </p:attrNameLst>
                                      </p:cBhvr>
                                      <p:to>
                                        <p:strVal val="visible"/>
                                      </p:to>
                                    </p:set>
                                    <p:animEffect transition="in" filter="wipe(left)">
                                      <p:cBhvr>
                                        <p:cTn id="47" dur="1000"/>
                                        <p:tgtEl>
                                          <p:spTgt spid="129"/>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31"/>
                                        </p:tgtEl>
                                        <p:attrNameLst>
                                          <p:attrName>style.visibility</p:attrName>
                                        </p:attrNameLst>
                                      </p:cBhvr>
                                      <p:to>
                                        <p:strVal val="visible"/>
                                      </p:to>
                                    </p:set>
                                    <p:animEffect transition="in" filter="wipe(left)">
                                      <p:cBhvr>
                                        <p:cTn id="50" dur="1000"/>
                                        <p:tgtEl>
                                          <p:spTgt spid="131"/>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33"/>
                                        </p:tgtEl>
                                        <p:attrNameLst>
                                          <p:attrName>style.visibility</p:attrName>
                                        </p:attrNameLst>
                                      </p:cBhvr>
                                      <p:to>
                                        <p:strVal val="visible"/>
                                      </p:to>
                                    </p:set>
                                    <p:animEffect transition="in" filter="wipe(left)">
                                      <p:cBhvr>
                                        <p:cTn id="53" dur="1000"/>
                                        <p:tgtEl>
                                          <p:spTgt spid="13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wipe(left)">
                                      <p:cBhvr>
                                        <p:cTn id="56" dur="1000"/>
                                        <p:tgtEl>
                                          <p:spTgt spid="17"/>
                                        </p:tgtEl>
                                      </p:cBhvr>
                                    </p:animEffect>
                                  </p:childTnLst>
                                </p:cTn>
                              </p:par>
                            </p:childTnLst>
                          </p:cTn>
                        </p:par>
                        <p:par>
                          <p:cTn id="57" fill="hold">
                            <p:stCondLst>
                              <p:cond delay="2000"/>
                            </p:stCondLst>
                            <p:childTnLst>
                              <p:par>
                                <p:cTn id="58" presetID="22" presetClass="entr" presetSubtype="8" fill="hold" grpId="0" nodeType="afterEffect">
                                  <p:stCondLst>
                                    <p:cond delay="0"/>
                                  </p:stCondLst>
                                  <p:childTnLst>
                                    <p:set>
                                      <p:cBhvr>
                                        <p:cTn id="59" dur="1" fill="hold">
                                          <p:stCondLst>
                                            <p:cond delay="0"/>
                                          </p:stCondLst>
                                        </p:cTn>
                                        <p:tgtEl>
                                          <p:spTgt spid="141"/>
                                        </p:tgtEl>
                                        <p:attrNameLst>
                                          <p:attrName>style.visibility</p:attrName>
                                        </p:attrNameLst>
                                      </p:cBhvr>
                                      <p:to>
                                        <p:strVal val="visible"/>
                                      </p:to>
                                    </p:set>
                                    <p:animEffect transition="in" filter="wipe(left)">
                                      <p:cBhvr>
                                        <p:cTn id="60" dur="1000"/>
                                        <p:tgtEl>
                                          <p:spTgt spid="141"/>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143"/>
                                        </p:tgtEl>
                                        <p:attrNameLst>
                                          <p:attrName>style.visibility</p:attrName>
                                        </p:attrNameLst>
                                      </p:cBhvr>
                                      <p:to>
                                        <p:strVal val="visible"/>
                                      </p:to>
                                    </p:set>
                                    <p:animEffect transition="in" filter="wipe(left)">
                                      <p:cBhvr>
                                        <p:cTn id="63" dur="1000"/>
                                        <p:tgtEl>
                                          <p:spTgt spid="143"/>
                                        </p:tgtEl>
                                      </p:cBhvr>
                                    </p:animEffect>
                                  </p:childTnLst>
                                </p:cTn>
                              </p:par>
                              <p:par>
                                <p:cTn id="64" presetID="22" presetClass="entr" presetSubtype="8" fill="hold" grpId="0" nodeType="withEffect">
                                  <p:stCondLst>
                                    <p:cond delay="0"/>
                                  </p:stCondLst>
                                  <p:childTnLst>
                                    <p:set>
                                      <p:cBhvr>
                                        <p:cTn id="65" dur="1" fill="hold">
                                          <p:stCondLst>
                                            <p:cond delay="0"/>
                                          </p:stCondLst>
                                        </p:cTn>
                                        <p:tgtEl>
                                          <p:spTgt spid="145"/>
                                        </p:tgtEl>
                                        <p:attrNameLst>
                                          <p:attrName>style.visibility</p:attrName>
                                        </p:attrNameLst>
                                      </p:cBhvr>
                                      <p:to>
                                        <p:strVal val="visible"/>
                                      </p:to>
                                    </p:set>
                                    <p:animEffect transition="in" filter="wipe(left)">
                                      <p:cBhvr>
                                        <p:cTn id="66" dur="1000"/>
                                        <p:tgtEl>
                                          <p:spTgt spid="145"/>
                                        </p:tgtEl>
                                      </p:cBhvr>
                                    </p:animEffect>
                                  </p:childTnLst>
                                </p:cTn>
                              </p:par>
                              <p:par>
                                <p:cTn id="67" presetID="22" presetClass="entr" presetSubtype="8" fill="hold" grpId="0" nodeType="withEffect">
                                  <p:stCondLst>
                                    <p:cond delay="0"/>
                                  </p:stCondLst>
                                  <p:childTnLst>
                                    <p:set>
                                      <p:cBhvr>
                                        <p:cTn id="68" dur="1" fill="hold">
                                          <p:stCondLst>
                                            <p:cond delay="0"/>
                                          </p:stCondLst>
                                        </p:cTn>
                                        <p:tgtEl>
                                          <p:spTgt spid="147"/>
                                        </p:tgtEl>
                                        <p:attrNameLst>
                                          <p:attrName>style.visibility</p:attrName>
                                        </p:attrNameLst>
                                      </p:cBhvr>
                                      <p:to>
                                        <p:strVal val="visible"/>
                                      </p:to>
                                    </p:set>
                                    <p:animEffect transition="in" filter="wipe(left)">
                                      <p:cBhvr>
                                        <p:cTn id="69" dur="1000"/>
                                        <p:tgtEl>
                                          <p:spTgt spid="147"/>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49"/>
                                        </p:tgtEl>
                                        <p:attrNameLst>
                                          <p:attrName>style.visibility</p:attrName>
                                        </p:attrNameLst>
                                      </p:cBhvr>
                                      <p:to>
                                        <p:strVal val="visible"/>
                                      </p:to>
                                    </p:set>
                                    <p:animEffect transition="in" filter="wipe(left)">
                                      <p:cBhvr>
                                        <p:cTn id="72" dur="1000"/>
                                        <p:tgtEl>
                                          <p:spTgt spid="149"/>
                                        </p:tgtEl>
                                      </p:cBhvr>
                                    </p:animEffect>
                                  </p:childTnLst>
                                </p:cTn>
                              </p:par>
                              <p:par>
                                <p:cTn id="73" presetID="22" presetClass="entr" presetSubtype="8" fill="hold" nodeType="withEffect">
                                  <p:stCondLst>
                                    <p:cond delay="0"/>
                                  </p:stCondLst>
                                  <p:childTnLst>
                                    <p:set>
                                      <p:cBhvr>
                                        <p:cTn id="74" dur="1" fill="hold">
                                          <p:stCondLst>
                                            <p:cond delay="0"/>
                                          </p:stCondLst>
                                        </p:cTn>
                                        <p:tgtEl>
                                          <p:spTgt spid="184"/>
                                        </p:tgtEl>
                                        <p:attrNameLst>
                                          <p:attrName>style.visibility</p:attrName>
                                        </p:attrNameLst>
                                      </p:cBhvr>
                                      <p:to>
                                        <p:strVal val="visible"/>
                                      </p:to>
                                    </p:set>
                                    <p:animEffect transition="in" filter="wipe(left)">
                                      <p:cBhvr>
                                        <p:cTn id="75" dur="1000"/>
                                        <p:tgtEl>
                                          <p:spTgt spid="184"/>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14"/>
                                        </p:tgtEl>
                                        <p:attrNameLst>
                                          <p:attrName>style.visibility</p:attrName>
                                        </p:attrNameLst>
                                      </p:cBhvr>
                                      <p:to>
                                        <p:strVal val="visible"/>
                                      </p:to>
                                    </p:set>
                                    <p:animEffect transition="in" filter="wipe(left)">
                                      <p:cBhvr>
                                        <p:cTn id="78" dur="1000"/>
                                        <p:tgtEl>
                                          <p:spTgt spid="14"/>
                                        </p:tgtEl>
                                      </p:cBhvr>
                                    </p:animEffect>
                                  </p:childTnLst>
                                </p:cTn>
                              </p:par>
                            </p:childTnLst>
                          </p:cTn>
                        </p:par>
                        <p:par>
                          <p:cTn id="79" fill="hold">
                            <p:stCondLst>
                              <p:cond delay="3000"/>
                            </p:stCondLst>
                            <p:childTnLst>
                              <p:par>
                                <p:cTn id="80" presetID="22" presetClass="entr" presetSubtype="8" fill="hold" nodeType="afterEffect">
                                  <p:stCondLst>
                                    <p:cond delay="0"/>
                                  </p:stCondLst>
                                  <p:childTnLst>
                                    <p:set>
                                      <p:cBhvr>
                                        <p:cTn id="81" dur="1" fill="hold">
                                          <p:stCondLst>
                                            <p:cond delay="0"/>
                                          </p:stCondLst>
                                        </p:cTn>
                                        <p:tgtEl>
                                          <p:spTgt spid="185"/>
                                        </p:tgtEl>
                                        <p:attrNameLst>
                                          <p:attrName>style.visibility</p:attrName>
                                        </p:attrNameLst>
                                      </p:cBhvr>
                                      <p:to>
                                        <p:strVal val="visible"/>
                                      </p:to>
                                    </p:set>
                                    <p:animEffect transition="in" filter="wipe(left)">
                                      <p:cBhvr>
                                        <p:cTn id="82" dur="1000"/>
                                        <p:tgtEl>
                                          <p:spTgt spid="185"/>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157"/>
                                        </p:tgtEl>
                                        <p:attrNameLst>
                                          <p:attrName>style.visibility</p:attrName>
                                        </p:attrNameLst>
                                      </p:cBhvr>
                                      <p:to>
                                        <p:strVal val="visible"/>
                                      </p:to>
                                    </p:set>
                                    <p:animEffect transition="in" filter="wipe(left)">
                                      <p:cBhvr>
                                        <p:cTn id="85" dur="1000"/>
                                        <p:tgtEl>
                                          <p:spTgt spid="157"/>
                                        </p:tgtEl>
                                      </p:cBhvr>
                                    </p:animEffect>
                                  </p:childTnLst>
                                </p:cTn>
                              </p:par>
                              <p:par>
                                <p:cTn id="86" presetID="22" presetClass="entr" presetSubtype="8" fill="hold" grpId="0" nodeType="withEffect">
                                  <p:stCondLst>
                                    <p:cond delay="0"/>
                                  </p:stCondLst>
                                  <p:childTnLst>
                                    <p:set>
                                      <p:cBhvr>
                                        <p:cTn id="87" dur="1" fill="hold">
                                          <p:stCondLst>
                                            <p:cond delay="0"/>
                                          </p:stCondLst>
                                        </p:cTn>
                                        <p:tgtEl>
                                          <p:spTgt spid="159"/>
                                        </p:tgtEl>
                                        <p:attrNameLst>
                                          <p:attrName>style.visibility</p:attrName>
                                        </p:attrNameLst>
                                      </p:cBhvr>
                                      <p:to>
                                        <p:strVal val="visible"/>
                                      </p:to>
                                    </p:set>
                                    <p:animEffect transition="in" filter="wipe(left)">
                                      <p:cBhvr>
                                        <p:cTn id="88" dur="1000"/>
                                        <p:tgtEl>
                                          <p:spTgt spid="159"/>
                                        </p:tgtEl>
                                      </p:cBhvr>
                                    </p:animEffect>
                                  </p:childTnLst>
                                </p:cTn>
                              </p:par>
                              <p:par>
                                <p:cTn id="89" presetID="22" presetClass="entr" presetSubtype="8" fill="hold" grpId="0" nodeType="withEffect">
                                  <p:stCondLst>
                                    <p:cond delay="0"/>
                                  </p:stCondLst>
                                  <p:childTnLst>
                                    <p:set>
                                      <p:cBhvr>
                                        <p:cTn id="90" dur="1" fill="hold">
                                          <p:stCondLst>
                                            <p:cond delay="0"/>
                                          </p:stCondLst>
                                        </p:cTn>
                                        <p:tgtEl>
                                          <p:spTgt spid="161"/>
                                        </p:tgtEl>
                                        <p:attrNameLst>
                                          <p:attrName>style.visibility</p:attrName>
                                        </p:attrNameLst>
                                      </p:cBhvr>
                                      <p:to>
                                        <p:strVal val="visible"/>
                                      </p:to>
                                    </p:set>
                                    <p:animEffect transition="in" filter="wipe(left)">
                                      <p:cBhvr>
                                        <p:cTn id="91" dur="1000"/>
                                        <p:tgtEl>
                                          <p:spTgt spid="161"/>
                                        </p:tgtEl>
                                      </p:cBhvr>
                                    </p:animEffect>
                                  </p:childTnLst>
                                </p:cTn>
                              </p:par>
                              <p:par>
                                <p:cTn id="92" presetID="22" presetClass="entr" presetSubtype="8" fill="hold" grpId="0" nodeType="withEffect">
                                  <p:stCondLst>
                                    <p:cond delay="0"/>
                                  </p:stCondLst>
                                  <p:childTnLst>
                                    <p:set>
                                      <p:cBhvr>
                                        <p:cTn id="93" dur="1" fill="hold">
                                          <p:stCondLst>
                                            <p:cond delay="0"/>
                                          </p:stCondLst>
                                        </p:cTn>
                                        <p:tgtEl>
                                          <p:spTgt spid="163"/>
                                        </p:tgtEl>
                                        <p:attrNameLst>
                                          <p:attrName>style.visibility</p:attrName>
                                        </p:attrNameLst>
                                      </p:cBhvr>
                                      <p:to>
                                        <p:strVal val="visible"/>
                                      </p:to>
                                    </p:set>
                                    <p:animEffect transition="in" filter="wipe(left)">
                                      <p:cBhvr>
                                        <p:cTn id="94" dur="1000"/>
                                        <p:tgtEl>
                                          <p:spTgt spid="163"/>
                                        </p:tgtEl>
                                      </p:cBhvr>
                                    </p:animEffect>
                                  </p:childTnLst>
                                </p:cTn>
                              </p:par>
                              <p:par>
                                <p:cTn id="95" presetID="22" presetClass="entr" presetSubtype="8" fill="hold" grpId="0" nodeType="withEffect">
                                  <p:stCondLst>
                                    <p:cond delay="0"/>
                                  </p:stCondLst>
                                  <p:childTnLst>
                                    <p:set>
                                      <p:cBhvr>
                                        <p:cTn id="96" dur="1" fill="hold">
                                          <p:stCondLst>
                                            <p:cond delay="0"/>
                                          </p:stCondLst>
                                        </p:cTn>
                                        <p:tgtEl>
                                          <p:spTgt spid="165"/>
                                        </p:tgtEl>
                                        <p:attrNameLst>
                                          <p:attrName>style.visibility</p:attrName>
                                        </p:attrNameLst>
                                      </p:cBhvr>
                                      <p:to>
                                        <p:strVal val="visible"/>
                                      </p:to>
                                    </p:set>
                                    <p:animEffect transition="in" filter="wipe(left)">
                                      <p:cBhvr>
                                        <p:cTn id="97" dur="1000"/>
                                        <p:tgtEl>
                                          <p:spTgt spid="165"/>
                                        </p:tgtEl>
                                      </p:cBhvr>
                                    </p:animEffect>
                                  </p:childTnLst>
                                </p:cTn>
                              </p:par>
                            </p:childTnLst>
                          </p:cTn>
                        </p:par>
                        <p:par>
                          <p:cTn id="98" fill="hold">
                            <p:stCondLst>
                              <p:cond delay="4000"/>
                            </p:stCondLst>
                            <p:childTnLst>
                              <p:par>
                                <p:cTn id="99" presetID="22" presetClass="entr" presetSubtype="8" fill="hold" nodeType="afterEffect">
                                  <p:stCondLst>
                                    <p:cond delay="0"/>
                                  </p:stCondLst>
                                  <p:childTnLst>
                                    <p:set>
                                      <p:cBhvr>
                                        <p:cTn id="100" dur="1" fill="hold">
                                          <p:stCondLst>
                                            <p:cond delay="0"/>
                                          </p:stCondLst>
                                        </p:cTn>
                                        <p:tgtEl>
                                          <p:spTgt spid="186"/>
                                        </p:tgtEl>
                                        <p:attrNameLst>
                                          <p:attrName>style.visibility</p:attrName>
                                        </p:attrNameLst>
                                      </p:cBhvr>
                                      <p:to>
                                        <p:strVal val="visible"/>
                                      </p:to>
                                    </p:set>
                                    <p:animEffect transition="in" filter="wipe(left)">
                                      <p:cBhvr>
                                        <p:cTn id="101" dur="1000"/>
                                        <p:tgtEl>
                                          <p:spTgt spid="186"/>
                                        </p:tgtEl>
                                      </p:cBhvr>
                                    </p:animEffect>
                                  </p:childTnLst>
                                </p:cTn>
                              </p:par>
                              <p:par>
                                <p:cTn id="102" presetID="22" presetClass="entr" presetSubtype="8" fill="hold" grpId="0" nodeType="withEffect">
                                  <p:stCondLst>
                                    <p:cond delay="0"/>
                                  </p:stCondLst>
                                  <p:childTnLst>
                                    <p:set>
                                      <p:cBhvr>
                                        <p:cTn id="103" dur="1" fill="hold">
                                          <p:stCondLst>
                                            <p:cond delay="0"/>
                                          </p:stCondLst>
                                        </p:cTn>
                                        <p:tgtEl>
                                          <p:spTgt spid="173"/>
                                        </p:tgtEl>
                                        <p:attrNameLst>
                                          <p:attrName>style.visibility</p:attrName>
                                        </p:attrNameLst>
                                      </p:cBhvr>
                                      <p:to>
                                        <p:strVal val="visible"/>
                                      </p:to>
                                    </p:set>
                                    <p:animEffect transition="in" filter="wipe(left)">
                                      <p:cBhvr>
                                        <p:cTn id="104" dur="1000"/>
                                        <p:tgtEl>
                                          <p:spTgt spid="173"/>
                                        </p:tgtEl>
                                      </p:cBhvr>
                                    </p:animEffect>
                                  </p:childTnLst>
                                </p:cTn>
                              </p:par>
                              <p:par>
                                <p:cTn id="105" presetID="22" presetClass="entr" presetSubtype="8" fill="hold" grpId="0" nodeType="withEffect">
                                  <p:stCondLst>
                                    <p:cond delay="0"/>
                                  </p:stCondLst>
                                  <p:childTnLst>
                                    <p:set>
                                      <p:cBhvr>
                                        <p:cTn id="106" dur="1" fill="hold">
                                          <p:stCondLst>
                                            <p:cond delay="0"/>
                                          </p:stCondLst>
                                        </p:cTn>
                                        <p:tgtEl>
                                          <p:spTgt spid="175"/>
                                        </p:tgtEl>
                                        <p:attrNameLst>
                                          <p:attrName>style.visibility</p:attrName>
                                        </p:attrNameLst>
                                      </p:cBhvr>
                                      <p:to>
                                        <p:strVal val="visible"/>
                                      </p:to>
                                    </p:set>
                                    <p:animEffect transition="in" filter="wipe(left)">
                                      <p:cBhvr>
                                        <p:cTn id="107" dur="1000"/>
                                        <p:tgtEl>
                                          <p:spTgt spid="175"/>
                                        </p:tgtEl>
                                      </p:cBhvr>
                                    </p:animEffect>
                                  </p:childTnLst>
                                </p:cTn>
                              </p:par>
                              <p:par>
                                <p:cTn id="108" presetID="22" presetClass="entr" presetSubtype="8" fill="hold" grpId="0" nodeType="withEffect">
                                  <p:stCondLst>
                                    <p:cond delay="0"/>
                                  </p:stCondLst>
                                  <p:childTnLst>
                                    <p:set>
                                      <p:cBhvr>
                                        <p:cTn id="109" dur="1" fill="hold">
                                          <p:stCondLst>
                                            <p:cond delay="0"/>
                                          </p:stCondLst>
                                        </p:cTn>
                                        <p:tgtEl>
                                          <p:spTgt spid="177"/>
                                        </p:tgtEl>
                                        <p:attrNameLst>
                                          <p:attrName>style.visibility</p:attrName>
                                        </p:attrNameLst>
                                      </p:cBhvr>
                                      <p:to>
                                        <p:strVal val="visible"/>
                                      </p:to>
                                    </p:set>
                                    <p:animEffect transition="in" filter="wipe(left)">
                                      <p:cBhvr>
                                        <p:cTn id="110" dur="1000"/>
                                        <p:tgtEl>
                                          <p:spTgt spid="177"/>
                                        </p:tgtEl>
                                      </p:cBhvr>
                                    </p:animEffect>
                                  </p:childTnLst>
                                </p:cTn>
                              </p:par>
                              <p:par>
                                <p:cTn id="111" presetID="22" presetClass="entr" presetSubtype="8" fill="hold" grpId="0" nodeType="withEffect">
                                  <p:stCondLst>
                                    <p:cond delay="0"/>
                                  </p:stCondLst>
                                  <p:childTnLst>
                                    <p:set>
                                      <p:cBhvr>
                                        <p:cTn id="112" dur="1" fill="hold">
                                          <p:stCondLst>
                                            <p:cond delay="0"/>
                                          </p:stCondLst>
                                        </p:cTn>
                                        <p:tgtEl>
                                          <p:spTgt spid="179"/>
                                        </p:tgtEl>
                                        <p:attrNameLst>
                                          <p:attrName>style.visibility</p:attrName>
                                        </p:attrNameLst>
                                      </p:cBhvr>
                                      <p:to>
                                        <p:strVal val="visible"/>
                                      </p:to>
                                    </p:set>
                                    <p:animEffect transition="in" filter="wipe(left)">
                                      <p:cBhvr>
                                        <p:cTn id="113" dur="1000"/>
                                        <p:tgtEl>
                                          <p:spTgt spid="179"/>
                                        </p:tgtEl>
                                      </p:cBhvr>
                                    </p:animEffect>
                                  </p:childTnLst>
                                </p:cTn>
                              </p:par>
                              <p:par>
                                <p:cTn id="114" presetID="22" presetClass="entr" presetSubtype="8" fill="hold" grpId="0" nodeType="withEffect">
                                  <p:stCondLst>
                                    <p:cond delay="0"/>
                                  </p:stCondLst>
                                  <p:childTnLst>
                                    <p:set>
                                      <p:cBhvr>
                                        <p:cTn id="115" dur="1" fill="hold">
                                          <p:stCondLst>
                                            <p:cond delay="0"/>
                                          </p:stCondLst>
                                        </p:cTn>
                                        <p:tgtEl>
                                          <p:spTgt spid="181"/>
                                        </p:tgtEl>
                                        <p:attrNameLst>
                                          <p:attrName>style.visibility</p:attrName>
                                        </p:attrNameLst>
                                      </p:cBhvr>
                                      <p:to>
                                        <p:strVal val="visible"/>
                                      </p:to>
                                    </p:set>
                                    <p:animEffect transition="in" filter="wipe(left)">
                                      <p:cBhvr>
                                        <p:cTn id="116" dur="1000"/>
                                        <p:tgtEl>
                                          <p:spTgt spid="181"/>
                                        </p:tgtEl>
                                      </p:cBhvr>
                                    </p:animEffect>
                                  </p:childTnLst>
                                </p:cTn>
                              </p:par>
                              <p:par>
                                <p:cTn id="117" presetID="22" presetClass="entr" presetSubtype="8" fill="hold" grpId="0" nodeType="withEffect">
                                  <p:stCondLst>
                                    <p:cond delay="0"/>
                                  </p:stCondLst>
                                  <p:childTnLst>
                                    <p:set>
                                      <p:cBhvr>
                                        <p:cTn id="118" dur="1" fill="hold">
                                          <p:stCondLst>
                                            <p:cond delay="0"/>
                                          </p:stCondLst>
                                        </p:cTn>
                                        <p:tgtEl>
                                          <p:spTgt spid="15"/>
                                        </p:tgtEl>
                                        <p:attrNameLst>
                                          <p:attrName>style.visibility</p:attrName>
                                        </p:attrNameLst>
                                      </p:cBhvr>
                                      <p:to>
                                        <p:strVal val="visible"/>
                                      </p:to>
                                    </p:set>
                                    <p:animEffect transition="in" filter="wipe(left)">
                                      <p:cBhvr>
                                        <p:cTn id="11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09" grpId="0"/>
      <p:bldP spid="111" grpId="0"/>
      <p:bldP spid="113" grpId="0"/>
      <p:bldP spid="115" grpId="0"/>
      <p:bldP spid="117" grpId="0"/>
      <p:bldP spid="125" grpId="0"/>
      <p:bldP spid="127" grpId="0"/>
      <p:bldP spid="129" grpId="0"/>
      <p:bldP spid="131" grpId="0"/>
      <p:bldP spid="133" grpId="0"/>
      <p:bldP spid="141" grpId="0"/>
      <p:bldP spid="143" grpId="0"/>
      <p:bldP spid="145" grpId="0"/>
      <p:bldP spid="147" grpId="0"/>
      <p:bldP spid="149" grpId="0"/>
      <p:bldP spid="157" grpId="0"/>
      <p:bldP spid="159" grpId="0"/>
      <p:bldP spid="161" grpId="0"/>
      <p:bldP spid="163" grpId="0"/>
      <p:bldP spid="165" grpId="0"/>
      <p:bldP spid="173" grpId="0"/>
      <p:bldP spid="175" grpId="0"/>
      <p:bldP spid="177" grpId="0"/>
      <p:bldP spid="179" grpId="0"/>
      <p:bldP spid="18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olybase</a:t>
            </a:r>
            <a:r>
              <a:rPr lang="en-US" dirty="0"/>
              <a:t>/CETAS</a:t>
            </a:r>
          </a:p>
        </p:txBody>
      </p:sp>
      <p:sp>
        <p:nvSpPr>
          <p:cNvPr id="3" name="Text Placeholder 2"/>
          <p:cNvSpPr>
            <a:spLocks noGrp="1"/>
          </p:cNvSpPr>
          <p:nvPr>
            <p:ph type="body" sz="quarter" idx="11"/>
          </p:nvPr>
        </p:nvSpPr>
        <p:spPr>
          <a:xfrm>
            <a:off x="274639" y="1212849"/>
            <a:ext cx="11889564" cy="4431983"/>
          </a:xfrm>
        </p:spPr>
        <p:txBody>
          <a:bodyPr/>
          <a:lstStyle/>
          <a:p>
            <a:r>
              <a:rPr lang="en-US" dirty="0"/>
              <a:t>Copy deltas from APS to SQLDW</a:t>
            </a:r>
          </a:p>
          <a:p>
            <a:pPr marL="571500" indent="-571500">
              <a:buFont typeface="Arial" panose="020B0604020202020204" pitchFamily="34" charset="0"/>
              <a:buChar char="•"/>
            </a:pPr>
            <a:r>
              <a:rPr lang="en-US" dirty="0"/>
              <a:t>APS to WASB\Hadoop then WASB/Hadoop to SQLDW.  </a:t>
            </a:r>
          </a:p>
          <a:p>
            <a:pPr marL="571500" indent="-571500">
              <a:buFont typeface="Arial" panose="020B0604020202020204" pitchFamily="34" charset="0"/>
              <a:buChar char="•"/>
            </a:pPr>
            <a:r>
              <a:rPr lang="en-US" dirty="0"/>
              <a:t>Must keep track of Deltas on APS.  What happens when a someone makes changes to data but forgets to update the delta tracker?</a:t>
            </a:r>
          </a:p>
          <a:p>
            <a:pPr marL="571500" indent="-571500">
              <a:buFont typeface="Arial" panose="020B0604020202020204" pitchFamily="34" charset="0"/>
              <a:buChar char="•"/>
            </a:pPr>
            <a:r>
              <a:rPr lang="en-US" dirty="0"/>
              <a:t>Schema/Security changes need to be made twice.</a:t>
            </a:r>
          </a:p>
        </p:txBody>
      </p:sp>
    </p:spTree>
    <p:extLst>
      <p:ext uri="{BB962C8B-B14F-4D97-AF65-F5344CB8AC3E}">
        <p14:creationId xmlns:p14="http://schemas.microsoft.com/office/powerpoint/2010/main" val="257631697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580437" y="1363662"/>
            <a:ext cx="3657600" cy="51816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nchor="ctr"/>
          <a:lstStyle/>
          <a:p>
            <a:r>
              <a:rPr lang="en-US">
                <a:solidFill>
                  <a:schemeClr val="tx1"/>
                </a:solidFill>
              </a:rPr>
              <a:t>Disaster recovery scenario</a:t>
            </a:r>
            <a:endParaRPr lang="en-US" dirty="0"/>
          </a:p>
        </p:txBody>
      </p:sp>
      <p:sp>
        <p:nvSpPr>
          <p:cNvPr id="3" name="Text Placeholder 2"/>
          <p:cNvSpPr>
            <a:spLocks noGrp="1"/>
          </p:cNvSpPr>
          <p:nvPr>
            <p:ph type="body" sz="quarter" idx="4294967295"/>
          </p:nvPr>
        </p:nvSpPr>
        <p:spPr>
          <a:xfrm>
            <a:off x="0" y="2128838"/>
            <a:ext cx="11884025" cy="3163887"/>
          </a:xfrm>
        </p:spPr>
        <p:txBody>
          <a:bodyPr/>
          <a:lstStyle/>
          <a:p>
            <a:pPr marL="647321" lvl="1" indent="-342900">
              <a:spcBef>
                <a:spcPts val="1836"/>
              </a:spcBef>
              <a:buFont typeface="Arial" panose="020B0604020202020204" pitchFamily="34" charset="0"/>
              <a:buChar char="•"/>
            </a:pPr>
            <a:r>
              <a:rPr lang="en-US" dirty="0"/>
              <a:t>APS is utilized as the primary data warehouse</a:t>
            </a:r>
          </a:p>
          <a:p>
            <a:pPr marL="647321" lvl="1" indent="-342900">
              <a:spcBef>
                <a:spcPts val="1836"/>
              </a:spcBef>
              <a:buFont typeface="Arial" panose="020B0604020202020204" pitchFamily="34" charset="0"/>
              <a:buChar char="•"/>
            </a:pPr>
            <a:r>
              <a:rPr lang="en-US" dirty="0"/>
              <a:t>Azure SQL DW is the secondary (DR) data warehouse</a:t>
            </a:r>
          </a:p>
          <a:p>
            <a:pPr marL="647321" lvl="1" indent="-342900">
              <a:spcBef>
                <a:spcPts val="1836"/>
              </a:spcBef>
              <a:buFont typeface="Arial" panose="020B0604020202020204" pitchFamily="34" charset="0"/>
              <a:buChar char="•"/>
            </a:pPr>
            <a:r>
              <a:rPr lang="en-US" dirty="0"/>
              <a:t>Data is loaded in parallel and controlled by a </a:t>
            </a:r>
            <a:br>
              <a:rPr lang="en-US" dirty="0"/>
            </a:br>
            <a:r>
              <a:rPr lang="en-US" dirty="0"/>
              <a:t>central monitoring solution</a:t>
            </a:r>
          </a:p>
          <a:p>
            <a:pPr marL="647321" lvl="1" indent="-342900">
              <a:spcBef>
                <a:spcPts val="1836"/>
              </a:spcBef>
              <a:buFont typeface="Arial" panose="020B0604020202020204" pitchFamily="34" charset="0"/>
              <a:buChar char="•"/>
            </a:pPr>
            <a:r>
              <a:rPr lang="en-US" dirty="0"/>
              <a:t>Both systems run independently of one another</a:t>
            </a:r>
          </a:p>
          <a:p>
            <a:pPr marL="647321" lvl="1" indent="-342900">
              <a:spcBef>
                <a:spcPts val="1836"/>
              </a:spcBef>
              <a:buFont typeface="Arial" panose="020B0604020202020204" pitchFamily="34" charset="0"/>
              <a:buChar char="•"/>
            </a:pPr>
            <a:r>
              <a:rPr lang="en-US" dirty="0"/>
              <a:t>Both systems can be utilized for reporting</a:t>
            </a:r>
          </a:p>
        </p:txBody>
      </p:sp>
      <p:grpSp>
        <p:nvGrpSpPr>
          <p:cNvPr id="6" name="Group 5"/>
          <p:cNvGrpSpPr/>
          <p:nvPr/>
        </p:nvGrpSpPr>
        <p:grpSpPr>
          <a:xfrm>
            <a:off x="10325229" y="2047499"/>
            <a:ext cx="1269944" cy="1195111"/>
            <a:chOff x="9973540" y="1992264"/>
            <a:chExt cx="1245156" cy="1171784"/>
          </a:xfrm>
        </p:grpSpPr>
        <p:sp>
          <p:nvSpPr>
            <p:cNvPr id="7" name="Freeform 6"/>
            <p:cNvSpPr>
              <a:spLocks noChangeAspect="1"/>
            </p:cNvSpPr>
            <p:nvPr/>
          </p:nvSpPr>
          <p:spPr bwMode="auto">
            <a:xfrm>
              <a:off x="9973540" y="1992264"/>
              <a:ext cx="599134" cy="37940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IN" sz="1122"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PaaS</a:t>
              </a:r>
            </a:p>
          </p:txBody>
        </p:sp>
        <p:sp>
          <p:nvSpPr>
            <p:cNvPr id="8" name="Rectangle 7"/>
            <p:cNvSpPr/>
            <p:nvPr/>
          </p:nvSpPr>
          <p:spPr bwMode="auto">
            <a:xfrm rot="3600000">
              <a:off x="10433467" y="2172185"/>
              <a:ext cx="82033" cy="32545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10855413" y="2845018"/>
              <a:ext cx="322910" cy="156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p:nvPr/>
          </p:nvSpPr>
          <p:spPr bwMode="auto">
            <a:xfrm flipH="1">
              <a:off x="10292159" y="2278167"/>
              <a:ext cx="926537" cy="88588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tx1"/>
                </a:solidFill>
                <a:latin typeface="Segoe UI Light"/>
                <a:ea typeface="Segoe UI" pitchFamily="34" charset="0"/>
                <a:cs typeface="Segoe UI" pitchFamily="34" charset="0"/>
              </a:endParaRPr>
            </a:p>
          </p:txBody>
        </p:sp>
      </p:grpSp>
      <p:grpSp>
        <p:nvGrpSpPr>
          <p:cNvPr id="12" name="Group 11"/>
          <p:cNvGrpSpPr>
            <a:grpSpLocks noChangeAspect="1"/>
          </p:cNvGrpSpPr>
          <p:nvPr/>
        </p:nvGrpSpPr>
        <p:grpSpPr>
          <a:xfrm>
            <a:off x="10847886" y="4877664"/>
            <a:ext cx="469091" cy="932603"/>
            <a:chOff x="-1497013" y="809624"/>
            <a:chExt cx="1601789" cy="3184518"/>
          </a:xfrm>
          <a:solidFill>
            <a:srgbClr val="0078D7"/>
          </a:solidFill>
        </p:grpSpPr>
        <p:sp>
          <p:nvSpPr>
            <p:cNvPr id="13"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4"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5"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6"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7"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8"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19"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sp>
          <p:nvSpPr>
            <p:cNvPr id="20"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333333"/>
                </a:solidFill>
                <a:latin typeface="Segoe UI"/>
              </a:endParaRPr>
            </a:p>
          </p:txBody>
        </p:sp>
      </p:grpSp>
      <p:sp>
        <p:nvSpPr>
          <p:cNvPr id="21" name="Rectangle 437"/>
          <p:cNvSpPr>
            <a:spLocks noChangeArrowheads="1"/>
          </p:cNvSpPr>
          <p:nvPr/>
        </p:nvSpPr>
        <p:spPr bwMode="auto">
          <a:xfrm>
            <a:off x="10694171" y="3335867"/>
            <a:ext cx="857023"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en-US" sz="1397" dirty="0">
                <a:solidFill>
                  <a:srgbClr val="505050"/>
                </a:solidFill>
                <a:latin typeface="+mn-lt"/>
                <a:cs typeface="Segoe UI Semilight" panose="020B0402040204020203" pitchFamily="34" charset="0"/>
              </a:rPr>
              <a:t>SQL DW</a:t>
            </a:r>
          </a:p>
        </p:txBody>
      </p:sp>
      <p:sp>
        <p:nvSpPr>
          <p:cNvPr id="22" name="Rectangle 437"/>
          <p:cNvSpPr>
            <a:spLocks noChangeArrowheads="1"/>
          </p:cNvSpPr>
          <p:nvPr/>
        </p:nvSpPr>
        <p:spPr bwMode="auto">
          <a:xfrm>
            <a:off x="10828696" y="5976372"/>
            <a:ext cx="505517"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en-US" sz="1397" dirty="0">
                <a:solidFill>
                  <a:srgbClr val="505050"/>
                </a:solidFill>
                <a:latin typeface="+mn-lt"/>
                <a:cs typeface="Segoe UI Semilight" panose="020B0402040204020203" pitchFamily="34" charset="0"/>
              </a:rPr>
              <a:t>APS</a:t>
            </a:r>
          </a:p>
        </p:txBody>
      </p:sp>
      <p:sp>
        <p:nvSpPr>
          <p:cNvPr id="23" name="Rectangle 437"/>
          <p:cNvSpPr>
            <a:spLocks noChangeArrowheads="1"/>
          </p:cNvSpPr>
          <p:nvPr/>
        </p:nvSpPr>
        <p:spPr bwMode="auto">
          <a:xfrm>
            <a:off x="9068348" y="4352170"/>
            <a:ext cx="1112919" cy="4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en-US" sz="1397" dirty="0">
                <a:solidFill>
                  <a:srgbClr val="505050"/>
                </a:solidFill>
                <a:latin typeface="+mn-lt"/>
                <a:cs typeface="Segoe UI Semilight" panose="020B0402040204020203" pitchFamily="34" charset="0"/>
              </a:rPr>
              <a:t>Azure Blob </a:t>
            </a:r>
            <a:br>
              <a:rPr lang="en-US" altLang="en-US" sz="1397" dirty="0">
                <a:solidFill>
                  <a:srgbClr val="505050"/>
                </a:solidFill>
                <a:latin typeface="+mn-lt"/>
                <a:cs typeface="Segoe UI Semilight" panose="020B0402040204020203" pitchFamily="34" charset="0"/>
              </a:rPr>
            </a:br>
            <a:r>
              <a:rPr lang="en-US" altLang="en-US" sz="1397" dirty="0">
                <a:solidFill>
                  <a:srgbClr val="505050"/>
                </a:solidFill>
                <a:latin typeface="+mn-lt"/>
                <a:cs typeface="Segoe UI Semilight" panose="020B0402040204020203" pitchFamily="34" charset="0"/>
              </a:rPr>
              <a:t>Storage</a:t>
            </a:r>
          </a:p>
        </p:txBody>
      </p:sp>
      <p:cxnSp>
        <p:nvCxnSpPr>
          <p:cNvPr id="25" name="Straight Arrow Connector 24"/>
          <p:cNvCxnSpPr/>
          <p:nvPr/>
        </p:nvCxnSpPr>
        <p:spPr>
          <a:xfrm flipV="1">
            <a:off x="9961549" y="2790853"/>
            <a:ext cx="669210" cy="90273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9931156" y="4219903"/>
            <a:ext cx="967405" cy="6728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Freeform 27"/>
          <p:cNvSpPr/>
          <p:nvPr/>
        </p:nvSpPr>
        <p:spPr bwMode="auto">
          <a:xfrm>
            <a:off x="9233978" y="3612458"/>
            <a:ext cx="781657" cy="675738"/>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p:cNvCxnSpPr/>
          <p:nvPr/>
        </p:nvCxnSpPr>
        <p:spPr>
          <a:xfrm flipV="1">
            <a:off x="9947715" y="2736379"/>
            <a:ext cx="656148" cy="885112"/>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cxnSp>
        <p:nvCxnSpPr>
          <p:cNvPr id="29" name="Straight Arrow Connector 28"/>
          <p:cNvCxnSpPr/>
          <p:nvPr/>
        </p:nvCxnSpPr>
        <p:spPr>
          <a:xfrm>
            <a:off x="9917915" y="4137535"/>
            <a:ext cx="948522" cy="659711"/>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415642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wipe(left)">
                                      <p:cBhvr>
                                        <p:cTn id="14" dur="75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
                                            <p:txEl>
                                              <p:pRg st="1" end="1"/>
                                            </p:txEl>
                                          </p:spTgt>
                                        </p:tgtEl>
                                        <p:attrNameLst>
                                          <p:attrName>style.visibility</p:attrName>
                                        </p:attrNameLst>
                                      </p:cBhvr>
                                      <p:to>
                                        <p:strVal val="visible"/>
                                      </p:to>
                                    </p:set>
                                    <p:animEffect transition="in" filter="wipe(left)">
                                      <p:cBhvr>
                                        <p:cTn id="26" dur="750"/>
                                        <p:tgtEl>
                                          <p:spTgt spid="3">
                                            <p:txEl>
                                              <p:pRg st="1" end="1"/>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wipe(left)">
                                      <p:cBhvr>
                                        <p:cTn id="38" dur="500"/>
                                        <p:tgtEl>
                                          <p:spTgt spid="25"/>
                                        </p:tgtEl>
                                      </p:cBhvr>
                                    </p:animEffect>
                                  </p:childTnLst>
                                </p:cTn>
                              </p:par>
                              <p:par>
                                <p:cTn id="39" presetID="22" presetClass="entr" presetSubtype="8"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left)">
                                      <p:cBhvr>
                                        <p:cTn id="41" dur="500"/>
                                        <p:tgtEl>
                                          <p:spTgt spid="27"/>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3">
                                            <p:txEl>
                                              <p:pRg st="2" end="2"/>
                                            </p:txEl>
                                          </p:spTgt>
                                        </p:tgtEl>
                                        <p:attrNameLst>
                                          <p:attrName>style.visibility</p:attrName>
                                        </p:attrNameLst>
                                      </p:cBhvr>
                                      <p:to>
                                        <p:strVal val="visible"/>
                                      </p:to>
                                    </p:set>
                                    <p:animEffect transition="in" filter="wipe(left)">
                                      <p:cBhvr>
                                        <p:cTn id="45" dur="750"/>
                                        <p:tgtEl>
                                          <p:spTgt spid="3">
                                            <p:txEl>
                                              <p:pRg st="2" end="2"/>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3">
                                            <p:txEl>
                                              <p:pRg st="3" end="3"/>
                                            </p:txEl>
                                          </p:spTgt>
                                        </p:tgtEl>
                                        <p:attrNameLst>
                                          <p:attrName>style.visibility</p:attrName>
                                        </p:attrNameLst>
                                      </p:cBhvr>
                                      <p:to>
                                        <p:strVal val="visible"/>
                                      </p:to>
                                    </p:set>
                                    <p:animEffect transition="in" filter="wipe(left)">
                                      <p:cBhvr>
                                        <p:cTn id="50" dur="250"/>
                                        <p:tgtEl>
                                          <p:spTgt spid="3">
                                            <p:txEl>
                                              <p:pRg st="3" end="3"/>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3">
                                            <p:txEl>
                                              <p:pRg st="4" end="4"/>
                                            </p:txEl>
                                          </p:spTgt>
                                        </p:tgtEl>
                                        <p:attrNameLst>
                                          <p:attrName>style.visibility</p:attrName>
                                        </p:attrNameLst>
                                      </p:cBhvr>
                                      <p:to>
                                        <p:strVal val="visible"/>
                                      </p:to>
                                    </p:set>
                                    <p:animEffect transition="in" filter="wipe(left)">
                                      <p:cBhvr>
                                        <p:cTn id="55" dur="750"/>
                                        <p:tgtEl>
                                          <p:spTgt spid="3">
                                            <p:txEl>
                                              <p:pRg st="4" end="4"/>
                                            </p:txEl>
                                          </p:spTgt>
                                        </p:tgtEl>
                                      </p:cBhvr>
                                    </p:animEffect>
                                  </p:childTnLst>
                                </p:cTn>
                              </p:par>
                            </p:childTnLst>
                          </p:cTn>
                        </p:par>
                        <p:par>
                          <p:cTn id="56" fill="hold">
                            <p:stCondLst>
                              <p:cond delay="750"/>
                            </p:stCondLst>
                            <p:childTnLst>
                              <p:par>
                                <p:cTn id="57" presetID="22" presetClass="entr" presetSubtype="8" fill="hold" nodeType="after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wipe(left)">
                                      <p:cBhvr>
                                        <p:cTn id="6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643762" y="1904024"/>
            <a:ext cx="4035126" cy="2037022"/>
          </a:xfrm>
          <a:prstGeom prst="rect">
            <a:avLst/>
          </a:prstGeom>
          <a:solidFill>
            <a:srgbClr val="BAD80A">
              <a:alpha val="15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2040" kern="0" dirty="0">
                <a:solidFill>
                  <a:schemeClr val="bg1"/>
                </a:solidFill>
              </a:rPr>
              <a:t>Azure</a:t>
            </a:r>
          </a:p>
        </p:txBody>
      </p:sp>
      <p:sp>
        <p:nvSpPr>
          <p:cNvPr id="2" name="Title 1"/>
          <p:cNvSpPr>
            <a:spLocks noGrp="1"/>
          </p:cNvSpPr>
          <p:nvPr>
            <p:ph type="title"/>
          </p:nvPr>
        </p:nvSpPr>
        <p:spPr/>
        <p:txBody>
          <a:bodyPr/>
          <a:lstStyle/>
          <a:p>
            <a:r>
              <a:rPr lang="en-US" dirty="0">
                <a:solidFill>
                  <a:schemeClr val="tx1"/>
                </a:solidFill>
              </a:rPr>
              <a:t>Mid-level hybrid DR architecture</a:t>
            </a:r>
          </a:p>
        </p:txBody>
      </p:sp>
      <p:sp>
        <p:nvSpPr>
          <p:cNvPr id="114" name="Left-Right Arrow 113"/>
          <p:cNvSpPr/>
          <p:nvPr/>
        </p:nvSpPr>
        <p:spPr bwMode="auto">
          <a:xfrm rot="18000000" flipH="1">
            <a:off x="6421226" y="4021152"/>
            <a:ext cx="2056161"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rot="3600000">
            <a:off x="6580534" y="3727566"/>
            <a:ext cx="1343815" cy="29684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7" name="Rectangle 437"/>
          <p:cNvSpPr>
            <a:spLocks noChangeArrowheads="1"/>
          </p:cNvSpPr>
          <p:nvPr/>
        </p:nvSpPr>
        <p:spPr bwMode="auto">
          <a:xfrm>
            <a:off x="5871195" y="1940291"/>
            <a:ext cx="1115339" cy="4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zure Blob </a:t>
            </a:r>
            <a:br>
              <a:rPr lang="en-US" altLang="en-US" sz="1397" kern="0" dirty="0">
                <a:solidFill>
                  <a:srgbClr val="505050"/>
                </a:solidFill>
                <a:latin typeface="+mn-lt"/>
                <a:cs typeface="Segoe UI Semilight" panose="020B0402040204020203" pitchFamily="34" charset="0"/>
              </a:rPr>
            </a:br>
            <a:r>
              <a:rPr lang="en-US" altLang="en-US" sz="1397" kern="0" dirty="0">
                <a:solidFill>
                  <a:srgbClr val="505050"/>
                </a:solidFill>
                <a:latin typeface="+mn-lt"/>
                <a:cs typeface="Segoe UI Semilight" panose="020B0402040204020203" pitchFamily="34" charset="0"/>
              </a:rPr>
              <a:t>Storage</a:t>
            </a:r>
          </a:p>
        </p:txBody>
      </p:sp>
      <p:sp>
        <p:nvSpPr>
          <p:cNvPr id="648" name="TextBox 647"/>
          <p:cNvSpPr txBox="1"/>
          <p:nvPr/>
        </p:nvSpPr>
        <p:spPr>
          <a:xfrm>
            <a:off x="5865223" y="6223731"/>
            <a:ext cx="1355672" cy="394734"/>
          </a:xfrm>
          <a:prstGeom prst="rect">
            <a:avLst/>
          </a:prstGeom>
          <a:noFill/>
        </p:spPr>
        <p:txBody>
          <a:bodyPr wrap="none" lIns="93260" tIns="0" rIns="93260" bIns="0" rtlCol="0">
            <a:spAutoFit/>
          </a:bodyPr>
          <a:lstStyle/>
          <a:p>
            <a:pPr algn="ctr" defTabSz="913330" fontAlgn="base">
              <a:lnSpc>
                <a:spcPct val="90000"/>
              </a:lnSpc>
              <a:spcBef>
                <a:spcPct val="0"/>
              </a:spcBef>
              <a:spcAft>
                <a:spcPts val="587"/>
              </a:spcAft>
              <a:defRPr/>
            </a:pPr>
            <a:r>
              <a:rPr lang="en-US" sz="1397" kern="0" dirty="0">
                <a:solidFill>
                  <a:srgbClr val="515151"/>
                </a:solidFill>
                <a:ea typeface="MS PGothic" charset="0"/>
                <a:cs typeface="Segoe UI" panose="020B0502040204020203" pitchFamily="34" charset="0"/>
              </a:rPr>
              <a:t>Azure SQL DB </a:t>
            </a:r>
            <a:br>
              <a:rPr lang="en-US" sz="1397" kern="0" dirty="0">
                <a:solidFill>
                  <a:srgbClr val="515151"/>
                </a:solidFill>
                <a:ea typeface="MS PGothic" charset="0"/>
                <a:cs typeface="Segoe UI" panose="020B0502040204020203" pitchFamily="34" charset="0"/>
              </a:rPr>
            </a:br>
            <a:r>
              <a:rPr lang="en-US" sz="1397" kern="0" dirty="0">
                <a:solidFill>
                  <a:srgbClr val="515151"/>
                </a:solidFill>
                <a:ea typeface="MS PGothic" charset="0"/>
                <a:cs typeface="Segoe UI" panose="020B0502040204020203" pitchFamily="34" charset="0"/>
              </a:rPr>
              <a:t>(Control DB)</a:t>
            </a:r>
          </a:p>
        </p:txBody>
      </p:sp>
      <p:sp>
        <p:nvSpPr>
          <p:cNvPr id="11" name="Rectangle 10"/>
          <p:cNvSpPr/>
          <p:nvPr/>
        </p:nvSpPr>
        <p:spPr bwMode="auto">
          <a:xfrm>
            <a:off x="7643762" y="4470998"/>
            <a:ext cx="4035126" cy="2037022"/>
          </a:xfrm>
          <a:prstGeom prst="rect">
            <a:avLst/>
          </a:prstGeom>
          <a:solidFill>
            <a:srgbClr val="B4A0FF">
              <a:alpha val="15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2040" kern="0" dirty="0">
                <a:solidFill>
                  <a:schemeClr val="bg1"/>
                </a:solidFill>
              </a:rPr>
              <a:t>On-Premises</a:t>
            </a:r>
          </a:p>
        </p:txBody>
      </p:sp>
      <p:sp>
        <p:nvSpPr>
          <p:cNvPr id="662" name="Rectangle 661"/>
          <p:cNvSpPr/>
          <p:nvPr/>
        </p:nvSpPr>
        <p:spPr bwMode="auto">
          <a:xfrm>
            <a:off x="3500220" y="3690167"/>
            <a:ext cx="2036724" cy="1005697"/>
          </a:xfrm>
          <a:prstGeom prst="rect">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grpSp>
        <p:nvGrpSpPr>
          <p:cNvPr id="12" name="Group 11"/>
          <p:cNvGrpSpPr/>
          <p:nvPr/>
        </p:nvGrpSpPr>
        <p:grpSpPr>
          <a:xfrm>
            <a:off x="6093727" y="5219492"/>
            <a:ext cx="898664" cy="957155"/>
            <a:chOff x="6039248" y="5117614"/>
            <a:chExt cx="881123" cy="938472"/>
          </a:xfrm>
        </p:grpSpPr>
        <p:sp>
          <p:nvSpPr>
            <p:cNvPr id="1452" name="Rectangle 442"/>
            <p:cNvSpPr>
              <a:spLocks noChangeArrowheads="1"/>
            </p:cNvSpPr>
            <p:nvPr/>
          </p:nvSpPr>
          <p:spPr bwMode="auto">
            <a:xfrm>
              <a:off x="6469616" y="5817418"/>
              <a:ext cx="322204" cy="16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71"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PaaS</a:t>
              </a:r>
              <a:endParaRPr lang="en-US" altLang="en-US" sz="1428"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5" name="Freeform 64"/>
            <p:cNvSpPr>
              <a:spLocks noChangeAspect="1"/>
            </p:cNvSpPr>
            <p:nvPr/>
          </p:nvSpPr>
          <p:spPr bwMode="auto">
            <a:xfrm>
              <a:off x="6039248" y="5117614"/>
              <a:ext cx="881123" cy="938472"/>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chemeClr val="tx1"/>
                </a:solidFill>
                <a:latin typeface="Segoe UI Light"/>
                <a:ea typeface="Segoe UI" pitchFamily="34" charset="0"/>
                <a:cs typeface="Segoe UI" pitchFamily="34" charset="0"/>
              </a:endParaRPr>
            </a:p>
          </p:txBody>
        </p:sp>
      </p:grpSp>
      <p:grpSp>
        <p:nvGrpSpPr>
          <p:cNvPr id="10" name="Group 9"/>
          <p:cNvGrpSpPr/>
          <p:nvPr/>
        </p:nvGrpSpPr>
        <p:grpSpPr>
          <a:xfrm>
            <a:off x="467420" y="3118287"/>
            <a:ext cx="2570026" cy="2109087"/>
            <a:chOff x="629718" y="2907440"/>
            <a:chExt cx="2519862" cy="2067920"/>
          </a:xfrm>
        </p:grpSpPr>
        <p:sp>
          <p:nvSpPr>
            <p:cNvPr id="9" name="TextBox 8"/>
            <p:cNvSpPr txBox="1"/>
            <p:nvPr/>
          </p:nvSpPr>
          <p:spPr>
            <a:xfrm>
              <a:off x="629718" y="2907440"/>
              <a:ext cx="2519862" cy="2067920"/>
            </a:xfrm>
            <a:prstGeom prst="rect">
              <a:avLst/>
            </a:prstGeom>
            <a:solidFill>
              <a:srgbClr val="0078D7"/>
            </a:solidFill>
          </p:spPr>
          <p:txBody>
            <a:bodyPr wrap="square" lIns="746083" tIns="149217" rIns="186521" bIns="149217" rtlCol="0">
              <a:spAutoFit/>
            </a:bodyPr>
            <a:lstStyle/>
            <a:p>
              <a:pPr defTabSz="932597">
                <a:lnSpc>
                  <a:spcPct val="150000"/>
                </a:lnSpc>
              </a:pPr>
              <a:r>
                <a:rPr lang="en-US" sz="1428" b="1" kern="0" dirty="0">
                  <a:solidFill>
                    <a:schemeClr val="bg1"/>
                  </a:solidFill>
                </a:rPr>
                <a:t>DATA SOURCES</a:t>
              </a:r>
            </a:p>
            <a:p>
              <a:pPr defTabSz="932597">
                <a:lnSpc>
                  <a:spcPct val="150000"/>
                </a:lnSpc>
              </a:pPr>
              <a:r>
                <a:rPr lang="en-US" sz="1601" kern="0" dirty="0">
                  <a:solidFill>
                    <a:schemeClr val="bg1"/>
                  </a:solidFill>
                  <a:latin typeface="+mj-lt"/>
                </a:rPr>
                <a:t>Unstructured</a:t>
              </a:r>
            </a:p>
            <a:p>
              <a:pPr defTabSz="932597">
                <a:lnSpc>
                  <a:spcPct val="150000"/>
                </a:lnSpc>
              </a:pPr>
              <a:r>
                <a:rPr lang="en-US" sz="1601" kern="0" dirty="0">
                  <a:solidFill>
                    <a:schemeClr val="bg1"/>
                  </a:solidFill>
                  <a:latin typeface="+mj-lt"/>
                </a:rPr>
                <a:t>Semi-Structured</a:t>
              </a:r>
            </a:p>
            <a:p>
              <a:pPr defTabSz="932597">
                <a:lnSpc>
                  <a:spcPct val="150000"/>
                </a:lnSpc>
              </a:pPr>
              <a:r>
                <a:rPr lang="en-US" sz="1601" kern="0" dirty="0">
                  <a:solidFill>
                    <a:schemeClr val="bg1"/>
                  </a:solidFill>
                  <a:latin typeface="+mj-lt"/>
                </a:rPr>
                <a:t>Structured</a:t>
              </a:r>
            </a:p>
            <a:p>
              <a:pPr defTabSz="932597">
                <a:lnSpc>
                  <a:spcPct val="150000"/>
                </a:lnSpc>
              </a:pPr>
              <a:r>
                <a:rPr lang="en-US" sz="1601" kern="0" dirty="0">
                  <a:solidFill>
                    <a:schemeClr val="bg1"/>
                  </a:solidFill>
                  <a:latin typeface="+mj-lt"/>
                </a:rPr>
                <a:t>Relational (RDBMS)</a:t>
              </a:r>
            </a:p>
          </p:txBody>
        </p:sp>
        <p:sp>
          <p:nvSpPr>
            <p:cNvPr id="71" name="Freeform 70"/>
            <p:cNvSpPr/>
            <p:nvPr/>
          </p:nvSpPr>
          <p:spPr bwMode="auto">
            <a:xfrm>
              <a:off x="738268" y="4019612"/>
              <a:ext cx="438815" cy="293247"/>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13"/>
            <p:cNvSpPr>
              <a:spLocks noEditPoints="1"/>
            </p:cNvSpPr>
            <p:nvPr/>
          </p:nvSpPr>
          <p:spPr bwMode="black">
            <a:xfrm>
              <a:off x="731008" y="4466503"/>
              <a:ext cx="453334" cy="38588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11921" tIns="55960" rIns="111921" bIns="55960" numCol="1" rtlCol="0" anchor="ctr" anchorCtr="0" compatLnSpc="1">
              <a:prstTxWarp prst="textNoShape">
                <a:avLst/>
              </a:prstTxWarp>
            </a:bodyPr>
            <a:lstStyle/>
            <a:p>
              <a:pPr defTabSz="1007283"/>
              <a:endParaRPr lang="en-US" sz="2448" kern="0" spc="-166">
                <a:solidFill>
                  <a:srgbClr val="FFFFFF">
                    <a:lumMod val="50000"/>
                  </a:srgbClr>
                </a:solidFill>
                <a:latin typeface="Segoe Light" pitchFamily="34" charset="0"/>
              </a:endParaRPr>
            </a:p>
          </p:txBody>
        </p:sp>
        <p:grpSp>
          <p:nvGrpSpPr>
            <p:cNvPr id="6" name="Group 5"/>
            <p:cNvGrpSpPr/>
            <p:nvPr/>
          </p:nvGrpSpPr>
          <p:grpSpPr>
            <a:xfrm>
              <a:off x="696878" y="3025247"/>
              <a:ext cx="521594" cy="329496"/>
              <a:chOff x="714257" y="1970879"/>
              <a:chExt cx="610084" cy="385396"/>
            </a:xfrm>
          </p:grpSpPr>
          <p:pic>
            <p:nvPicPr>
              <p:cNvPr id="620" name="Picture 619"/>
              <p:cNvPicPr>
                <a:picLocks noChangeAspect="1"/>
              </p:cNvPicPr>
              <p:nvPr/>
            </p:nvPicPr>
            <p:blipFill rotWithShape="1">
              <a:blip r:embed="rId3"/>
              <a:srcRect r="4671" b="5557"/>
              <a:stretch/>
            </p:blipFill>
            <p:spPr>
              <a:xfrm>
                <a:off x="749616" y="2010522"/>
                <a:ext cx="542146" cy="308135"/>
              </a:xfrm>
              <a:prstGeom prst="rect">
                <a:avLst/>
              </a:prstGeom>
              <a:noFill/>
              <a:ln w="9525">
                <a:solidFill>
                  <a:srgbClr val="D2D2D2">
                    <a:lumMod val="50000"/>
                  </a:srgbClr>
                </a:solidFill>
              </a:ln>
            </p:spPr>
          </p:pic>
          <p:sp>
            <p:nvSpPr>
              <p:cNvPr id="73" name="Freeform 29"/>
              <p:cNvSpPr>
                <a:spLocks noChangeAspect="1" noEditPoints="1"/>
              </p:cNvSpPr>
              <p:nvPr/>
            </p:nvSpPr>
            <p:spPr bwMode="black">
              <a:xfrm>
                <a:off x="714257" y="1970879"/>
                <a:ext cx="610084" cy="385396"/>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525252"/>
              </a:solidFill>
              <a:ln>
                <a:noFill/>
              </a:ln>
            </p:spPr>
            <p:txBody>
              <a:bodyPr vert="horz" wrap="square" lIns="91427" tIns="45713" rIns="91427" bIns="45713" numCol="1" anchor="t" anchorCtr="0" compatLnSpc="1">
                <a:prstTxWarp prst="textNoShape">
                  <a:avLst/>
                </a:prstTxWarp>
              </a:bodyPr>
              <a:lstStyle/>
              <a:p>
                <a:pPr defTabSz="932563"/>
                <a:endParaRPr lang="en-US" kern="0" dirty="0">
                  <a:solidFill>
                    <a:srgbClr val="FFFFFF"/>
                  </a:solidFill>
                  <a:latin typeface="Segoe UI"/>
                </a:endParaRPr>
              </a:p>
            </p:txBody>
          </p:sp>
        </p:grpSp>
        <p:grpSp>
          <p:nvGrpSpPr>
            <p:cNvPr id="7" name="Group 6"/>
            <p:cNvGrpSpPr/>
            <p:nvPr/>
          </p:nvGrpSpPr>
          <p:grpSpPr>
            <a:xfrm>
              <a:off x="702737" y="3502595"/>
              <a:ext cx="509876" cy="340230"/>
              <a:chOff x="862648" y="3518771"/>
              <a:chExt cx="509876" cy="340230"/>
            </a:xfrm>
          </p:grpSpPr>
          <p:sp>
            <p:nvSpPr>
              <p:cNvPr id="83" name="Rectangle 82"/>
              <p:cNvSpPr/>
              <p:nvPr/>
            </p:nvSpPr>
            <p:spPr>
              <a:xfrm>
                <a:off x="862675" y="3543452"/>
                <a:ext cx="509849" cy="314721"/>
              </a:xfrm>
              <a:prstGeom prst="rect">
                <a:avLst/>
              </a:prstGeom>
              <a:solidFill>
                <a:srgbClr val="00BCF2"/>
              </a:solidFill>
              <a:ln w="76200"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95" name="Rectangle 94"/>
              <p:cNvSpPr/>
              <p:nvPr/>
            </p:nvSpPr>
            <p:spPr>
              <a:xfrm>
                <a:off x="862675" y="3518771"/>
                <a:ext cx="509849" cy="24773"/>
              </a:xfrm>
              <a:prstGeom prst="rect">
                <a:avLst/>
              </a:prstGeom>
              <a:solidFill>
                <a:srgbClr val="153553"/>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97" name="Rounded Rectangle 96"/>
              <p:cNvSpPr/>
              <p:nvPr/>
            </p:nvSpPr>
            <p:spPr>
              <a:xfrm>
                <a:off x="874132" y="3556078"/>
                <a:ext cx="486935" cy="289470"/>
              </a:xfrm>
              <a:prstGeom prst="roundRect">
                <a:avLst>
                  <a:gd name="adj" fmla="val 1965"/>
                </a:avLst>
              </a:prstGeom>
              <a:solidFill>
                <a:srgbClr val="FFFFFF"/>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98" name="Multiply 97"/>
              <p:cNvSpPr/>
              <p:nvPr/>
            </p:nvSpPr>
            <p:spPr>
              <a:xfrm>
                <a:off x="1348474" y="3521053"/>
                <a:ext cx="20209" cy="20209"/>
              </a:xfrm>
              <a:prstGeom prst="mathMultiply">
                <a:avLst>
                  <a:gd name="adj1" fmla="val 12626"/>
                </a:avLst>
              </a:prstGeom>
              <a:solidFill>
                <a:srgbClr val="FFFFFF"/>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99" name="Rectangle 98"/>
              <p:cNvSpPr/>
              <p:nvPr/>
            </p:nvSpPr>
            <p:spPr>
              <a:xfrm>
                <a:off x="1305388" y="3533622"/>
                <a:ext cx="13194" cy="3563"/>
              </a:xfrm>
              <a:prstGeom prst="rect">
                <a:avLst/>
              </a:prstGeom>
              <a:solidFill>
                <a:srgbClr val="FFFFFF"/>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101" name="Freeform 100"/>
              <p:cNvSpPr/>
              <p:nvPr/>
            </p:nvSpPr>
            <p:spPr>
              <a:xfrm>
                <a:off x="1326203" y="3523759"/>
                <a:ext cx="16516" cy="13427"/>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algn="ctr" defTabSz="932597">
                  <a:defRPr/>
                </a:pPr>
                <a:endParaRPr lang="en-US" sz="1836" kern="0">
                  <a:solidFill>
                    <a:srgbClr val="FFFFFF"/>
                  </a:solidFill>
                  <a:latin typeface="Segoe UI"/>
                </a:endParaRPr>
              </a:p>
            </p:txBody>
          </p:sp>
          <p:sp>
            <p:nvSpPr>
              <p:cNvPr id="102" name="Freeform 101"/>
              <p:cNvSpPr>
                <a:spLocks noChangeAspect="1"/>
              </p:cNvSpPr>
              <p:nvPr/>
            </p:nvSpPr>
            <p:spPr bwMode="auto">
              <a:xfrm rot="21143228">
                <a:off x="1021978" y="3624151"/>
                <a:ext cx="184974" cy="184372"/>
              </a:xfrm>
              <a:custGeom>
                <a:avLst/>
                <a:gdLst>
                  <a:gd name="connsiteX0" fmla="*/ 86758 w 266152"/>
                  <a:gd name="connsiteY0" fmla="*/ 31 h 265287"/>
                  <a:gd name="connsiteX1" fmla="*/ 92476 w 266152"/>
                  <a:gd name="connsiteY1" fmla="*/ 158 h 265287"/>
                  <a:gd name="connsiteX2" fmla="*/ 247076 w 266152"/>
                  <a:gd name="connsiteY2" fmla="*/ 158 h 265287"/>
                  <a:gd name="connsiteX3" fmla="*/ 265990 w 266152"/>
                  <a:gd name="connsiteY3" fmla="*/ 18251 h 265287"/>
                  <a:gd name="connsiteX4" fmla="*/ 265990 w 266152"/>
                  <a:gd name="connsiteY4" fmla="*/ 173673 h 265287"/>
                  <a:gd name="connsiteX5" fmla="*/ 265007 w 266152"/>
                  <a:gd name="connsiteY5" fmla="*/ 183899 h 265287"/>
                  <a:gd name="connsiteX6" fmla="*/ 260946 w 266152"/>
                  <a:gd name="connsiteY6" fmla="*/ 184729 h 265287"/>
                  <a:gd name="connsiteX7" fmla="*/ 233399 w 266152"/>
                  <a:gd name="connsiteY7" fmla="*/ 157459 h 265287"/>
                  <a:gd name="connsiteX8" fmla="*/ 209659 w 266152"/>
                  <a:gd name="connsiteY8" fmla="*/ 157578 h 265287"/>
                  <a:gd name="connsiteX9" fmla="*/ 105011 w 266152"/>
                  <a:gd name="connsiteY9" fmla="*/ 263288 h 265287"/>
                  <a:gd name="connsiteX10" fmla="*/ 77673 w 266152"/>
                  <a:gd name="connsiteY10" fmla="*/ 251796 h 265287"/>
                  <a:gd name="connsiteX11" fmla="*/ 8597 w 266152"/>
                  <a:gd name="connsiteY11" fmla="*/ 182719 h 265287"/>
                  <a:gd name="connsiteX12" fmla="*/ 543 w 266152"/>
                  <a:gd name="connsiteY12" fmla="*/ 163344 h 265287"/>
                  <a:gd name="connsiteX13" fmla="*/ 42805 w 266152"/>
                  <a:gd name="connsiteY13" fmla="*/ 120261 h 265287"/>
                  <a:gd name="connsiteX14" fmla="*/ 103988 w 266152"/>
                  <a:gd name="connsiteY14" fmla="*/ 60190 h 265287"/>
                  <a:gd name="connsiteX15" fmla="*/ 109846 w 266152"/>
                  <a:gd name="connsiteY15" fmla="*/ 50382 h 265287"/>
                  <a:gd name="connsiteX16" fmla="*/ 110643 w 266152"/>
                  <a:gd name="connsiteY16" fmla="*/ 48666 h 265287"/>
                  <a:gd name="connsiteX17" fmla="*/ 111572 w 266152"/>
                  <a:gd name="connsiteY17" fmla="*/ 43635 h 265287"/>
                  <a:gd name="connsiteX18" fmla="*/ 111321 w 266152"/>
                  <a:gd name="connsiteY18" fmla="*/ 41239 h 265287"/>
                  <a:gd name="connsiteX19" fmla="*/ 111238 w 266152"/>
                  <a:gd name="connsiteY19" fmla="*/ 40837 h 265287"/>
                  <a:gd name="connsiteX20" fmla="*/ 106654 w 266152"/>
                  <a:gd name="connsiteY20" fmla="*/ 31198 h 265287"/>
                  <a:gd name="connsiteX21" fmla="*/ 86614 w 266152"/>
                  <a:gd name="connsiteY21" fmla="*/ 11540 h 265287"/>
                  <a:gd name="connsiteX22" fmla="*/ 81151 w 266152"/>
                  <a:gd name="connsiteY22" fmla="*/ 1841 h 265287"/>
                  <a:gd name="connsiteX23" fmla="*/ 86758 w 266152"/>
                  <a:gd name="connsiteY23" fmla="*/ 31 h 2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152" h="265287">
                    <a:moveTo>
                      <a:pt x="86758" y="31"/>
                    </a:moveTo>
                    <a:cubicBezTo>
                      <a:pt x="88613" y="47"/>
                      <a:pt x="90660" y="193"/>
                      <a:pt x="92476" y="158"/>
                    </a:cubicBezTo>
                    <a:lnTo>
                      <a:pt x="247076" y="158"/>
                    </a:lnTo>
                    <a:cubicBezTo>
                      <a:pt x="262837" y="-1212"/>
                      <a:pt x="267086" y="6464"/>
                      <a:pt x="265990" y="18251"/>
                    </a:cubicBezTo>
                    <a:lnTo>
                      <a:pt x="265990" y="173673"/>
                    </a:lnTo>
                    <a:lnTo>
                      <a:pt x="265007" y="183899"/>
                    </a:lnTo>
                    <a:cubicBezTo>
                      <a:pt x="264012" y="185453"/>
                      <a:pt x="262505" y="185440"/>
                      <a:pt x="260946" y="184729"/>
                    </a:cubicBezTo>
                    <a:lnTo>
                      <a:pt x="233399" y="157459"/>
                    </a:lnTo>
                    <a:cubicBezTo>
                      <a:pt x="226811" y="150936"/>
                      <a:pt x="216182" y="150989"/>
                      <a:pt x="209659" y="157578"/>
                    </a:cubicBezTo>
                    <a:lnTo>
                      <a:pt x="105011" y="263288"/>
                    </a:lnTo>
                    <a:cubicBezTo>
                      <a:pt x="98249" y="267599"/>
                      <a:pt x="92754" y="265449"/>
                      <a:pt x="77673" y="251796"/>
                    </a:cubicBezTo>
                    <a:lnTo>
                      <a:pt x="8597" y="182719"/>
                    </a:lnTo>
                    <a:cubicBezTo>
                      <a:pt x="2818" y="175350"/>
                      <a:pt x="-1579" y="169822"/>
                      <a:pt x="543" y="163344"/>
                    </a:cubicBezTo>
                    <a:lnTo>
                      <a:pt x="42805" y="120261"/>
                    </a:lnTo>
                    <a:lnTo>
                      <a:pt x="103988" y="60190"/>
                    </a:lnTo>
                    <a:cubicBezTo>
                      <a:pt x="106845" y="56355"/>
                      <a:pt x="108761" y="53150"/>
                      <a:pt x="109846" y="50382"/>
                    </a:cubicBezTo>
                    <a:cubicBezTo>
                      <a:pt x="110305" y="49892"/>
                      <a:pt x="110548" y="49303"/>
                      <a:pt x="110643" y="48666"/>
                    </a:cubicBezTo>
                    <a:cubicBezTo>
                      <a:pt x="111356" y="46747"/>
                      <a:pt x="111649" y="45090"/>
                      <a:pt x="111572" y="43635"/>
                    </a:cubicBezTo>
                    <a:cubicBezTo>
                      <a:pt x="111702" y="42827"/>
                      <a:pt x="111665" y="42016"/>
                      <a:pt x="111321" y="41239"/>
                    </a:cubicBezTo>
                    <a:cubicBezTo>
                      <a:pt x="111337" y="41093"/>
                      <a:pt x="111301" y="40961"/>
                      <a:pt x="111238" y="40837"/>
                    </a:cubicBezTo>
                    <a:cubicBezTo>
                      <a:pt x="111013" y="37274"/>
                      <a:pt x="109391" y="33883"/>
                      <a:pt x="106654" y="31198"/>
                    </a:cubicBezTo>
                    <a:lnTo>
                      <a:pt x="86614" y="11540"/>
                    </a:lnTo>
                    <a:lnTo>
                      <a:pt x="81151" y="1841"/>
                    </a:lnTo>
                    <a:cubicBezTo>
                      <a:pt x="81647" y="266"/>
                      <a:pt x="83987" y="4"/>
                      <a:pt x="86758" y="31"/>
                    </a:cubicBezTo>
                    <a:close/>
                  </a:path>
                </a:pathLst>
              </a:custGeom>
              <a:solidFill>
                <a:srgbClr val="00BCF2"/>
              </a:solidFill>
              <a:ln w="9525" cap="flat" cmpd="sng" algn="ctr">
                <a:noFill/>
                <a:prstDash val="solid"/>
              </a:ln>
              <a:effectLst/>
            </p:spPr>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a:defRPr/>
                </a:pPr>
                <a:endParaRPr lang="en-US" sz="1426" kern="0" spc="-51"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00" name="Rectangle 140"/>
              <p:cNvSpPr/>
              <p:nvPr/>
            </p:nvSpPr>
            <p:spPr>
              <a:xfrm>
                <a:off x="862648" y="3518771"/>
                <a:ext cx="383798" cy="340230"/>
              </a:xfrm>
              <a:custGeom>
                <a:avLst/>
                <a:gdLst>
                  <a:gd name="connsiteX0" fmla="*/ 0 w 4017407"/>
                  <a:gd name="connsiteY0" fmla="*/ 0 h 2479881"/>
                  <a:gd name="connsiteX1" fmla="*/ 4017407 w 4017407"/>
                  <a:gd name="connsiteY1" fmla="*/ 0 h 2479881"/>
                  <a:gd name="connsiteX2" fmla="*/ 4017407 w 4017407"/>
                  <a:gd name="connsiteY2" fmla="*/ 2479881 h 2479881"/>
                  <a:gd name="connsiteX3" fmla="*/ 0 w 4017407"/>
                  <a:gd name="connsiteY3" fmla="*/ 2479881 h 2479881"/>
                  <a:gd name="connsiteX4" fmla="*/ 0 w 4017407"/>
                  <a:gd name="connsiteY4" fmla="*/ 0 h 2479881"/>
                  <a:gd name="connsiteX0" fmla="*/ 0 w 4017407"/>
                  <a:gd name="connsiteY0" fmla="*/ 0 h 2479881"/>
                  <a:gd name="connsiteX1" fmla="*/ 4017407 w 4017407"/>
                  <a:gd name="connsiteY1" fmla="*/ 0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4017407"/>
                  <a:gd name="connsiteY0" fmla="*/ 0 h 2479881"/>
                  <a:gd name="connsiteX1" fmla="*/ 3610715 w 4017407"/>
                  <a:gd name="connsiteY1" fmla="*/ 3317 h 2479881"/>
                  <a:gd name="connsiteX2" fmla="*/ 4017407 w 4017407"/>
                  <a:gd name="connsiteY2" fmla="*/ 0 h 2479881"/>
                  <a:gd name="connsiteX3" fmla="*/ 4017407 w 4017407"/>
                  <a:gd name="connsiteY3" fmla="*/ 2479881 h 2479881"/>
                  <a:gd name="connsiteX4" fmla="*/ 539855 w 4017407"/>
                  <a:gd name="connsiteY4" fmla="*/ 2479817 h 2479881"/>
                  <a:gd name="connsiteX5" fmla="*/ 0 w 4017407"/>
                  <a:gd name="connsiteY5" fmla="*/ 2479881 h 2479881"/>
                  <a:gd name="connsiteX6" fmla="*/ 0 w 4017407"/>
                  <a:gd name="connsiteY6" fmla="*/ 0 h 2479881"/>
                  <a:gd name="connsiteX0" fmla="*/ 0 w 4017407"/>
                  <a:gd name="connsiteY0" fmla="*/ 0 h 2479881"/>
                  <a:gd name="connsiteX1" fmla="*/ 3610715 w 4017407"/>
                  <a:gd name="connsiteY1" fmla="*/ 3317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3610715"/>
                  <a:gd name="connsiteY0" fmla="*/ 0 h 2479881"/>
                  <a:gd name="connsiteX1" fmla="*/ 3610715 w 3610715"/>
                  <a:gd name="connsiteY1" fmla="*/ 3317 h 2479881"/>
                  <a:gd name="connsiteX2" fmla="*/ 539855 w 3610715"/>
                  <a:gd name="connsiteY2" fmla="*/ 2479817 h 2479881"/>
                  <a:gd name="connsiteX3" fmla="*/ 0 w 3610715"/>
                  <a:gd name="connsiteY3" fmla="*/ 2479881 h 2479881"/>
                  <a:gd name="connsiteX4" fmla="*/ 0 w 3610715"/>
                  <a:gd name="connsiteY4" fmla="*/ 0 h 2479881"/>
                  <a:gd name="connsiteX0" fmla="*/ 0 w 3610715"/>
                  <a:gd name="connsiteY0" fmla="*/ 0 h 2479881"/>
                  <a:gd name="connsiteX1" fmla="*/ 3610715 w 3610715"/>
                  <a:gd name="connsiteY1" fmla="*/ 3317 h 2479881"/>
                  <a:gd name="connsiteX2" fmla="*/ 1101868 w 3610715"/>
                  <a:gd name="connsiteY2" fmla="*/ 2479818 h 2479881"/>
                  <a:gd name="connsiteX3" fmla="*/ 0 w 3610715"/>
                  <a:gd name="connsiteY3" fmla="*/ 2479881 h 2479881"/>
                  <a:gd name="connsiteX4" fmla="*/ 0 w 3610715"/>
                  <a:gd name="connsiteY4" fmla="*/ 0 h 247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715" h="2479881">
                    <a:moveTo>
                      <a:pt x="0" y="0"/>
                    </a:moveTo>
                    <a:lnTo>
                      <a:pt x="3610715" y="3317"/>
                    </a:lnTo>
                    <a:lnTo>
                      <a:pt x="1101868" y="2479818"/>
                    </a:lnTo>
                    <a:lnTo>
                      <a:pt x="0" y="2479881"/>
                    </a:lnTo>
                    <a:lnTo>
                      <a:pt x="0" y="0"/>
                    </a:lnTo>
                    <a:close/>
                  </a:path>
                </a:pathLst>
              </a:custGeom>
              <a:solidFill>
                <a:srgbClr val="FFFFFF">
                  <a:alpha val="30000"/>
                </a:srgbClr>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grpSp>
      </p:grpSp>
      <p:sp>
        <p:nvSpPr>
          <p:cNvPr id="106" name="Rectangle 105"/>
          <p:cNvSpPr/>
          <p:nvPr/>
        </p:nvSpPr>
        <p:spPr bwMode="auto">
          <a:xfrm>
            <a:off x="8057119" y="4877664"/>
            <a:ext cx="2036724" cy="1005697"/>
          </a:xfrm>
          <a:prstGeom prst="rect">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sp>
        <p:nvSpPr>
          <p:cNvPr id="107" name="Rectangle 106"/>
          <p:cNvSpPr/>
          <p:nvPr/>
        </p:nvSpPr>
        <p:spPr bwMode="auto">
          <a:xfrm>
            <a:off x="8057119" y="2415524"/>
            <a:ext cx="2036724" cy="1005697"/>
          </a:xfrm>
          <a:prstGeom prst="rect">
            <a:avLst/>
          </a:prstGeom>
          <a:solidFill>
            <a:srgbClr val="107C1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sp>
        <p:nvSpPr>
          <p:cNvPr id="103" name="Freeform 102"/>
          <p:cNvSpPr>
            <a:spLocks noChangeAspect="1"/>
          </p:cNvSpPr>
          <p:nvPr/>
        </p:nvSpPr>
        <p:spPr bwMode="auto">
          <a:xfrm>
            <a:off x="7760621" y="2098458"/>
            <a:ext cx="611061" cy="38695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IN" sz="1122"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IaaS</a:t>
            </a:r>
          </a:p>
        </p:txBody>
      </p:sp>
      <p:grpSp>
        <p:nvGrpSpPr>
          <p:cNvPr id="16" name="Group 15"/>
          <p:cNvGrpSpPr/>
          <p:nvPr/>
        </p:nvGrpSpPr>
        <p:grpSpPr>
          <a:xfrm>
            <a:off x="10172969" y="2123629"/>
            <a:ext cx="1269944" cy="1195111"/>
            <a:chOff x="9973540" y="1992264"/>
            <a:chExt cx="1245156" cy="1171784"/>
          </a:xfrm>
        </p:grpSpPr>
        <p:sp>
          <p:nvSpPr>
            <p:cNvPr id="104" name="Freeform 103"/>
            <p:cNvSpPr>
              <a:spLocks noChangeAspect="1"/>
            </p:cNvSpPr>
            <p:nvPr/>
          </p:nvSpPr>
          <p:spPr bwMode="auto">
            <a:xfrm>
              <a:off x="9973540" y="1992264"/>
              <a:ext cx="599134" cy="37940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IN" sz="1122"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PaaS</a:t>
              </a:r>
            </a:p>
          </p:txBody>
        </p:sp>
        <p:sp>
          <p:nvSpPr>
            <p:cNvPr id="14" name="Rectangle 13"/>
            <p:cNvSpPr/>
            <p:nvPr/>
          </p:nvSpPr>
          <p:spPr bwMode="auto">
            <a:xfrm rot="3600000">
              <a:off x="10433467" y="2172185"/>
              <a:ext cx="82033" cy="325453"/>
            </a:xfrm>
            <a:prstGeom prst="rect">
              <a:avLst/>
            </a:prstGeom>
            <a:solidFill>
              <a:srgbClr val="E4EB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0855413" y="2845018"/>
              <a:ext cx="322910" cy="156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69"/>
            <p:cNvSpPr/>
            <p:nvPr/>
          </p:nvSpPr>
          <p:spPr bwMode="auto">
            <a:xfrm flipH="1">
              <a:off x="10292159" y="2278167"/>
              <a:ext cx="926537" cy="88588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grpSp>
      <p:sp>
        <p:nvSpPr>
          <p:cNvPr id="105" name="Rectangle 437"/>
          <p:cNvSpPr>
            <a:spLocks noChangeArrowheads="1"/>
          </p:cNvSpPr>
          <p:nvPr/>
        </p:nvSpPr>
        <p:spPr bwMode="auto">
          <a:xfrm>
            <a:off x="10244798" y="3374441"/>
            <a:ext cx="1370386"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zure SQL DW</a:t>
            </a:r>
          </a:p>
        </p:txBody>
      </p:sp>
      <p:sp>
        <p:nvSpPr>
          <p:cNvPr id="17" name="Right Arrow 16"/>
          <p:cNvSpPr/>
          <p:nvPr/>
        </p:nvSpPr>
        <p:spPr bwMode="auto">
          <a:xfrm>
            <a:off x="3089114" y="4044594"/>
            <a:ext cx="355277" cy="296840"/>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Bent Arrow 17"/>
          <p:cNvSpPr/>
          <p:nvPr/>
        </p:nvSpPr>
        <p:spPr bwMode="auto">
          <a:xfrm rot="5400000">
            <a:off x="5661325" y="4227673"/>
            <a:ext cx="877544" cy="977585"/>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Bent Arrow 109"/>
          <p:cNvSpPr/>
          <p:nvPr/>
        </p:nvSpPr>
        <p:spPr bwMode="auto">
          <a:xfrm rot="16200000" flipV="1">
            <a:off x="5661324" y="3150457"/>
            <a:ext cx="877544" cy="977585"/>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Left-Right Arrow 110"/>
          <p:cNvSpPr/>
          <p:nvPr/>
        </p:nvSpPr>
        <p:spPr bwMode="auto">
          <a:xfrm>
            <a:off x="6893067" y="5489509"/>
            <a:ext cx="1094157"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Left-Right Arrow 111"/>
          <p:cNvSpPr/>
          <p:nvPr/>
        </p:nvSpPr>
        <p:spPr bwMode="auto">
          <a:xfrm>
            <a:off x="6858669" y="2566918"/>
            <a:ext cx="1094157"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Left-Right Arrow 112"/>
          <p:cNvSpPr/>
          <p:nvPr/>
        </p:nvSpPr>
        <p:spPr bwMode="auto">
          <a:xfrm rot="3600000">
            <a:off x="6402447" y="4036021"/>
            <a:ext cx="2056161"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a:grpSpLocks noChangeAspect="1"/>
          </p:cNvGrpSpPr>
          <p:nvPr/>
        </p:nvGrpSpPr>
        <p:grpSpPr>
          <a:xfrm>
            <a:off x="10638529" y="4877664"/>
            <a:ext cx="469091" cy="932603"/>
            <a:chOff x="-1497013" y="809624"/>
            <a:chExt cx="1601789" cy="3184518"/>
          </a:xfrm>
          <a:solidFill>
            <a:srgbClr val="0078D7"/>
          </a:solidFill>
        </p:grpSpPr>
        <p:sp>
          <p:nvSpPr>
            <p:cNvPr id="53"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4"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5"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6"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7"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8"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9"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60"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61" name="Rectangle 437"/>
          <p:cNvSpPr>
            <a:spLocks noChangeArrowheads="1"/>
          </p:cNvSpPr>
          <p:nvPr/>
        </p:nvSpPr>
        <p:spPr bwMode="auto">
          <a:xfrm>
            <a:off x="10638371" y="5900242"/>
            <a:ext cx="505517"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PS</a:t>
            </a:r>
          </a:p>
        </p:txBody>
      </p:sp>
      <p:sp>
        <p:nvSpPr>
          <p:cNvPr id="62" name="Freeform 61"/>
          <p:cNvSpPr/>
          <p:nvPr/>
        </p:nvSpPr>
        <p:spPr bwMode="auto">
          <a:xfrm>
            <a:off x="6038865" y="2413200"/>
            <a:ext cx="781657" cy="675738"/>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608547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0468" y="1058862"/>
            <a:ext cx="11373923" cy="5168166"/>
          </a:xfrm>
        </p:spPr>
        <p:txBody>
          <a:bodyPr vert="horz" wrap="square" lIns="149217" tIns="93260" rIns="149217" bIns="93260" rtlCol="0">
            <a:spAutoFit/>
          </a:bodyPr>
          <a:lstStyle/>
          <a:p>
            <a:pPr defTabSz="932384">
              <a:spcBef>
                <a:spcPct val="20000"/>
              </a:spcBef>
              <a:buClr>
                <a:schemeClr val="tx2"/>
              </a:buClr>
            </a:pPr>
            <a:r>
              <a:rPr lang="en-US" sz="3600" dirty="0">
                <a:solidFill>
                  <a:schemeClr val="tx1"/>
                </a:solidFill>
                <a:latin typeface="+mj-lt"/>
              </a:rPr>
              <a:t>Pros:</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SQLDW can be paused when not processing data</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SQLDW can be scaled up when a DR happens to accommodate additional workload.</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If SQLDW is not an active reporting system, the ETL/ELT process may have a longer window for processing.</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Azure ML can directly interface with SQLDW -  removing the need to push files to WASB </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SQLDW can be an active parallel system.  Separating workload between APS and SQLDW.</a:t>
            </a:r>
          </a:p>
        </p:txBody>
      </p:sp>
      <p:sp>
        <p:nvSpPr>
          <p:cNvPr id="3" name="Title 2"/>
          <p:cNvSpPr>
            <a:spLocks noGrp="1"/>
          </p:cNvSpPr>
          <p:nvPr>
            <p:ph type="title"/>
          </p:nvPr>
        </p:nvSpPr>
        <p:spPr>
          <a:xfrm>
            <a:off x="462164" y="144462"/>
            <a:ext cx="11375536" cy="747897"/>
          </a:xfrm>
        </p:spPr>
        <p:txBody>
          <a:bodyPr/>
          <a:lstStyle/>
          <a:p>
            <a:r>
              <a:rPr lang="en-US" dirty="0"/>
              <a:t>Hybrid Dual Load DR - Pros/Cons</a:t>
            </a:r>
          </a:p>
        </p:txBody>
      </p:sp>
    </p:spTree>
    <p:extLst>
      <p:ext uri="{BB962C8B-B14F-4D97-AF65-F5344CB8AC3E}">
        <p14:creationId xmlns:p14="http://schemas.microsoft.com/office/powerpoint/2010/main" val="312954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62979" y="798363"/>
            <a:ext cx="11373923" cy="5709853"/>
          </a:xfrm>
        </p:spPr>
        <p:txBody>
          <a:bodyPr vert="horz" wrap="square" lIns="149217" tIns="93260" rIns="149217" bIns="93260" rtlCol="0">
            <a:spAutoFit/>
          </a:bodyPr>
          <a:lstStyle/>
          <a:p>
            <a:pPr defTabSz="932384">
              <a:spcBef>
                <a:spcPct val="20000"/>
              </a:spcBef>
              <a:buClr>
                <a:schemeClr val="tx2"/>
              </a:buClr>
            </a:pPr>
            <a:r>
              <a:rPr lang="en-US" sz="3600" dirty="0">
                <a:solidFill>
                  <a:schemeClr val="tx1"/>
                </a:solidFill>
                <a:latin typeface="+mj-lt"/>
              </a:rPr>
              <a:t>Cons:</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Differences in the 2 systems currently, testing of code on both systems is necessary.  </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Complexity of keeping DML/DDL/Security consistent between the two systems.</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AD authentication is only available currently on APS and not SQLDW. </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Cross DB joins is not supported in Azure SQLDW</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Some ETL processes may be slower due to the differences in the systems.</a:t>
            </a:r>
          </a:p>
          <a:p>
            <a:pPr marL="1045319" lvl="1" indent="-342768" defTabSz="932384">
              <a:spcBef>
                <a:spcPct val="20000"/>
              </a:spcBef>
              <a:buClr>
                <a:schemeClr val="tx2"/>
              </a:buClr>
              <a:buFont typeface="Wingdings" panose="05000000000000000000" pitchFamily="2" charset="2"/>
              <a:buChar char="§"/>
            </a:pPr>
            <a:r>
              <a:rPr lang="en-US" sz="3200" dirty="0">
                <a:solidFill>
                  <a:schemeClr val="tx1"/>
                </a:solidFill>
                <a:latin typeface="+mj-lt"/>
              </a:rPr>
              <a:t>Surrogate Keys may be different between the 2 systems.  </a:t>
            </a:r>
          </a:p>
        </p:txBody>
      </p:sp>
      <p:sp>
        <p:nvSpPr>
          <p:cNvPr id="3" name="Title 2"/>
          <p:cNvSpPr>
            <a:spLocks noGrp="1"/>
          </p:cNvSpPr>
          <p:nvPr>
            <p:ph type="title"/>
          </p:nvPr>
        </p:nvSpPr>
        <p:spPr/>
        <p:txBody>
          <a:bodyPr/>
          <a:lstStyle/>
          <a:p>
            <a:r>
              <a:rPr lang="en-US" dirty="0"/>
              <a:t>Hybrid DR - Pros/Cons</a:t>
            </a:r>
          </a:p>
        </p:txBody>
      </p:sp>
    </p:spTree>
    <p:extLst>
      <p:ext uri="{BB962C8B-B14F-4D97-AF65-F5344CB8AC3E}">
        <p14:creationId xmlns:p14="http://schemas.microsoft.com/office/powerpoint/2010/main" val="6582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nfidentiality Slide</a:t>
            </a:r>
          </a:p>
        </p:txBody>
      </p:sp>
    </p:spTree>
    <p:extLst>
      <p:ext uri="{BB962C8B-B14F-4D97-AF65-F5344CB8AC3E}">
        <p14:creationId xmlns:p14="http://schemas.microsoft.com/office/powerpoint/2010/main" val="24466998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643762" y="1904024"/>
            <a:ext cx="4035126" cy="2037022"/>
          </a:xfrm>
          <a:prstGeom prst="rect">
            <a:avLst/>
          </a:prstGeom>
          <a:solidFill>
            <a:srgbClr val="BAD80A">
              <a:alpha val="15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2040" kern="0" dirty="0">
                <a:solidFill>
                  <a:schemeClr val="bg1"/>
                </a:solidFill>
              </a:rPr>
              <a:t>Azure</a:t>
            </a:r>
          </a:p>
        </p:txBody>
      </p:sp>
      <p:sp>
        <p:nvSpPr>
          <p:cNvPr id="2" name="Title 1"/>
          <p:cNvSpPr>
            <a:spLocks noGrp="1"/>
          </p:cNvSpPr>
          <p:nvPr>
            <p:ph type="title"/>
          </p:nvPr>
        </p:nvSpPr>
        <p:spPr/>
        <p:txBody>
          <a:bodyPr/>
          <a:lstStyle/>
          <a:p>
            <a:r>
              <a:rPr lang="en-US" dirty="0">
                <a:solidFill>
                  <a:schemeClr val="tx1"/>
                </a:solidFill>
              </a:rPr>
              <a:t>Keeping Keys in Sync</a:t>
            </a:r>
          </a:p>
        </p:txBody>
      </p:sp>
      <p:sp>
        <p:nvSpPr>
          <p:cNvPr id="114" name="Left-Right Arrow 113"/>
          <p:cNvSpPr/>
          <p:nvPr/>
        </p:nvSpPr>
        <p:spPr bwMode="auto">
          <a:xfrm rot="18000000" flipH="1">
            <a:off x="6421226" y="4021152"/>
            <a:ext cx="2056161"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rot="3600000">
            <a:off x="6580534" y="3727566"/>
            <a:ext cx="1343815" cy="29684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7" name="Rectangle 437"/>
          <p:cNvSpPr>
            <a:spLocks noChangeArrowheads="1"/>
          </p:cNvSpPr>
          <p:nvPr/>
        </p:nvSpPr>
        <p:spPr bwMode="auto">
          <a:xfrm>
            <a:off x="5871195" y="1940291"/>
            <a:ext cx="1115339" cy="4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zure Blob </a:t>
            </a:r>
            <a:br>
              <a:rPr lang="en-US" altLang="en-US" sz="1397" kern="0" dirty="0">
                <a:solidFill>
                  <a:srgbClr val="505050"/>
                </a:solidFill>
                <a:latin typeface="+mn-lt"/>
                <a:cs typeface="Segoe UI Semilight" panose="020B0402040204020203" pitchFamily="34" charset="0"/>
              </a:rPr>
            </a:br>
            <a:r>
              <a:rPr lang="en-US" altLang="en-US" sz="1397" kern="0" dirty="0">
                <a:solidFill>
                  <a:srgbClr val="505050"/>
                </a:solidFill>
                <a:latin typeface="+mn-lt"/>
                <a:cs typeface="Segoe UI Semilight" panose="020B0402040204020203" pitchFamily="34" charset="0"/>
              </a:rPr>
              <a:t>Storage</a:t>
            </a:r>
          </a:p>
        </p:txBody>
      </p:sp>
      <p:sp>
        <p:nvSpPr>
          <p:cNvPr id="648" name="TextBox 647"/>
          <p:cNvSpPr txBox="1"/>
          <p:nvPr/>
        </p:nvSpPr>
        <p:spPr>
          <a:xfrm>
            <a:off x="5865223" y="6223731"/>
            <a:ext cx="1355672" cy="394734"/>
          </a:xfrm>
          <a:prstGeom prst="rect">
            <a:avLst/>
          </a:prstGeom>
          <a:noFill/>
        </p:spPr>
        <p:txBody>
          <a:bodyPr wrap="none" lIns="93260" tIns="0" rIns="93260" bIns="0" rtlCol="0">
            <a:spAutoFit/>
          </a:bodyPr>
          <a:lstStyle/>
          <a:p>
            <a:pPr algn="ctr" defTabSz="913330" fontAlgn="base">
              <a:lnSpc>
                <a:spcPct val="90000"/>
              </a:lnSpc>
              <a:spcBef>
                <a:spcPct val="0"/>
              </a:spcBef>
              <a:spcAft>
                <a:spcPts val="587"/>
              </a:spcAft>
              <a:defRPr/>
            </a:pPr>
            <a:r>
              <a:rPr lang="en-US" sz="1397" kern="0" dirty="0">
                <a:solidFill>
                  <a:srgbClr val="515151"/>
                </a:solidFill>
                <a:ea typeface="MS PGothic" charset="0"/>
                <a:cs typeface="Segoe UI" panose="020B0502040204020203" pitchFamily="34" charset="0"/>
              </a:rPr>
              <a:t>Azure SQL DB </a:t>
            </a:r>
            <a:br>
              <a:rPr lang="en-US" sz="1397" kern="0" dirty="0">
                <a:solidFill>
                  <a:srgbClr val="515151"/>
                </a:solidFill>
                <a:ea typeface="MS PGothic" charset="0"/>
                <a:cs typeface="Segoe UI" panose="020B0502040204020203" pitchFamily="34" charset="0"/>
              </a:rPr>
            </a:br>
            <a:r>
              <a:rPr lang="en-US" sz="1397" kern="0" dirty="0">
                <a:solidFill>
                  <a:srgbClr val="515151"/>
                </a:solidFill>
                <a:ea typeface="MS PGothic" charset="0"/>
                <a:cs typeface="Segoe UI" panose="020B0502040204020203" pitchFamily="34" charset="0"/>
              </a:rPr>
              <a:t>(Control DB)</a:t>
            </a:r>
          </a:p>
        </p:txBody>
      </p:sp>
      <p:sp>
        <p:nvSpPr>
          <p:cNvPr id="11" name="Rectangle 10"/>
          <p:cNvSpPr/>
          <p:nvPr/>
        </p:nvSpPr>
        <p:spPr bwMode="auto">
          <a:xfrm>
            <a:off x="7643762" y="4470998"/>
            <a:ext cx="4035126" cy="2037022"/>
          </a:xfrm>
          <a:prstGeom prst="rect">
            <a:avLst/>
          </a:prstGeom>
          <a:solidFill>
            <a:srgbClr val="B4A0FF">
              <a:alpha val="15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2040" kern="0" dirty="0">
                <a:solidFill>
                  <a:schemeClr val="bg1"/>
                </a:solidFill>
              </a:rPr>
              <a:t>On-Premises</a:t>
            </a:r>
          </a:p>
        </p:txBody>
      </p:sp>
      <p:sp>
        <p:nvSpPr>
          <p:cNvPr id="662" name="Rectangle 661"/>
          <p:cNvSpPr/>
          <p:nvPr/>
        </p:nvSpPr>
        <p:spPr bwMode="auto">
          <a:xfrm>
            <a:off x="1444513" y="3438197"/>
            <a:ext cx="2036724" cy="1005697"/>
          </a:xfrm>
          <a:prstGeom prst="rect">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grpSp>
        <p:nvGrpSpPr>
          <p:cNvPr id="12" name="Group 11"/>
          <p:cNvGrpSpPr/>
          <p:nvPr/>
        </p:nvGrpSpPr>
        <p:grpSpPr>
          <a:xfrm>
            <a:off x="6093727" y="5219492"/>
            <a:ext cx="898664" cy="957155"/>
            <a:chOff x="6039248" y="5117614"/>
            <a:chExt cx="881123" cy="938472"/>
          </a:xfrm>
        </p:grpSpPr>
        <p:sp>
          <p:nvSpPr>
            <p:cNvPr id="1452" name="Rectangle 442"/>
            <p:cNvSpPr>
              <a:spLocks noChangeArrowheads="1"/>
            </p:cNvSpPr>
            <p:nvPr/>
          </p:nvSpPr>
          <p:spPr bwMode="auto">
            <a:xfrm>
              <a:off x="6469616" y="5817418"/>
              <a:ext cx="322204" cy="16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71"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PaaS</a:t>
              </a:r>
              <a:endParaRPr lang="en-US" altLang="en-US" sz="1428"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5" name="Freeform 64"/>
            <p:cNvSpPr>
              <a:spLocks noChangeAspect="1"/>
            </p:cNvSpPr>
            <p:nvPr/>
          </p:nvSpPr>
          <p:spPr bwMode="auto">
            <a:xfrm>
              <a:off x="6039248" y="5117614"/>
              <a:ext cx="881123" cy="938472"/>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chemeClr val="tx1"/>
                </a:solidFill>
                <a:latin typeface="Segoe UI Light"/>
                <a:ea typeface="Segoe UI" pitchFamily="34" charset="0"/>
                <a:cs typeface="Segoe UI" pitchFamily="34" charset="0"/>
              </a:endParaRPr>
            </a:p>
          </p:txBody>
        </p:sp>
      </p:grpSp>
      <p:grpSp>
        <p:nvGrpSpPr>
          <p:cNvPr id="10" name="Group 9"/>
          <p:cNvGrpSpPr/>
          <p:nvPr/>
        </p:nvGrpSpPr>
        <p:grpSpPr>
          <a:xfrm rot="16200000">
            <a:off x="-619842" y="3646816"/>
            <a:ext cx="2570026" cy="629942"/>
            <a:chOff x="629718" y="2907440"/>
            <a:chExt cx="2519862" cy="617646"/>
          </a:xfrm>
        </p:grpSpPr>
        <p:sp>
          <p:nvSpPr>
            <p:cNvPr id="9" name="TextBox 8"/>
            <p:cNvSpPr txBox="1"/>
            <p:nvPr/>
          </p:nvSpPr>
          <p:spPr>
            <a:xfrm>
              <a:off x="629718" y="2907440"/>
              <a:ext cx="2519862" cy="578564"/>
            </a:xfrm>
            <a:prstGeom prst="rect">
              <a:avLst/>
            </a:prstGeom>
            <a:solidFill>
              <a:srgbClr val="0078D7"/>
            </a:solidFill>
          </p:spPr>
          <p:txBody>
            <a:bodyPr wrap="square" lIns="746083" tIns="149217" rIns="186521" bIns="149217" rtlCol="0">
              <a:spAutoFit/>
            </a:bodyPr>
            <a:lstStyle/>
            <a:p>
              <a:pPr defTabSz="932597">
                <a:lnSpc>
                  <a:spcPct val="150000"/>
                </a:lnSpc>
              </a:pPr>
              <a:r>
                <a:rPr lang="en-US" sz="1428" b="1" kern="0" dirty="0">
                  <a:solidFill>
                    <a:schemeClr val="bg1"/>
                  </a:solidFill>
                </a:rPr>
                <a:t>DATA SOURCES</a:t>
              </a:r>
            </a:p>
          </p:txBody>
        </p:sp>
        <p:grpSp>
          <p:nvGrpSpPr>
            <p:cNvPr id="6" name="Group 5"/>
            <p:cNvGrpSpPr/>
            <p:nvPr/>
          </p:nvGrpSpPr>
          <p:grpSpPr>
            <a:xfrm>
              <a:off x="696878" y="3025247"/>
              <a:ext cx="521594" cy="329496"/>
              <a:chOff x="714257" y="1970879"/>
              <a:chExt cx="610084" cy="385396"/>
            </a:xfrm>
          </p:grpSpPr>
          <p:pic>
            <p:nvPicPr>
              <p:cNvPr id="620" name="Picture 619"/>
              <p:cNvPicPr>
                <a:picLocks noChangeAspect="1"/>
              </p:cNvPicPr>
              <p:nvPr/>
            </p:nvPicPr>
            <p:blipFill rotWithShape="1">
              <a:blip r:embed="rId3"/>
              <a:srcRect r="4671" b="5557"/>
              <a:stretch/>
            </p:blipFill>
            <p:spPr>
              <a:xfrm>
                <a:off x="749616" y="2010522"/>
                <a:ext cx="542146" cy="308135"/>
              </a:xfrm>
              <a:prstGeom prst="rect">
                <a:avLst/>
              </a:prstGeom>
              <a:noFill/>
              <a:ln w="9525">
                <a:solidFill>
                  <a:srgbClr val="D2D2D2">
                    <a:lumMod val="50000"/>
                  </a:srgbClr>
                </a:solidFill>
              </a:ln>
            </p:spPr>
          </p:pic>
          <p:sp>
            <p:nvSpPr>
              <p:cNvPr id="73" name="Freeform 29"/>
              <p:cNvSpPr>
                <a:spLocks noChangeAspect="1" noEditPoints="1"/>
              </p:cNvSpPr>
              <p:nvPr/>
            </p:nvSpPr>
            <p:spPr bwMode="black">
              <a:xfrm>
                <a:off x="714257" y="1970879"/>
                <a:ext cx="610084" cy="385396"/>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525252"/>
              </a:solidFill>
              <a:ln>
                <a:noFill/>
              </a:ln>
            </p:spPr>
            <p:txBody>
              <a:bodyPr vert="horz" wrap="square" lIns="91427" tIns="45713" rIns="91427" bIns="45713" numCol="1" anchor="t" anchorCtr="0" compatLnSpc="1">
                <a:prstTxWarp prst="textNoShape">
                  <a:avLst/>
                </a:prstTxWarp>
              </a:bodyPr>
              <a:lstStyle/>
              <a:p>
                <a:pPr defTabSz="932563"/>
                <a:endParaRPr lang="en-US" kern="0" dirty="0">
                  <a:solidFill>
                    <a:srgbClr val="FFFFFF"/>
                  </a:solidFill>
                  <a:latin typeface="Segoe UI"/>
                </a:endParaRPr>
              </a:p>
            </p:txBody>
          </p:sp>
        </p:grpSp>
        <p:grpSp>
          <p:nvGrpSpPr>
            <p:cNvPr id="7" name="Group 6"/>
            <p:cNvGrpSpPr/>
            <p:nvPr/>
          </p:nvGrpSpPr>
          <p:grpSpPr>
            <a:xfrm>
              <a:off x="1145477" y="3504877"/>
              <a:ext cx="63295" cy="20209"/>
              <a:chOff x="1305388" y="3521053"/>
              <a:chExt cx="63295" cy="20209"/>
            </a:xfrm>
          </p:grpSpPr>
          <p:sp>
            <p:nvSpPr>
              <p:cNvPr id="98" name="Multiply 97"/>
              <p:cNvSpPr/>
              <p:nvPr/>
            </p:nvSpPr>
            <p:spPr>
              <a:xfrm>
                <a:off x="1348474" y="3521053"/>
                <a:ext cx="20209" cy="20209"/>
              </a:xfrm>
              <a:prstGeom prst="mathMultiply">
                <a:avLst>
                  <a:gd name="adj1" fmla="val 12626"/>
                </a:avLst>
              </a:prstGeom>
              <a:solidFill>
                <a:srgbClr val="FFFFFF"/>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99" name="Rectangle 98"/>
              <p:cNvSpPr/>
              <p:nvPr/>
            </p:nvSpPr>
            <p:spPr>
              <a:xfrm>
                <a:off x="1305388" y="3533622"/>
                <a:ext cx="13194" cy="3563"/>
              </a:xfrm>
              <a:prstGeom prst="rect">
                <a:avLst/>
              </a:prstGeom>
              <a:solidFill>
                <a:srgbClr val="FFFFFF"/>
              </a:solidFill>
              <a:ln w="10795"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101" name="Freeform 100"/>
              <p:cNvSpPr/>
              <p:nvPr/>
            </p:nvSpPr>
            <p:spPr>
              <a:xfrm>
                <a:off x="1326203" y="3523759"/>
                <a:ext cx="16516" cy="13427"/>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algn="ctr" defTabSz="932597">
                  <a:defRPr/>
                </a:pPr>
                <a:endParaRPr lang="en-US" sz="1836" kern="0">
                  <a:solidFill>
                    <a:srgbClr val="FFFFFF"/>
                  </a:solidFill>
                  <a:latin typeface="Segoe UI"/>
                </a:endParaRPr>
              </a:p>
            </p:txBody>
          </p:sp>
        </p:grpSp>
      </p:grpSp>
      <p:sp>
        <p:nvSpPr>
          <p:cNvPr id="106" name="Rectangle 105"/>
          <p:cNvSpPr/>
          <p:nvPr/>
        </p:nvSpPr>
        <p:spPr bwMode="auto">
          <a:xfrm>
            <a:off x="8057119" y="4877664"/>
            <a:ext cx="2036724" cy="1005697"/>
          </a:xfrm>
          <a:prstGeom prst="rect">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sp>
        <p:nvSpPr>
          <p:cNvPr id="107" name="Rectangle 106"/>
          <p:cNvSpPr/>
          <p:nvPr/>
        </p:nvSpPr>
        <p:spPr bwMode="auto">
          <a:xfrm>
            <a:off x="8057119" y="2415524"/>
            <a:ext cx="2036724" cy="1005697"/>
          </a:xfrm>
          <a:prstGeom prst="rect">
            <a:avLst/>
          </a:prstGeom>
          <a:solidFill>
            <a:srgbClr val="107C1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defRPr/>
            </a:pPr>
            <a:r>
              <a:rPr lang="en-US" altLang="en-US" sz="1601" kern="0" dirty="0">
                <a:solidFill>
                  <a:srgbClr val="FFFFFF"/>
                </a:solidFill>
                <a:latin typeface="Segoe UI Semilight" panose="020B0402040204020203" pitchFamily="34" charset="0"/>
                <a:cs typeface="Segoe UI Semilight" panose="020B0402040204020203" pitchFamily="34" charset="0"/>
              </a:rPr>
              <a:t>SQL Server </a:t>
            </a:r>
            <a:br>
              <a:rPr lang="en-US" altLang="en-US" sz="1601" kern="0" dirty="0">
                <a:solidFill>
                  <a:srgbClr val="FFFFFF"/>
                </a:solidFill>
                <a:latin typeface="Segoe UI Semilight" panose="020B0402040204020203" pitchFamily="34" charset="0"/>
                <a:cs typeface="Segoe UI Semilight" panose="020B0402040204020203" pitchFamily="34" charset="0"/>
              </a:rPr>
            </a:br>
            <a:r>
              <a:rPr lang="en-US" altLang="en-US" sz="1601" kern="0" dirty="0">
                <a:solidFill>
                  <a:srgbClr val="FFFFFF"/>
                </a:solidFill>
                <a:latin typeface="Segoe UI Semilight" panose="020B0402040204020203" pitchFamily="34" charset="0"/>
                <a:cs typeface="Segoe UI Semilight" panose="020B0402040204020203" pitchFamily="34" charset="0"/>
              </a:rPr>
              <a:t>Integration Services</a:t>
            </a:r>
          </a:p>
        </p:txBody>
      </p:sp>
      <p:sp>
        <p:nvSpPr>
          <p:cNvPr id="103" name="Freeform 102"/>
          <p:cNvSpPr>
            <a:spLocks noChangeAspect="1"/>
          </p:cNvSpPr>
          <p:nvPr/>
        </p:nvSpPr>
        <p:spPr bwMode="auto">
          <a:xfrm>
            <a:off x="7760621" y="2098458"/>
            <a:ext cx="611061" cy="38695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IN" sz="1122"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IaaS</a:t>
            </a:r>
          </a:p>
        </p:txBody>
      </p:sp>
      <p:grpSp>
        <p:nvGrpSpPr>
          <p:cNvPr id="16" name="Group 15"/>
          <p:cNvGrpSpPr/>
          <p:nvPr/>
        </p:nvGrpSpPr>
        <p:grpSpPr>
          <a:xfrm>
            <a:off x="10172969" y="2123629"/>
            <a:ext cx="1269944" cy="1195111"/>
            <a:chOff x="9973540" y="1992264"/>
            <a:chExt cx="1245156" cy="1171784"/>
          </a:xfrm>
        </p:grpSpPr>
        <p:sp>
          <p:nvSpPr>
            <p:cNvPr id="104" name="Freeform 103"/>
            <p:cNvSpPr>
              <a:spLocks noChangeAspect="1"/>
            </p:cNvSpPr>
            <p:nvPr/>
          </p:nvSpPr>
          <p:spPr bwMode="auto">
            <a:xfrm>
              <a:off x="9973540" y="1992264"/>
              <a:ext cx="599134" cy="37940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IN" sz="1122"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PaaS</a:t>
              </a:r>
            </a:p>
          </p:txBody>
        </p:sp>
        <p:sp>
          <p:nvSpPr>
            <p:cNvPr id="14" name="Rectangle 13"/>
            <p:cNvSpPr/>
            <p:nvPr/>
          </p:nvSpPr>
          <p:spPr bwMode="auto">
            <a:xfrm rot="3600000">
              <a:off x="10433467" y="2172185"/>
              <a:ext cx="82033" cy="325453"/>
            </a:xfrm>
            <a:prstGeom prst="rect">
              <a:avLst/>
            </a:prstGeom>
            <a:solidFill>
              <a:srgbClr val="E4EB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0855413" y="2845018"/>
              <a:ext cx="322910" cy="156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69"/>
            <p:cNvSpPr/>
            <p:nvPr/>
          </p:nvSpPr>
          <p:spPr bwMode="auto">
            <a:xfrm flipH="1">
              <a:off x="10292159" y="2278167"/>
              <a:ext cx="926537" cy="88588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grpSp>
      <p:sp>
        <p:nvSpPr>
          <p:cNvPr id="105" name="Rectangle 437"/>
          <p:cNvSpPr>
            <a:spLocks noChangeArrowheads="1"/>
          </p:cNvSpPr>
          <p:nvPr/>
        </p:nvSpPr>
        <p:spPr bwMode="auto">
          <a:xfrm>
            <a:off x="10244798" y="3374441"/>
            <a:ext cx="1370386"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zure SQL DW</a:t>
            </a:r>
          </a:p>
        </p:txBody>
      </p:sp>
      <p:sp>
        <p:nvSpPr>
          <p:cNvPr id="17" name="Right Arrow 16"/>
          <p:cNvSpPr/>
          <p:nvPr/>
        </p:nvSpPr>
        <p:spPr bwMode="auto">
          <a:xfrm>
            <a:off x="1033407" y="3792624"/>
            <a:ext cx="355277" cy="296840"/>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Bent Arrow 17"/>
          <p:cNvSpPr/>
          <p:nvPr/>
        </p:nvSpPr>
        <p:spPr bwMode="auto">
          <a:xfrm rot="5400000">
            <a:off x="4596291" y="3162639"/>
            <a:ext cx="877544" cy="3107653"/>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Bent Arrow 109"/>
          <p:cNvSpPr/>
          <p:nvPr/>
        </p:nvSpPr>
        <p:spPr bwMode="auto">
          <a:xfrm rot="16200000" flipV="1">
            <a:off x="4596291" y="2085424"/>
            <a:ext cx="877544" cy="3107652"/>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Left-Right Arrow 110"/>
          <p:cNvSpPr/>
          <p:nvPr/>
        </p:nvSpPr>
        <p:spPr bwMode="auto">
          <a:xfrm>
            <a:off x="6893067" y="5489509"/>
            <a:ext cx="1094157"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Left-Right Arrow 111"/>
          <p:cNvSpPr/>
          <p:nvPr/>
        </p:nvSpPr>
        <p:spPr bwMode="auto">
          <a:xfrm>
            <a:off x="6858669" y="2566918"/>
            <a:ext cx="1094157"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Left-Right Arrow 112"/>
          <p:cNvSpPr/>
          <p:nvPr/>
        </p:nvSpPr>
        <p:spPr bwMode="auto">
          <a:xfrm rot="3600000">
            <a:off x="6402447" y="4036021"/>
            <a:ext cx="2056161" cy="296840"/>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a:grpSpLocks noChangeAspect="1"/>
          </p:cNvGrpSpPr>
          <p:nvPr/>
        </p:nvGrpSpPr>
        <p:grpSpPr>
          <a:xfrm>
            <a:off x="10638529" y="4877664"/>
            <a:ext cx="469091" cy="932603"/>
            <a:chOff x="-1497013" y="809624"/>
            <a:chExt cx="1601789" cy="3184518"/>
          </a:xfrm>
          <a:solidFill>
            <a:srgbClr val="0078D7"/>
          </a:solidFill>
        </p:grpSpPr>
        <p:sp>
          <p:nvSpPr>
            <p:cNvPr id="53"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4"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5"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6"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7"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8"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9"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60"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61" name="Rectangle 437"/>
          <p:cNvSpPr>
            <a:spLocks noChangeArrowheads="1"/>
          </p:cNvSpPr>
          <p:nvPr/>
        </p:nvSpPr>
        <p:spPr bwMode="auto">
          <a:xfrm>
            <a:off x="10638371" y="5900242"/>
            <a:ext cx="505517"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60" tIns="0" rIns="9326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32597">
              <a:defRPr/>
            </a:pPr>
            <a:r>
              <a:rPr lang="en-US" altLang="en-US" sz="1397" kern="0" dirty="0">
                <a:solidFill>
                  <a:srgbClr val="505050"/>
                </a:solidFill>
                <a:latin typeface="+mn-lt"/>
                <a:cs typeface="Segoe UI Semilight" panose="020B0402040204020203" pitchFamily="34" charset="0"/>
              </a:rPr>
              <a:t>APS</a:t>
            </a:r>
          </a:p>
        </p:txBody>
      </p:sp>
      <p:sp>
        <p:nvSpPr>
          <p:cNvPr id="62" name="Freeform 61"/>
          <p:cNvSpPr/>
          <p:nvPr/>
        </p:nvSpPr>
        <p:spPr bwMode="auto">
          <a:xfrm>
            <a:off x="6038865" y="2413200"/>
            <a:ext cx="781657" cy="675738"/>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4718395" y="3434075"/>
            <a:ext cx="162818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Facts</a:t>
            </a:r>
          </a:p>
        </p:txBody>
      </p:sp>
      <p:sp>
        <p:nvSpPr>
          <p:cNvPr id="64" name="Rectangle 442"/>
          <p:cNvSpPr>
            <a:spLocks noChangeArrowheads="1"/>
          </p:cNvSpPr>
          <p:nvPr/>
        </p:nvSpPr>
        <p:spPr bwMode="auto">
          <a:xfrm>
            <a:off x="4465637" y="2785380"/>
            <a:ext cx="37350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IaaS</a:t>
            </a:r>
          </a:p>
        </p:txBody>
      </p:sp>
      <p:sp>
        <p:nvSpPr>
          <p:cNvPr id="66" name="Freeform 65"/>
          <p:cNvSpPr>
            <a:spLocks noChangeAspect="1"/>
          </p:cNvSpPr>
          <p:nvPr/>
        </p:nvSpPr>
        <p:spPr bwMode="auto">
          <a:xfrm>
            <a:off x="3950030" y="1399270"/>
            <a:ext cx="898664" cy="957155"/>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chemeClr val="tx1"/>
              </a:solidFill>
              <a:latin typeface="Segoe UI Light"/>
              <a:ea typeface="Segoe UI" pitchFamily="34" charset="0"/>
              <a:cs typeface="Segoe UI" pitchFamily="34" charset="0"/>
            </a:endParaRPr>
          </a:p>
        </p:txBody>
      </p:sp>
      <p:sp>
        <p:nvSpPr>
          <p:cNvPr id="69" name="Freeform 68"/>
          <p:cNvSpPr/>
          <p:nvPr/>
        </p:nvSpPr>
        <p:spPr bwMode="auto">
          <a:xfrm flipH="1">
            <a:off x="3013451" y="5318021"/>
            <a:ext cx="1491775" cy="1365322"/>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sp>
        <p:nvSpPr>
          <p:cNvPr id="4" name="Rectangle 3"/>
          <p:cNvSpPr/>
          <p:nvPr/>
        </p:nvSpPr>
        <p:spPr bwMode="auto">
          <a:xfrm>
            <a:off x="2636837" y="5252923"/>
            <a:ext cx="1331337" cy="606539"/>
          </a:xfrm>
          <a:prstGeom prst="rect">
            <a:avLst/>
          </a:prstGeom>
          <a:solidFill>
            <a:schemeClr val="tx1"/>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ectangle 73"/>
          <p:cNvSpPr/>
          <p:nvPr/>
        </p:nvSpPr>
        <p:spPr bwMode="auto">
          <a:xfrm>
            <a:off x="2484437" y="5633923"/>
            <a:ext cx="1331337" cy="606539"/>
          </a:xfrm>
          <a:prstGeom prst="rect">
            <a:avLst/>
          </a:prstGeom>
          <a:solidFill>
            <a:schemeClr val="tx1"/>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5" name="Left-Right Arrow 74"/>
          <p:cNvSpPr/>
          <p:nvPr/>
        </p:nvSpPr>
        <p:spPr bwMode="auto">
          <a:xfrm rot="16200000">
            <a:off x="2434507" y="3883804"/>
            <a:ext cx="3453507" cy="351582"/>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solidFill>
                <a:schemeClr val="bg1"/>
              </a:solidFill>
              <a:ea typeface="Segoe UI" pitchFamily="34" charset="0"/>
              <a:cs typeface="Segoe UI" pitchFamily="34" charset="0"/>
            </a:endParaRPr>
          </a:p>
        </p:txBody>
      </p:sp>
      <p:sp>
        <p:nvSpPr>
          <p:cNvPr id="5" name="TextBox 4"/>
          <p:cNvSpPr txBox="1"/>
          <p:nvPr/>
        </p:nvSpPr>
        <p:spPr>
          <a:xfrm rot="16200000">
            <a:off x="2962842" y="3468158"/>
            <a:ext cx="216906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Replication/ Always On</a:t>
            </a:r>
          </a:p>
        </p:txBody>
      </p:sp>
      <p:sp>
        <p:nvSpPr>
          <p:cNvPr id="76" name="Right Arrow 75"/>
          <p:cNvSpPr/>
          <p:nvPr/>
        </p:nvSpPr>
        <p:spPr bwMode="auto">
          <a:xfrm rot="2505860">
            <a:off x="2168439" y="5012551"/>
            <a:ext cx="1842361" cy="349246"/>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rot="2565598">
            <a:off x="2695773" y="4702324"/>
            <a:ext cx="11127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ims</a:t>
            </a:r>
          </a:p>
        </p:txBody>
      </p:sp>
      <p:sp>
        <p:nvSpPr>
          <p:cNvPr id="78" name="TextBox 77"/>
          <p:cNvSpPr txBox="1"/>
          <p:nvPr/>
        </p:nvSpPr>
        <p:spPr>
          <a:xfrm rot="19309507">
            <a:off x="2290714" y="2200435"/>
            <a:ext cx="129608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ims</a:t>
            </a:r>
          </a:p>
        </p:txBody>
      </p:sp>
      <p:sp>
        <p:nvSpPr>
          <p:cNvPr id="80" name="Right Arrow 79"/>
          <p:cNvSpPr/>
          <p:nvPr/>
        </p:nvSpPr>
        <p:spPr bwMode="auto">
          <a:xfrm rot="19344974">
            <a:off x="2194250" y="2579872"/>
            <a:ext cx="1847019" cy="328277"/>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Bent Arrow 81"/>
          <p:cNvSpPr/>
          <p:nvPr/>
        </p:nvSpPr>
        <p:spPr bwMode="auto">
          <a:xfrm rot="5400000">
            <a:off x="6447824" y="-230946"/>
            <a:ext cx="877544" cy="4454484"/>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Bent Arrow 84"/>
          <p:cNvSpPr/>
          <p:nvPr/>
        </p:nvSpPr>
        <p:spPr bwMode="auto">
          <a:xfrm rot="16200000" flipV="1">
            <a:off x="6157042" y="4334515"/>
            <a:ext cx="877544" cy="4121646"/>
          </a:xfrm>
          <a:prstGeom prst="bentArrow">
            <a:avLst>
              <a:gd name="adj1" fmla="val 19741"/>
              <a:gd name="adj2" fmla="val 19728"/>
              <a:gd name="adj3" fmla="val 22401"/>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552032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reeform 57"/>
          <p:cNvSpPr/>
          <p:nvPr/>
        </p:nvSpPr>
        <p:spPr bwMode="auto">
          <a:xfrm>
            <a:off x="7308100" y="3695737"/>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Normal activity </a:t>
            </a:r>
          </a:p>
        </p:txBody>
      </p:sp>
      <p:sp>
        <p:nvSpPr>
          <p:cNvPr id="2" name="Text Placeholder 1"/>
          <p:cNvSpPr>
            <a:spLocks noGrp="1"/>
          </p:cNvSpPr>
          <p:nvPr>
            <p:ph type="body" sz="quarter" idx="10"/>
          </p:nvPr>
        </p:nvSpPr>
        <p:spPr/>
        <p:txBody>
          <a:bodyPr/>
          <a:lstStyle/>
          <a:p>
            <a:endParaRPr lang="en-US"/>
          </a:p>
        </p:txBody>
      </p:sp>
      <p:sp>
        <p:nvSpPr>
          <p:cNvPr id="4" name="Rectangle 3"/>
          <p:cNvSpPr/>
          <p:nvPr/>
        </p:nvSpPr>
        <p:spPr>
          <a:xfrm>
            <a:off x="5091147" y="4718372"/>
            <a:ext cx="5048348"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5" name="Rectangle 4"/>
          <p:cNvSpPr/>
          <p:nvPr/>
        </p:nvSpPr>
        <p:spPr>
          <a:xfrm>
            <a:off x="5091147" y="1468000"/>
            <a:ext cx="5048348" cy="1995325"/>
          </a:xfrm>
          <a:prstGeom prst="rect">
            <a:avLst/>
          </a:prstGeom>
          <a:solidFill>
            <a:srgbClr val="B4A0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cxnSp>
        <p:nvCxnSpPr>
          <p:cNvPr id="6" name="Straight Connector 5"/>
          <p:cNvCxnSpPr/>
          <p:nvPr/>
        </p:nvCxnSpPr>
        <p:spPr>
          <a:xfrm flipV="1">
            <a:off x="4546951" y="3519622"/>
            <a:ext cx="7740608"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1" name="Freeform 60"/>
          <p:cNvSpPr>
            <a:spLocks noChangeAspect="1"/>
          </p:cNvSpPr>
          <p:nvPr/>
        </p:nvSpPr>
        <p:spPr bwMode="auto">
          <a:xfrm>
            <a:off x="4067969" y="4698441"/>
            <a:ext cx="907126" cy="57444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19" name="TextBox 18"/>
          <p:cNvSpPr txBox="1"/>
          <p:nvPr/>
        </p:nvSpPr>
        <p:spPr>
          <a:xfrm>
            <a:off x="5188605" y="2491329"/>
            <a:ext cx="1056322" cy="276871"/>
          </a:xfrm>
          <a:prstGeom prst="rect">
            <a:avLst/>
          </a:prstGeom>
          <a:noFill/>
        </p:spPr>
        <p:txBody>
          <a:bodyPr wrap="square" rtlCol="0">
            <a:spAutoFit/>
          </a:bodyPr>
          <a:lstStyle/>
          <a:p>
            <a:pPr algn="ctr" defTabSz="932597"/>
            <a:r>
              <a:rPr lang="en-US" sz="1199" kern="0" dirty="0">
                <a:solidFill>
                  <a:sysClr val="windowText" lastClr="000000"/>
                </a:solidFill>
              </a:rPr>
              <a:t>Extract (SSIS)</a:t>
            </a:r>
          </a:p>
        </p:txBody>
      </p:sp>
      <p:sp>
        <p:nvSpPr>
          <p:cNvPr id="20" name="TextBox 19"/>
          <p:cNvSpPr txBox="1"/>
          <p:nvPr/>
        </p:nvSpPr>
        <p:spPr>
          <a:xfrm>
            <a:off x="5164983" y="5892466"/>
            <a:ext cx="1103567" cy="470593"/>
          </a:xfrm>
          <a:prstGeom prst="rect">
            <a:avLst/>
          </a:prstGeom>
          <a:noFill/>
        </p:spPr>
        <p:txBody>
          <a:bodyPr wrap="square" rtlCol="0">
            <a:spAutoFit/>
          </a:bodyPr>
          <a:lstStyle/>
          <a:p>
            <a:pPr algn="ctr" defTabSz="932597"/>
            <a:r>
              <a:rPr lang="en-US" sz="1199" kern="0" dirty="0">
                <a:solidFill>
                  <a:sysClr val="windowText" lastClr="000000"/>
                </a:solidFill>
              </a:rPr>
              <a:t>Extract (SSIS)</a:t>
            </a:r>
          </a:p>
          <a:p>
            <a:pPr algn="ctr" defTabSz="932597"/>
            <a:r>
              <a:rPr lang="en-US" sz="1199" kern="0" dirty="0">
                <a:solidFill>
                  <a:sysClr val="windowText" lastClr="000000"/>
                </a:solidFill>
              </a:rPr>
              <a:t>Not Active</a:t>
            </a:r>
          </a:p>
        </p:txBody>
      </p:sp>
      <p:sp>
        <p:nvSpPr>
          <p:cNvPr id="21" name="TextBox 20"/>
          <p:cNvSpPr txBox="1"/>
          <p:nvPr/>
        </p:nvSpPr>
        <p:spPr>
          <a:xfrm>
            <a:off x="7516335" y="5892466"/>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30" name="TextBox 29"/>
          <p:cNvSpPr txBox="1"/>
          <p:nvPr/>
        </p:nvSpPr>
        <p:spPr>
          <a:xfrm>
            <a:off x="384341" y="1887720"/>
            <a:ext cx="3187289" cy="3167810"/>
          </a:xfrm>
          <a:prstGeom prst="rect">
            <a:avLst/>
          </a:prstGeom>
          <a:noFill/>
        </p:spPr>
        <p:txBody>
          <a:bodyPr wrap="square" rtlCol="0">
            <a:spAutoFit/>
          </a:bodyPr>
          <a:lstStyle/>
          <a:p>
            <a:pPr defTabSz="932597"/>
            <a:r>
              <a:rPr lang="en-US" sz="2448" kern="0" dirty="0">
                <a:solidFill>
                  <a:srgbClr val="0078D7"/>
                </a:solidFill>
                <a:latin typeface="Segoe UI Semibold" panose="020B0702040204020203" pitchFamily="34" charset="0"/>
                <a:cs typeface="Segoe UI Semibold" panose="020B0702040204020203" pitchFamily="34" charset="0"/>
              </a:rPr>
              <a:t>Step 1:</a:t>
            </a:r>
            <a:r>
              <a:rPr lang="en-US" sz="2448" kern="0" dirty="0">
                <a:solidFill>
                  <a:sysClr val="windowText" lastClr="000000"/>
                </a:solidFill>
                <a:latin typeface="Segoe UI Semibold" panose="020B0702040204020203" pitchFamily="34" charset="0"/>
                <a:cs typeface="Segoe UI Semibold" panose="020B0702040204020203" pitchFamily="34" charset="0"/>
              </a:rPr>
              <a:t> </a:t>
            </a:r>
            <a:r>
              <a:rPr lang="en-US" sz="2448" kern="0" dirty="0">
                <a:solidFill>
                  <a:sysClr val="windowText" lastClr="000000"/>
                </a:solidFill>
              </a:rPr>
              <a:t>Source system extract</a:t>
            </a:r>
          </a:p>
          <a:p>
            <a:pPr defTabSz="932597"/>
            <a:endParaRPr lang="en-US" sz="2448" kern="0" dirty="0">
              <a:solidFill>
                <a:sysClr val="windowText" lastClr="000000"/>
              </a:solidFill>
            </a:endParaRPr>
          </a:p>
          <a:p>
            <a:pPr defTabSz="932597"/>
            <a:r>
              <a:rPr lang="en-US" sz="2448" kern="0" dirty="0">
                <a:solidFill>
                  <a:srgbClr val="0078D7"/>
                </a:solidFill>
                <a:latin typeface="Segoe UI Semibold" panose="020B0702040204020203" pitchFamily="34" charset="0"/>
                <a:cs typeface="Segoe UI Semibold" panose="020B0702040204020203" pitchFamily="34" charset="0"/>
              </a:rPr>
              <a:t>Step 2: </a:t>
            </a:r>
            <a:r>
              <a:rPr lang="en-US" sz="2448" kern="0" dirty="0">
                <a:solidFill>
                  <a:sysClr val="windowText" lastClr="000000"/>
                </a:solidFill>
              </a:rPr>
              <a:t>APS &amp; Azure SQL DW load </a:t>
            </a:r>
          </a:p>
          <a:p>
            <a:pPr defTabSz="932597"/>
            <a:endParaRPr lang="en-US" sz="2448" kern="0" dirty="0">
              <a:solidFill>
                <a:sysClr val="windowText" lastClr="000000"/>
              </a:solidFill>
            </a:endParaRPr>
          </a:p>
          <a:p>
            <a:pPr defTabSz="932597"/>
            <a:r>
              <a:rPr lang="en-US" sz="2448" kern="0" dirty="0">
                <a:solidFill>
                  <a:srgbClr val="0078D7"/>
                </a:solidFill>
                <a:latin typeface="Segoe UI Semibold" panose="020B0702040204020203" pitchFamily="34" charset="0"/>
                <a:cs typeface="Segoe UI Semibold" panose="020B0702040204020203" pitchFamily="34" charset="0"/>
              </a:rPr>
              <a:t>Step 3: </a:t>
            </a:r>
            <a:r>
              <a:rPr lang="en-US" sz="2448" kern="0" dirty="0">
                <a:solidFill>
                  <a:sysClr val="windowText" lastClr="000000"/>
                </a:solidFill>
              </a:rPr>
              <a:t>Verification/</a:t>
            </a:r>
            <a:br>
              <a:rPr lang="en-US" sz="2448" kern="0" dirty="0">
                <a:solidFill>
                  <a:sysClr val="windowText" lastClr="000000"/>
                </a:solidFill>
              </a:rPr>
            </a:br>
            <a:r>
              <a:rPr lang="en-US" sz="2448" kern="0" dirty="0">
                <a:solidFill>
                  <a:sysClr val="windowText" lastClr="000000"/>
                </a:solidFill>
              </a:rPr>
              <a:t>notification/clean-up</a:t>
            </a:r>
          </a:p>
        </p:txBody>
      </p:sp>
      <p:sp>
        <p:nvSpPr>
          <p:cNvPr id="37" name="TextBox 36"/>
          <p:cNvSpPr txBox="1"/>
          <p:nvPr/>
        </p:nvSpPr>
        <p:spPr>
          <a:xfrm>
            <a:off x="10737618" y="3018636"/>
            <a:ext cx="1215925"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PS</a:t>
            </a:r>
          </a:p>
        </p:txBody>
      </p:sp>
      <p:sp>
        <p:nvSpPr>
          <p:cNvPr id="46" name="TextBox 45"/>
          <p:cNvSpPr txBox="1"/>
          <p:nvPr/>
        </p:nvSpPr>
        <p:spPr>
          <a:xfrm>
            <a:off x="10447175" y="6186339"/>
            <a:ext cx="1796812"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SQL DW</a:t>
            </a:r>
          </a:p>
        </p:txBody>
      </p:sp>
      <p:sp>
        <p:nvSpPr>
          <p:cNvPr id="47" name="TextBox 46"/>
          <p:cNvSpPr txBox="1"/>
          <p:nvPr/>
        </p:nvSpPr>
        <p:spPr>
          <a:xfrm>
            <a:off x="6532861" y="4266505"/>
            <a:ext cx="2164921" cy="527372"/>
          </a:xfrm>
          <a:prstGeom prst="rect">
            <a:avLst/>
          </a:prstGeom>
          <a:noFill/>
        </p:spPr>
        <p:txBody>
          <a:bodyPr wrap="square" lIns="186521" tIns="149217" rIns="186521" bIns="149217" rtlCol="0">
            <a:spAutoFit/>
          </a:bodyPr>
          <a:lstStyle/>
          <a:p>
            <a:pPr defTabSz="932597">
              <a:lnSpc>
                <a:spcPct val="90000"/>
              </a:lnSpc>
            </a:pPr>
            <a:r>
              <a:rPr lang="en-US" sz="1632" kern="0" dirty="0">
                <a:gradFill>
                  <a:gsLst>
                    <a:gs pos="2917">
                      <a:schemeClr val="tx1"/>
                    </a:gs>
                    <a:gs pos="30000">
                      <a:schemeClr val="tx1"/>
                    </a:gs>
                  </a:gsLst>
                  <a:lin ang="5400000" scaled="0"/>
                </a:gradFill>
              </a:rPr>
              <a:t>Azure Blob Storage</a:t>
            </a:r>
          </a:p>
        </p:txBody>
      </p:sp>
      <p:grpSp>
        <p:nvGrpSpPr>
          <p:cNvPr id="68" name="Group 67"/>
          <p:cNvGrpSpPr/>
          <p:nvPr/>
        </p:nvGrpSpPr>
        <p:grpSpPr>
          <a:xfrm>
            <a:off x="4037110" y="3313343"/>
            <a:ext cx="383612" cy="465303"/>
            <a:chOff x="3601562" y="1357039"/>
            <a:chExt cx="3353970" cy="4068206"/>
          </a:xfrm>
        </p:grpSpPr>
        <p:sp>
          <p:nvSpPr>
            <p:cNvPr id="69" name="Freeform 68"/>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69"/>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 name="Group 70"/>
          <p:cNvGrpSpPr/>
          <p:nvPr/>
        </p:nvGrpSpPr>
        <p:grpSpPr>
          <a:xfrm>
            <a:off x="7482413" y="3777831"/>
            <a:ext cx="383612" cy="465303"/>
            <a:chOff x="3601562" y="1357039"/>
            <a:chExt cx="3353970" cy="4068206"/>
          </a:xfrm>
        </p:grpSpPr>
        <p:sp>
          <p:nvSpPr>
            <p:cNvPr id="72" name="Freeform 71"/>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4" name="Group 73"/>
          <p:cNvGrpSpPr/>
          <p:nvPr/>
        </p:nvGrpSpPr>
        <p:grpSpPr>
          <a:xfrm>
            <a:off x="7144510" y="2010877"/>
            <a:ext cx="383612" cy="465303"/>
            <a:chOff x="3601562" y="1357039"/>
            <a:chExt cx="3353970" cy="4068206"/>
          </a:xfrm>
        </p:grpSpPr>
        <p:sp>
          <p:nvSpPr>
            <p:cNvPr id="75" name="Freeform 74"/>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7" name="Group 76"/>
          <p:cNvGrpSpPr/>
          <p:nvPr/>
        </p:nvGrpSpPr>
        <p:grpSpPr>
          <a:xfrm>
            <a:off x="7150035" y="5403792"/>
            <a:ext cx="383612" cy="465303"/>
            <a:chOff x="3601562" y="1357039"/>
            <a:chExt cx="3353970" cy="4068206"/>
          </a:xfrm>
        </p:grpSpPr>
        <p:sp>
          <p:nvSpPr>
            <p:cNvPr id="78" name="Freeform 77"/>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78"/>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5" name="TextBox 104"/>
          <p:cNvSpPr txBox="1"/>
          <p:nvPr/>
        </p:nvSpPr>
        <p:spPr>
          <a:xfrm>
            <a:off x="7516335" y="2496125"/>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grpSp>
        <p:nvGrpSpPr>
          <p:cNvPr id="106" name="Group 105"/>
          <p:cNvGrpSpPr/>
          <p:nvPr/>
        </p:nvGrpSpPr>
        <p:grpSpPr>
          <a:xfrm>
            <a:off x="7482413" y="3781389"/>
            <a:ext cx="383612" cy="465303"/>
            <a:chOff x="3601562" y="1357039"/>
            <a:chExt cx="3353970" cy="4068206"/>
          </a:xfrm>
        </p:grpSpPr>
        <p:sp>
          <p:nvSpPr>
            <p:cNvPr id="107" name="Freeform 106"/>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107"/>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0" name="Freeform 109"/>
          <p:cNvSpPr/>
          <p:nvPr/>
        </p:nvSpPr>
        <p:spPr bwMode="auto">
          <a:xfrm>
            <a:off x="5371212" y="1934360"/>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Freeform 110"/>
          <p:cNvSpPr/>
          <p:nvPr/>
        </p:nvSpPr>
        <p:spPr bwMode="auto">
          <a:xfrm>
            <a:off x="7645309" y="1934360"/>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127"/>
          <p:cNvSpPr/>
          <p:nvPr/>
        </p:nvSpPr>
        <p:spPr bwMode="auto">
          <a:xfrm>
            <a:off x="9667119" y="2276165"/>
            <a:ext cx="1379710" cy="3411325"/>
          </a:xfrm>
          <a:custGeom>
            <a:avLst/>
            <a:gdLst>
              <a:gd name="connsiteX0" fmla="*/ 229350 w 1352780"/>
              <a:gd name="connsiteY0" fmla="*/ 0 h 3344740"/>
              <a:gd name="connsiteX1" fmla="*/ 1352780 w 1352780"/>
              <a:gd name="connsiteY1" fmla="*/ 0 h 3344740"/>
              <a:gd name="connsiteX2" fmla="*/ 1352780 w 1352780"/>
              <a:gd name="connsiteY2" fmla="*/ 188908 h 3344740"/>
              <a:gd name="connsiteX3" fmla="*/ 258792 w 1352780"/>
              <a:gd name="connsiteY3" fmla="*/ 188908 h 3344740"/>
              <a:gd name="connsiteX4" fmla="*/ 176682 w 1352780"/>
              <a:gd name="connsiteY4" fmla="*/ 271018 h 3344740"/>
              <a:gd name="connsiteX5" fmla="*/ 176680 w 1352780"/>
              <a:gd name="connsiteY5" fmla="*/ 3073720 h 3344740"/>
              <a:gd name="connsiteX6" fmla="*/ 258792 w 1352780"/>
              <a:gd name="connsiteY6" fmla="*/ 3155830 h 3344740"/>
              <a:gd name="connsiteX7" fmla="*/ 1120494 w 1352780"/>
              <a:gd name="connsiteY7" fmla="*/ 3155830 h 3344740"/>
              <a:gd name="connsiteX8" fmla="*/ 1120494 w 1352780"/>
              <a:gd name="connsiteY8" fmla="*/ 3344740 h 3344740"/>
              <a:gd name="connsiteX9" fmla="*/ 229350 w 1352780"/>
              <a:gd name="connsiteY9" fmla="*/ 3344740 h 3344740"/>
              <a:gd name="connsiteX10" fmla="*/ 0 w 1352780"/>
              <a:gd name="connsiteY10" fmla="*/ 3115390 h 3344740"/>
              <a:gd name="connsiteX11" fmla="*/ 2 w 1352780"/>
              <a:gd name="connsiteY11" fmla="*/ 229348 h 3344740"/>
              <a:gd name="connsiteX12" fmla="*/ 229350 w 1352780"/>
              <a:gd name="connsiteY12" fmla="*/ 0 h 334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780" h="3344740">
                <a:moveTo>
                  <a:pt x="229350" y="0"/>
                </a:moveTo>
                <a:lnTo>
                  <a:pt x="1352780" y="0"/>
                </a:lnTo>
                <a:lnTo>
                  <a:pt x="1352780" y="188908"/>
                </a:lnTo>
                <a:lnTo>
                  <a:pt x="258792" y="188908"/>
                </a:lnTo>
                <a:cubicBezTo>
                  <a:pt x="213444" y="188908"/>
                  <a:pt x="176682" y="225670"/>
                  <a:pt x="176682" y="271018"/>
                </a:cubicBezTo>
                <a:lnTo>
                  <a:pt x="176680" y="3073720"/>
                </a:lnTo>
                <a:cubicBezTo>
                  <a:pt x="176680" y="3119068"/>
                  <a:pt x="213444" y="3155830"/>
                  <a:pt x="258792" y="3155830"/>
                </a:cubicBezTo>
                <a:lnTo>
                  <a:pt x="1120494" y="3155830"/>
                </a:lnTo>
                <a:lnTo>
                  <a:pt x="1120494" y="3344740"/>
                </a:lnTo>
                <a:lnTo>
                  <a:pt x="229350" y="3344740"/>
                </a:lnTo>
                <a:cubicBezTo>
                  <a:pt x="102684" y="3344740"/>
                  <a:pt x="0" y="3242057"/>
                  <a:pt x="0" y="3115390"/>
                </a:cubicBezTo>
                <a:lnTo>
                  <a:pt x="2" y="229348"/>
                </a:lnTo>
                <a:cubicBezTo>
                  <a:pt x="2" y="102682"/>
                  <a:pt x="102684" y="0"/>
                  <a:pt x="229350" y="0"/>
                </a:cubicBezTo>
                <a:close/>
              </a:path>
            </a:pathLst>
          </a:cu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11001728" y="1734598"/>
            <a:ext cx="687708" cy="1367237"/>
            <a:chOff x="-1497013" y="809624"/>
            <a:chExt cx="1601789" cy="3184518"/>
          </a:xfrm>
          <a:solidFill>
            <a:srgbClr val="0078D7"/>
          </a:solidFill>
        </p:grpSpPr>
        <p:sp>
          <p:nvSpPr>
            <p:cNvPr id="49"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0"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1"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2"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3"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4"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5"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56"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57" name="Freeform 56"/>
          <p:cNvSpPr/>
          <p:nvPr/>
        </p:nvSpPr>
        <p:spPr bwMode="auto">
          <a:xfrm flipH="1">
            <a:off x="10718643" y="4957803"/>
            <a:ext cx="1253877" cy="11988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sp>
        <p:nvSpPr>
          <p:cNvPr id="112" name="Freeform 111"/>
          <p:cNvSpPr/>
          <p:nvPr/>
        </p:nvSpPr>
        <p:spPr bwMode="auto">
          <a:xfrm>
            <a:off x="9480178" y="2818885"/>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112"/>
          <p:cNvSpPr/>
          <p:nvPr/>
        </p:nvSpPr>
        <p:spPr bwMode="auto">
          <a:xfrm>
            <a:off x="5371212" y="5334529"/>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113"/>
          <p:cNvSpPr/>
          <p:nvPr/>
        </p:nvSpPr>
        <p:spPr bwMode="auto">
          <a:xfrm>
            <a:off x="7645309" y="5334529"/>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Freeform 114"/>
          <p:cNvSpPr/>
          <p:nvPr/>
        </p:nvSpPr>
        <p:spPr bwMode="auto">
          <a:xfrm>
            <a:off x="9480178" y="4853640"/>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5079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par>
                                <p:cTn id="8" presetID="8" presetClass="emph" presetSubtype="0" fill="hold" grpId="0" nodeType="withEffect">
                                  <p:stCondLst>
                                    <p:cond delay="0"/>
                                  </p:stCondLst>
                                  <p:childTnLst>
                                    <p:animRot by="21600000">
                                      <p:cBhvr>
                                        <p:cTn id="9" dur="2000" fill="hold"/>
                                        <p:tgtEl>
                                          <p:spTgt spid="110"/>
                                        </p:tgtEl>
                                        <p:attrNameLst>
                                          <p:attrName>r</p:attrName>
                                        </p:attrNameLst>
                                      </p:cBhvr>
                                    </p:animRot>
                                  </p:childTnLst>
                                </p:cTn>
                              </p:par>
                              <p:par>
                                <p:cTn id="10" presetID="42" presetClass="path" presetSubtype="0" accel="50000" decel="50000" fill="hold" nodeType="withEffect">
                                  <p:stCondLst>
                                    <p:cond delay="0"/>
                                  </p:stCondLst>
                                  <p:childTnLst>
                                    <p:animMotion origin="layout" path="M -3.95833E-6 -2.22222E-6 L 0.27696 0.06783 " pathEditMode="relative" rAng="0" ptsTypes="AA">
                                      <p:cBhvr>
                                        <p:cTn id="11" dur="2000" fill="hold"/>
                                        <p:tgtEl>
                                          <p:spTgt spid="68"/>
                                        </p:tgtEl>
                                        <p:attrNameLst>
                                          <p:attrName>ppt_x</p:attrName>
                                          <p:attrName>ppt_y</p:attrName>
                                        </p:attrNameLst>
                                      </p:cBhvr>
                                      <p:rCtr x="13841" y="3380"/>
                                    </p:animMotion>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0">
                                            <p:txEl>
                                              <p:pRg st="2" end="2"/>
                                            </p:txEl>
                                          </p:spTgt>
                                        </p:tgtEl>
                                        <p:attrNameLst>
                                          <p:attrName>style.visibility</p:attrName>
                                        </p:attrNameLst>
                                      </p:cBhvr>
                                      <p:to>
                                        <p:strVal val="visible"/>
                                      </p:to>
                                    </p:set>
                                    <p:animEffect transition="in" filter="fade">
                                      <p:cBhvr>
                                        <p:cTn id="16" dur="500"/>
                                        <p:tgtEl>
                                          <p:spTgt spid="30">
                                            <p:txEl>
                                              <p:pRg st="2" end="2"/>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06"/>
                                        </p:tgtEl>
                                        <p:attrNameLst>
                                          <p:attrName>style.visibility</p:attrName>
                                        </p:attrNameLst>
                                      </p:cBhvr>
                                      <p:to>
                                        <p:strVal val="visible"/>
                                      </p:to>
                                    </p:set>
                                  </p:childTnLst>
                                </p:cTn>
                              </p:par>
                              <p:par>
                                <p:cTn id="19" presetID="8" presetClass="emph" presetSubtype="0" fill="hold" grpId="0" nodeType="withEffect">
                                  <p:stCondLst>
                                    <p:cond delay="0"/>
                                  </p:stCondLst>
                                  <p:childTnLst>
                                    <p:animRot by="21600000">
                                      <p:cBhvr>
                                        <p:cTn id="20" dur="2000" fill="hold"/>
                                        <p:tgtEl>
                                          <p:spTgt spid="111"/>
                                        </p:tgtEl>
                                        <p:attrNameLst>
                                          <p:attrName>r</p:attrName>
                                        </p:attrNameLst>
                                      </p:cBhvr>
                                    </p:animRot>
                                  </p:childTnLst>
                                </p:cTn>
                              </p:par>
                              <p:par>
                                <p:cTn id="21" presetID="8" presetClass="emph" presetSubtype="0" fill="hold" grpId="0" nodeType="withEffect">
                                  <p:stCondLst>
                                    <p:cond delay="0"/>
                                  </p:stCondLst>
                                  <p:childTnLst>
                                    <p:animRot by="21600000">
                                      <p:cBhvr>
                                        <p:cTn id="22" dur="2000" fill="hold"/>
                                        <p:tgtEl>
                                          <p:spTgt spid="114"/>
                                        </p:tgtEl>
                                        <p:attrNameLst>
                                          <p:attrName>r</p:attrName>
                                        </p:attrNameLst>
                                      </p:cBhvr>
                                    </p:animRot>
                                  </p:childTnLst>
                                </p:cTn>
                              </p:par>
                              <p:par>
                                <p:cTn id="23" presetID="1"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42" presetClass="path" presetSubtype="0" accel="50000" decel="50000" fill="hold" nodeType="withEffect">
                                  <p:stCondLst>
                                    <p:cond delay="0"/>
                                  </p:stCondLst>
                                  <p:childTnLst>
                                    <p:animMotion origin="layout" path="M 2.70833E-6 -3.7037E-7 L -0.02774 -0.25208 " pathEditMode="relative" rAng="0" ptsTypes="AA">
                                      <p:cBhvr>
                                        <p:cTn id="26" dur="2000" fill="hold"/>
                                        <p:tgtEl>
                                          <p:spTgt spid="106"/>
                                        </p:tgtEl>
                                        <p:attrNameLst>
                                          <p:attrName>ppt_x</p:attrName>
                                          <p:attrName>ppt_y</p:attrName>
                                        </p:attrNameLst>
                                      </p:cBhvr>
                                      <p:rCtr x="-1393" y="-12616"/>
                                    </p:animMotion>
                                  </p:childTnLst>
                                </p:cTn>
                              </p:par>
                              <p:par>
                                <p:cTn id="27" presetID="42" presetClass="path" presetSubtype="0" accel="50000" decel="50000" fill="hold" nodeType="withEffect">
                                  <p:stCondLst>
                                    <p:cond delay="0"/>
                                  </p:stCondLst>
                                  <p:childTnLst>
                                    <p:animMotion origin="layout" path="M 2.70833E-6 4.07407E-6 L -0.02709 0.23171 " pathEditMode="relative" rAng="0" ptsTypes="AA">
                                      <p:cBhvr>
                                        <p:cTn id="28" dur="2000" fill="hold"/>
                                        <p:tgtEl>
                                          <p:spTgt spid="71"/>
                                        </p:tgtEl>
                                        <p:attrNameLst>
                                          <p:attrName>ppt_x</p:attrName>
                                          <p:attrName>ppt_y</p:attrName>
                                        </p:attrNameLst>
                                      </p:cBhvr>
                                      <p:rCtr x="-1354" y="11574"/>
                                    </p:animMotion>
                                  </p:childTnLst>
                                </p:cTn>
                              </p:par>
                            </p:childTnLst>
                          </p:cTn>
                        </p:par>
                        <p:par>
                          <p:cTn id="29" fill="hold">
                            <p:stCondLst>
                              <p:cond delay="2000"/>
                            </p:stCondLst>
                            <p:childTnLst>
                              <p:par>
                                <p:cTn id="30" presetID="1" presetClass="entr" presetSubtype="0" fill="hold" nodeType="afterEffect">
                                  <p:stCondLst>
                                    <p:cond delay="0"/>
                                  </p:stCondLst>
                                  <p:childTnLst>
                                    <p:set>
                                      <p:cBhvr>
                                        <p:cTn id="31" dur="1" fill="hold">
                                          <p:stCondLst>
                                            <p:cond delay="0"/>
                                          </p:stCondLst>
                                        </p:cTn>
                                        <p:tgtEl>
                                          <p:spTgt spid="7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77"/>
                                        </p:tgtEl>
                                        <p:attrNameLst>
                                          <p:attrName>style.visibility</p:attrName>
                                        </p:attrNameLst>
                                      </p:cBhvr>
                                      <p:to>
                                        <p:strVal val="visible"/>
                                      </p:to>
                                    </p:set>
                                  </p:childTnLst>
                                </p:cTn>
                              </p:par>
                              <p:par>
                                <p:cTn id="34" presetID="1" presetClass="exit" presetSubtype="0" fill="hold" nodeType="withEffect">
                                  <p:stCondLst>
                                    <p:cond delay="0"/>
                                  </p:stCondLst>
                                  <p:childTnLst>
                                    <p:set>
                                      <p:cBhvr>
                                        <p:cTn id="35" dur="1" fill="hold">
                                          <p:stCondLst>
                                            <p:cond delay="0"/>
                                          </p:stCondLst>
                                        </p:cTn>
                                        <p:tgtEl>
                                          <p:spTgt spid="106"/>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71"/>
                                        </p:tgtEl>
                                        <p:attrNameLst>
                                          <p:attrName>style.visibility</p:attrName>
                                        </p:attrNameLst>
                                      </p:cBhvr>
                                      <p:to>
                                        <p:strVal val="hidden"/>
                                      </p:to>
                                    </p:set>
                                  </p:childTnLst>
                                </p:cTn>
                              </p:par>
                              <p:par>
                                <p:cTn id="38" presetID="63" presetClass="path" presetSubtype="0" accel="50000" decel="50000" fill="hold" nodeType="withEffect">
                                  <p:stCondLst>
                                    <p:cond delay="0"/>
                                  </p:stCondLst>
                                  <p:childTnLst>
                                    <p:animMotion origin="layout" path="M -3.75E-6 3.7037E-7 L 0.3224 3.7037E-7 " pathEditMode="relative" rAng="0" ptsTypes="AA">
                                      <p:cBhvr>
                                        <p:cTn id="39" dur="2000" fill="hold"/>
                                        <p:tgtEl>
                                          <p:spTgt spid="74"/>
                                        </p:tgtEl>
                                        <p:attrNameLst>
                                          <p:attrName>ppt_x</p:attrName>
                                          <p:attrName>ppt_y</p:attrName>
                                        </p:attrNameLst>
                                      </p:cBhvr>
                                      <p:rCtr x="16120" y="0"/>
                                    </p:animMotion>
                                  </p:childTnLst>
                                </p:cTn>
                              </p:par>
                              <p:par>
                                <p:cTn id="40" presetID="63" presetClass="path" presetSubtype="0" accel="50000" decel="50000" fill="hold" nodeType="withEffect">
                                  <p:stCondLst>
                                    <p:cond delay="0"/>
                                  </p:stCondLst>
                                  <p:childTnLst>
                                    <p:animMotion origin="layout" path="M -4.58333E-6 -4.81481E-6 L 0.30704 -4.81481E-6 " pathEditMode="relative" rAng="0" ptsTypes="AA">
                                      <p:cBhvr>
                                        <p:cTn id="41" dur="2000" fill="hold"/>
                                        <p:tgtEl>
                                          <p:spTgt spid="77"/>
                                        </p:tgtEl>
                                        <p:attrNameLst>
                                          <p:attrName>ppt_x</p:attrName>
                                          <p:attrName>ppt_y</p:attrName>
                                        </p:attrNameLst>
                                      </p:cBhvr>
                                      <p:rCtr x="15352" y="0"/>
                                    </p:animMotion>
                                  </p:childTnLst>
                                </p:cTn>
                              </p:par>
                              <p:par>
                                <p:cTn id="42" presetID="8" presetClass="emph" presetSubtype="0" fill="hold" grpId="1" nodeType="withEffect">
                                  <p:stCondLst>
                                    <p:cond delay="0"/>
                                  </p:stCondLst>
                                  <p:childTnLst>
                                    <p:animRot by="21600000">
                                      <p:cBhvr>
                                        <p:cTn id="43" dur="2000" fill="hold"/>
                                        <p:tgtEl>
                                          <p:spTgt spid="111"/>
                                        </p:tgtEl>
                                        <p:attrNameLst>
                                          <p:attrName>r</p:attrName>
                                        </p:attrNameLst>
                                      </p:cBhvr>
                                    </p:animRot>
                                  </p:childTnLst>
                                </p:cTn>
                              </p:par>
                              <p:par>
                                <p:cTn id="44" presetID="8" presetClass="emph" presetSubtype="0" fill="hold" grpId="1" nodeType="withEffect">
                                  <p:stCondLst>
                                    <p:cond delay="0"/>
                                  </p:stCondLst>
                                  <p:childTnLst>
                                    <p:animRot by="21600000">
                                      <p:cBhvr>
                                        <p:cTn id="45" dur="2000" fill="hold"/>
                                        <p:tgtEl>
                                          <p:spTgt spid="114"/>
                                        </p:tgtEl>
                                        <p:attrNameLst>
                                          <p:attrName>r</p:attrName>
                                        </p:attrNameLst>
                                      </p:cBhvr>
                                    </p:animRot>
                                  </p:childTnLst>
                                </p:cTn>
                              </p:par>
                            </p:childTnLst>
                          </p:cTn>
                        </p:par>
                        <p:par>
                          <p:cTn id="46" fill="hold">
                            <p:stCondLst>
                              <p:cond delay="4000"/>
                            </p:stCondLst>
                            <p:childTnLst>
                              <p:par>
                                <p:cTn id="47" presetID="1" presetClass="exit" presetSubtype="0" fill="hold" nodeType="afterEffect">
                                  <p:stCondLst>
                                    <p:cond delay="0"/>
                                  </p:stCondLst>
                                  <p:childTnLst>
                                    <p:set>
                                      <p:cBhvr>
                                        <p:cTn id="48" dur="1" fill="hold">
                                          <p:stCondLst>
                                            <p:cond delay="0"/>
                                          </p:stCondLst>
                                        </p:cTn>
                                        <p:tgtEl>
                                          <p:spTgt spid="74"/>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7"/>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0">
                                            <p:txEl>
                                              <p:pRg st="4" end="4"/>
                                            </p:txEl>
                                          </p:spTgt>
                                        </p:tgtEl>
                                        <p:attrNameLst>
                                          <p:attrName>style.visibility</p:attrName>
                                        </p:attrNameLst>
                                      </p:cBhvr>
                                      <p:to>
                                        <p:strVal val="visible"/>
                                      </p:to>
                                    </p:set>
                                    <p:animEffect transition="in" filter="fade">
                                      <p:cBhvr>
                                        <p:cTn id="55" dur="500"/>
                                        <p:tgtEl>
                                          <p:spTgt spid="30">
                                            <p:txEl>
                                              <p:pRg st="4" end="4"/>
                                            </p:txEl>
                                          </p:spTgt>
                                        </p:tgtEl>
                                      </p:cBhvr>
                                    </p:animEffect>
                                  </p:childTnLst>
                                </p:cTn>
                              </p:par>
                              <p:par>
                                <p:cTn id="56" presetID="8" presetClass="emph" presetSubtype="0" fill="hold" grpId="0" nodeType="withEffect">
                                  <p:stCondLst>
                                    <p:cond delay="0"/>
                                  </p:stCondLst>
                                  <p:childTnLst>
                                    <p:animRot by="21600000">
                                      <p:cBhvr>
                                        <p:cTn id="57" dur="2000" fill="hold"/>
                                        <p:tgtEl>
                                          <p:spTgt spid="112"/>
                                        </p:tgtEl>
                                        <p:attrNameLst>
                                          <p:attrName>r</p:attrName>
                                        </p:attrNameLst>
                                      </p:cBhvr>
                                    </p:animRot>
                                  </p:childTnLst>
                                </p:cTn>
                              </p:par>
                              <p:par>
                                <p:cTn id="58" presetID="8" presetClass="emph" presetSubtype="0" fill="hold" grpId="0" nodeType="withEffect">
                                  <p:stCondLst>
                                    <p:cond delay="0"/>
                                  </p:stCondLst>
                                  <p:childTnLst>
                                    <p:animRot by="21600000">
                                      <p:cBhvr>
                                        <p:cTn id="59" dur="2000" fill="hold"/>
                                        <p:tgtEl>
                                          <p:spTgt spid="115"/>
                                        </p:tgtEl>
                                        <p:attrNameLst>
                                          <p:attrName>r</p:attrName>
                                        </p:attrNameLst>
                                      </p:cBhvr>
                                    </p:animRot>
                                  </p:childTnLst>
                                </p:cTn>
                              </p:par>
                              <p:par>
                                <p:cTn id="60" presetID="10" presetClass="entr" presetSubtype="0" fill="hold" grpId="0" nodeType="withEffect">
                                  <p:stCondLst>
                                    <p:cond delay="0"/>
                                  </p:stCondLst>
                                  <p:childTnLst>
                                    <p:set>
                                      <p:cBhvr>
                                        <p:cTn id="61" dur="1" fill="hold">
                                          <p:stCondLst>
                                            <p:cond delay="0"/>
                                          </p:stCondLst>
                                        </p:cTn>
                                        <p:tgtEl>
                                          <p:spTgt spid="128"/>
                                        </p:tgtEl>
                                        <p:attrNameLst>
                                          <p:attrName>style.visibility</p:attrName>
                                        </p:attrNameLst>
                                      </p:cBhvr>
                                      <p:to>
                                        <p:strVal val="visible"/>
                                      </p:to>
                                    </p:set>
                                    <p:animEffect transition="in" filter="fade">
                                      <p:cBhvr>
                                        <p:cTn id="62" dur="250"/>
                                        <p:tgtEl>
                                          <p:spTgt spid="128"/>
                                        </p:tgtEl>
                                      </p:cBhvr>
                                    </p:animEffect>
                                  </p:childTnLst>
                                </p:cTn>
                              </p:par>
                            </p:childTnLst>
                          </p:cTn>
                        </p:par>
                        <p:par>
                          <p:cTn id="63" fill="hold">
                            <p:stCondLst>
                              <p:cond delay="2000"/>
                            </p:stCondLst>
                            <p:childTnLst>
                              <p:par>
                                <p:cTn id="64" presetID="1" presetClass="exit" presetSubtype="0" fill="hold" nodeType="afterEffect">
                                  <p:stCondLst>
                                    <p:cond delay="0"/>
                                  </p:stCondLst>
                                  <p:childTnLst>
                                    <p:set>
                                      <p:cBhvr>
                                        <p:cTn id="65" dur="1" fill="hold">
                                          <p:stCondLst>
                                            <p:cond delay="0"/>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1" grpId="0" animBg="1"/>
      <p:bldP spid="111" grpId="1" animBg="1"/>
      <p:bldP spid="128" grpId="0" animBg="1"/>
      <p:bldP spid="112" grpId="0" animBg="1"/>
      <p:bldP spid="114" grpId="0" animBg="1"/>
      <p:bldP spid="114" grpId="1" animBg="1"/>
      <p:bldP spid="11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up</a:t>
            </a:r>
          </a:p>
        </p:txBody>
      </p:sp>
      <p:sp>
        <p:nvSpPr>
          <p:cNvPr id="3" name="Text Placeholder 2"/>
          <p:cNvSpPr>
            <a:spLocks noGrp="1"/>
          </p:cNvSpPr>
          <p:nvPr>
            <p:ph type="body" sz="quarter" idx="10"/>
          </p:nvPr>
        </p:nvSpPr>
        <p:spPr>
          <a:xfrm>
            <a:off x="274638" y="1216152"/>
            <a:ext cx="11887199" cy="3282437"/>
          </a:xfrm>
        </p:spPr>
        <p:txBody>
          <a:bodyPr/>
          <a:lstStyle/>
          <a:p>
            <a:pPr marL="457200" indent="-457200">
              <a:buClrTx/>
              <a:buFont typeface="Arial" panose="020B0604020202020204" pitchFamily="34" charset="0"/>
              <a:buChar char="•"/>
            </a:pPr>
            <a:r>
              <a:rPr lang="en-US" dirty="0"/>
              <a:t>Create Azure File on WASB Storage</a:t>
            </a:r>
          </a:p>
          <a:p>
            <a:pPr marL="457200" indent="-457200">
              <a:buClrTx/>
              <a:buFont typeface="Arial" panose="020B0604020202020204" pitchFamily="34" charset="0"/>
              <a:buChar char="•"/>
            </a:pPr>
            <a:r>
              <a:rPr lang="en-US" dirty="0"/>
              <a:t>Map Azure File to Local Drive</a:t>
            </a:r>
          </a:p>
          <a:p>
            <a:pPr marL="457200" indent="-457200">
              <a:buClrTx/>
              <a:buFont typeface="Arial" panose="020B0604020202020204" pitchFamily="34" charset="0"/>
              <a:buChar char="•"/>
            </a:pPr>
            <a:endParaRPr lang="en-US" dirty="0"/>
          </a:p>
          <a:p>
            <a:pPr marL="457200" indent="-457200">
              <a:buClrTx/>
              <a:buFont typeface="Arial" panose="020B0604020202020204" pitchFamily="34" charset="0"/>
              <a:buChar char="•"/>
            </a:pPr>
            <a:endParaRPr lang="en-US" dirty="0"/>
          </a:p>
          <a:p>
            <a:pPr marL="457200" indent="-457200">
              <a:buClrTx/>
              <a:buFont typeface="Arial" panose="020B0604020202020204" pitchFamily="34" charset="0"/>
              <a:buChar char="•"/>
            </a:pPr>
            <a:r>
              <a:rPr lang="en-US" dirty="0"/>
              <a:t>Create Control DB on Azure DB</a:t>
            </a:r>
          </a:p>
          <a:p>
            <a:pPr marL="803753" lvl="1" indent="-457200">
              <a:buClrTx/>
              <a:buFont typeface="Arial" panose="020B0604020202020204" pitchFamily="34" charset="0"/>
              <a:buChar char="•"/>
            </a:pPr>
            <a:r>
              <a:rPr lang="en-US" dirty="0"/>
              <a:t>Populate DB with schema and Data</a:t>
            </a:r>
          </a:p>
        </p:txBody>
      </p:sp>
      <p:sp>
        <p:nvSpPr>
          <p:cNvPr id="4" name="Rectangle 3"/>
          <p:cNvSpPr/>
          <p:nvPr/>
        </p:nvSpPr>
        <p:spPr>
          <a:xfrm>
            <a:off x="1649215" y="2506662"/>
            <a:ext cx="10439400" cy="646331"/>
          </a:xfrm>
          <a:prstGeom prst="rect">
            <a:avLst/>
          </a:prstGeom>
        </p:spPr>
        <p:txBody>
          <a:bodyPr wrap="square">
            <a:spAutoFit/>
          </a:bodyPr>
          <a:lstStyle/>
          <a:p>
            <a:r>
              <a:rPr lang="en-US" dirty="0" err="1">
                <a:solidFill>
                  <a:schemeClr val="bg1"/>
                </a:solidFill>
              </a:rPr>
              <a:t>cmdkey</a:t>
            </a:r>
            <a:r>
              <a:rPr lang="en-US" dirty="0">
                <a:solidFill>
                  <a:schemeClr val="bg1"/>
                </a:solidFill>
              </a:rPr>
              <a:t> /add:&lt;Storage&gt;.file.core.windows.net /user:&lt;Storage&gt; /pass:&lt;</a:t>
            </a:r>
            <a:r>
              <a:rPr lang="en-US" dirty="0" err="1">
                <a:solidFill>
                  <a:schemeClr val="bg1"/>
                </a:solidFill>
              </a:rPr>
              <a:t>StorageKey</a:t>
            </a:r>
            <a:r>
              <a:rPr lang="en-US" dirty="0">
                <a:solidFill>
                  <a:schemeClr val="bg1"/>
                </a:solidFill>
              </a:rPr>
              <a:t>&gt; </a:t>
            </a:r>
          </a:p>
          <a:p>
            <a:r>
              <a:rPr lang="en-US" dirty="0">
                <a:solidFill>
                  <a:schemeClr val="bg1"/>
                </a:solidFill>
              </a:rPr>
              <a:t>net use z: \\&lt;Storage&gt;.file.core.windows.net\&lt;File&gt;</a:t>
            </a:r>
          </a:p>
        </p:txBody>
      </p:sp>
    </p:spTree>
    <p:extLst>
      <p:ext uri="{BB962C8B-B14F-4D97-AF65-F5344CB8AC3E}">
        <p14:creationId xmlns:p14="http://schemas.microsoft.com/office/powerpoint/2010/main" val="5769016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 DB Schema</a:t>
            </a:r>
          </a:p>
        </p:txBody>
      </p:sp>
      <p:pic>
        <p:nvPicPr>
          <p:cNvPr id="4" name="Picture 3"/>
          <p:cNvPicPr>
            <a:picLocks noChangeAspect="1"/>
          </p:cNvPicPr>
          <p:nvPr/>
        </p:nvPicPr>
        <p:blipFill>
          <a:blip r:embed="rId2"/>
          <a:stretch>
            <a:fillRect/>
          </a:stretch>
        </p:blipFill>
        <p:spPr>
          <a:xfrm>
            <a:off x="2713037" y="1744662"/>
            <a:ext cx="6086475" cy="4200525"/>
          </a:xfrm>
          <a:prstGeom prst="rect">
            <a:avLst/>
          </a:prstGeom>
        </p:spPr>
      </p:pic>
    </p:spTree>
    <p:extLst>
      <p:ext uri="{BB962C8B-B14F-4D97-AF65-F5344CB8AC3E}">
        <p14:creationId xmlns:p14="http://schemas.microsoft.com/office/powerpoint/2010/main" val="193763769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p:nvPr/>
        </p:nvSpPr>
        <p:spPr bwMode="auto">
          <a:xfrm>
            <a:off x="9851841" y="3761697"/>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a:xfrm>
            <a:off x="8428121" y="4684129"/>
            <a:ext cx="3420637"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120" name="Rectangle 119"/>
          <p:cNvSpPr/>
          <p:nvPr/>
        </p:nvSpPr>
        <p:spPr>
          <a:xfrm>
            <a:off x="8428121" y="1433756"/>
            <a:ext cx="3420637" cy="1995325"/>
          </a:xfrm>
          <a:prstGeom prst="rect">
            <a:avLst/>
          </a:prstGeom>
          <a:solidFill>
            <a:srgbClr val="B4A0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sp>
        <p:nvSpPr>
          <p:cNvPr id="121" name="TextBox 120"/>
          <p:cNvSpPr txBox="1"/>
          <p:nvPr/>
        </p:nvSpPr>
        <p:spPr>
          <a:xfrm>
            <a:off x="9589751" y="5858223"/>
            <a:ext cx="1097378" cy="282383"/>
          </a:xfrm>
          <a:prstGeom prst="rect">
            <a:avLst/>
          </a:prstGeom>
          <a:noFill/>
        </p:spPr>
        <p:txBody>
          <a:bodyPr wrap="square" rtlCol="0">
            <a:spAutoFit/>
          </a:bodyPr>
          <a:lstStyle/>
          <a:p>
            <a:pPr algn="ctr" defTabSz="932597"/>
            <a:r>
              <a:rPr lang="en-US" sz="1199" kern="0" dirty="0">
                <a:solidFill>
                  <a:sysClr val="windowText" lastClr="000000"/>
                </a:solidFill>
              </a:rPr>
              <a:t>Extract (SSIS)</a:t>
            </a:r>
          </a:p>
        </p:txBody>
      </p:sp>
      <p:sp>
        <p:nvSpPr>
          <p:cNvPr id="122" name="TextBox 121"/>
          <p:cNvSpPr txBox="1"/>
          <p:nvPr/>
        </p:nvSpPr>
        <p:spPr>
          <a:xfrm>
            <a:off x="9589751" y="2461882"/>
            <a:ext cx="1097378" cy="282383"/>
          </a:xfrm>
          <a:prstGeom prst="rect">
            <a:avLst/>
          </a:prstGeom>
          <a:noFill/>
        </p:spPr>
        <p:txBody>
          <a:bodyPr wrap="square" rtlCol="0">
            <a:spAutoFit/>
          </a:bodyPr>
          <a:lstStyle/>
          <a:p>
            <a:pPr algn="ctr" defTabSz="932597"/>
            <a:r>
              <a:rPr lang="en-US" sz="1199" kern="0" dirty="0">
                <a:solidFill>
                  <a:sysClr val="windowText" lastClr="000000"/>
                </a:solidFill>
              </a:rPr>
              <a:t>Extract (SSIS)</a:t>
            </a:r>
          </a:p>
        </p:txBody>
      </p:sp>
      <p:sp>
        <p:nvSpPr>
          <p:cNvPr id="123" name="Freeform 122"/>
          <p:cNvSpPr/>
          <p:nvPr/>
        </p:nvSpPr>
        <p:spPr bwMode="auto">
          <a:xfrm>
            <a:off x="9859895" y="1900116"/>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23"/>
          <p:cNvSpPr/>
          <p:nvPr/>
        </p:nvSpPr>
        <p:spPr bwMode="auto">
          <a:xfrm>
            <a:off x="9859895" y="5300286"/>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Normal extraction from source systems</a:t>
            </a:r>
          </a:p>
        </p:txBody>
      </p:sp>
      <p:sp>
        <p:nvSpPr>
          <p:cNvPr id="3" name="Text Placeholder 2"/>
          <p:cNvSpPr>
            <a:spLocks noGrp="1"/>
          </p:cNvSpPr>
          <p:nvPr>
            <p:ph type="body" sz="quarter" idx="10"/>
          </p:nvPr>
        </p:nvSpPr>
        <p:spPr>
          <a:xfrm>
            <a:off x="225319" y="1326153"/>
            <a:ext cx="8153483" cy="2828467"/>
          </a:xfrm>
        </p:spPr>
        <p:txBody>
          <a:bodyPr/>
          <a:lstStyle/>
          <a:p>
            <a:pPr>
              <a:lnSpc>
                <a:spcPct val="100000"/>
              </a:lnSpc>
              <a:spcAft>
                <a:spcPts val="1428"/>
              </a:spcAft>
            </a:pPr>
            <a:r>
              <a:rPr lang="en-US" sz="1800" dirty="0">
                <a:solidFill>
                  <a:srgbClr val="0078D7"/>
                </a:solidFill>
                <a:latin typeface="Segoe UI Semibold" panose="020B0702040204020203" pitchFamily="34" charset="0"/>
                <a:cs typeface="Segoe UI Semibold" panose="020B0702040204020203" pitchFamily="34" charset="0"/>
              </a:rPr>
              <a:t>Step 1: </a:t>
            </a:r>
            <a:r>
              <a:rPr lang="en-US" sz="1800" dirty="0"/>
              <a:t>SSIS reads configuration table to determine data to be extracted</a:t>
            </a:r>
          </a:p>
          <a:p>
            <a:pPr>
              <a:lnSpc>
                <a:spcPct val="100000"/>
              </a:lnSpc>
              <a:spcAft>
                <a:spcPts val="1428"/>
              </a:spcAft>
            </a:pPr>
            <a:r>
              <a:rPr lang="en-US" sz="1800" dirty="0">
                <a:solidFill>
                  <a:srgbClr val="0078D7"/>
                </a:solidFill>
                <a:latin typeface="Segoe UI Semibold" panose="020B0702040204020203" pitchFamily="34" charset="0"/>
                <a:cs typeface="Segoe UI Semibold" panose="020B0702040204020203" pitchFamily="34" charset="0"/>
              </a:rPr>
              <a:t>Step 2: </a:t>
            </a:r>
            <a:r>
              <a:rPr lang="en-US" sz="1800" dirty="0"/>
              <a:t>SSIS extracts data from source system and places it on Azure Storage</a:t>
            </a:r>
          </a:p>
          <a:p>
            <a:pPr>
              <a:lnSpc>
                <a:spcPct val="100000"/>
              </a:lnSpc>
              <a:spcAft>
                <a:spcPts val="1428"/>
              </a:spcAft>
            </a:pPr>
            <a:r>
              <a:rPr lang="en-US" sz="1800" dirty="0">
                <a:solidFill>
                  <a:srgbClr val="0078D7"/>
                </a:solidFill>
                <a:latin typeface="Segoe UI Semibold" panose="020B0702040204020203" pitchFamily="34" charset="0"/>
                <a:cs typeface="Segoe UI Semibold" panose="020B0702040204020203" pitchFamily="34" charset="0"/>
              </a:rPr>
              <a:t>Step 3: </a:t>
            </a:r>
            <a:r>
              <a:rPr lang="en-US" sz="1800" dirty="0"/>
              <a:t>SSIS creates record in ETL control detail table with status of new</a:t>
            </a:r>
          </a:p>
          <a:p>
            <a:pPr>
              <a:lnSpc>
                <a:spcPct val="100000"/>
              </a:lnSpc>
              <a:spcAft>
                <a:spcPts val="1428"/>
              </a:spcAft>
            </a:pPr>
            <a:r>
              <a:rPr lang="en-US" sz="1800" dirty="0">
                <a:solidFill>
                  <a:srgbClr val="0078D7"/>
                </a:solidFill>
                <a:latin typeface="Segoe UI Semibold" panose="020B0702040204020203" pitchFamily="34" charset="0"/>
                <a:cs typeface="Segoe UI Semibold" panose="020B0702040204020203" pitchFamily="34" charset="0"/>
              </a:rPr>
              <a:t>Step 4: </a:t>
            </a:r>
            <a:r>
              <a:rPr lang="en-US" sz="1800" dirty="0"/>
              <a:t>SSIS records last extract date</a:t>
            </a:r>
          </a:p>
        </p:txBody>
      </p:sp>
      <p:grpSp>
        <p:nvGrpSpPr>
          <p:cNvPr id="5" name="Group 4"/>
          <p:cNvGrpSpPr/>
          <p:nvPr/>
        </p:nvGrpSpPr>
        <p:grpSpPr>
          <a:xfrm>
            <a:off x="79839" y="4845592"/>
            <a:ext cx="1508856" cy="955495"/>
            <a:chOff x="253841" y="3080502"/>
            <a:chExt cx="1479405" cy="936845"/>
          </a:xfrm>
        </p:grpSpPr>
        <p:sp>
          <p:nvSpPr>
            <p:cNvPr id="113" name="Freeform 112"/>
            <p:cNvSpPr>
              <a:spLocks noChangeAspect="1"/>
            </p:cNvSpPr>
            <p:nvPr/>
          </p:nvSpPr>
          <p:spPr bwMode="auto">
            <a:xfrm>
              <a:off x="253841" y="3080502"/>
              <a:ext cx="1479405" cy="9368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115" name="Freeform 114"/>
            <p:cNvSpPr/>
            <p:nvPr/>
          </p:nvSpPr>
          <p:spPr bwMode="auto">
            <a:xfrm>
              <a:off x="732712" y="3191594"/>
              <a:ext cx="658679" cy="799498"/>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86521" numCol="1" spcCol="0" rtlCol="0" fromWordArt="0" anchor="b" anchorCtr="1" forceAA="0" compatLnSpc="1">
              <a:prstTxWarp prst="textNoShape">
                <a:avLst/>
              </a:prstTxWarp>
              <a:noAutofit/>
            </a:bodyPr>
            <a:lstStyle/>
            <a:p>
              <a:pPr algn="ctr" defTabSz="951028" fontAlgn="base">
                <a:lnSpc>
                  <a:spcPct val="90000"/>
                </a:lnSpc>
                <a:spcBef>
                  <a:spcPct val="0"/>
                </a:spcBef>
                <a:spcAft>
                  <a:spcPct val="0"/>
                </a:spcAft>
              </a:pPr>
              <a:r>
                <a:rPr lang="en-US" sz="1224"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Control DB</a:t>
              </a:r>
            </a:p>
          </p:txBody>
        </p:sp>
      </p:grpSp>
      <p:sp>
        <p:nvSpPr>
          <p:cNvPr id="125" name="TextBox 124"/>
          <p:cNvSpPr txBox="1"/>
          <p:nvPr/>
        </p:nvSpPr>
        <p:spPr>
          <a:xfrm>
            <a:off x="9055979" y="4251981"/>
            <a:ext cx="2164921" cy="527372"/>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Blob Storage</a:t>
            </a:r>
          </a:p>
        </p:txBody>
      </p:sp>
      <p:graphicFrame>
        <p:nvGraphicFramePr>
          <p:cNvPr id="12" name="Table 11"/>
          <p:cNvGraphicFramePr>
            <a:graphicFrameLocks noGrp="1"/>
          </p:cNvGraphicFramePr>
          <p:nvPr>
            <p:extLst/>
          </p:nvPr>
        </p:nvGraphicFramePr>
        <p:xfrm>
          <a:off x="2051048" y="4454367"/>
          <a:ext cx="3700808" cy="1554340"/>
        </p:xfrm>
        <a:graphic>
          <a:graphicData uri="http://schemas.openxmlformats.org/drawingml/2006/table">
            <a:tbl>
              <a:tblPr firstRow="1" bandRow="1">
                <a:tableStyleId>{5C22544A-7EE6-4342-B048-85BDC9FD1C3A}</a:tableStyleId>
              </a:tblPr>
              <a:tblGrid>
                <a:gridCol w="1628355">
                  <a:extLst>
                    <a:ext uri="{9D8B030D-6E8A-4147-A177-3AD203B41FA5}">
                      <a16:colId xmlns:a16="http://schemas.microsoft.com/office/drawing/2014/main" val="3558700086"/>
                    </a:ext>
                  </a:extLst>
                </a:gridCol>
                <a:gridCol w="2072453">
                  <a:extLst>
                    <a:ext uri="{9D8B030D-6E8A-4147-A177-3AD203B41FA5}">
                      <a16:colId xmlns:a16="http://schemas.microsoft.com/office/drawing/2014/main" val="876583479"/>
                    </a:ext>
                  </a:extLst>
                </a:gridCol>
              </a:tblGrid>
              <a:tr h="310868">
                <a:tc gridSpan="2">
                  <a:txBody>
                    <a:bodyPr/>
                    <a:lstStyle/>
                    <a:p>
                      <a:pPr algn="ctr"/>
                      <a:r>
                        <a:rPr lang="en-US" sz="1400" dirty="0"/>
                        <a:t>ETL Control Table</a:t>
                      </a:r>
                    </a:p>
                  </a:txBody>
                  <a:tcPr marL="93260" marR="93260" marT="46630" marB="46630">
                    <a:solidFill>
                      <a:srgbClr val="0078D7"/>
                    </a:solidFill>
                  </a:tcPr>
                </a:tc>
                <a:tc hMerge="1">
                  <a:txBody>
                    <a:bodyPr/>
                    <a:lstStyle/>
                    <a:p>
                      <a:endParaRPr lang="en-US" dirty="0"/>
                    </a:p>
                  </a:txBody>
                  <a:tcPr/>
                </a:tc>
                <a:extLst>
                  <a:ext uri="{0D108BD9-81ED-4DB2-BD59-A6C34878D82A}">
                    <a16:rowId xmlns:a16="http://schemas.microsoft.com/office/drawing/2014/main" val="2374224735"/>
                  </a:ext>
                </a:extLst>
              </a:tr>
              <a:tr h="310868">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Last_Extract_Dat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2796730664"/>
                  </a:ext>
                </a:extLst>
              </a:tr>
              <a:tr h="310868">
                <a:tc>
                  <a:txBody>
                    <a:bodyPr/>
                    <a:lstStyle/>
                    <a:p>
                      <a:r>
                        <a:rPr lang="en-US" sz="1400" dirty="0"/>
                        <a:t>Patient</a:t>
                      </a:r>
                    </a:p>
                  </a:txBody>
                  <a:tcPr marL="93260" marR="93260" marT="46630" marB="46630"/>
                </a:tc>
                <a:tc>
                  <a:txBody>
                    <a:bodyPr/>
                    <a:lstStyle/>
                    <a:p>
                      <a:r>
                        <a:rPr lang="en-US" sz="1400" dirty="0"/>
                        <a:t>09/03/2013</a:t>
                      </a:r>
                      <a:r>
                        <a:rPr lang="en-US" sz="1400" baseline="0" dirty="0"/>
                        <a:t> 06:37:45</a:t>
                      </a:r>
                      <a:endParaRPr lang="en-US" sz="1400" dirty="0"/>
                    </a:p>
                  </a:txBody>
                  <a:tcPr marL="93260" marR="93260" marT="46630" marB="46630"/>
                </a:tc>
                <a:extLst>
                  <a:ext uri="{0D108BD9-81ED-4DB2-BD59-A6C34878D82A}">
                    <a16:rowId xmlns:a16="http://schemas.microsoft.com/office/drawing/2014/main" val="658772843"/>
                  </a:ext>
                </a:extLst>
              </a:tr>
              <a:tr h="310868">
                <a:tc>
                  <a:txBody>
                    <a:bodyPr/>
                    <a:lstStyle/>
                    <a:p>
                      <a:r>
                        <a:rPr lang="en-US" sz="1400" dirty="0"/>
                        <a:t>Procedure</a:t>
                      </a:r>
                    </a:p>
                  </a:txBody>
                  <a:tcPr marL="93260" marR="93260" marT="46630" marB="46630"/>
                </a:tc>
                <a:tc>
                  <a:txBody>
                    <a:bodyPr/>
                    <a:lstStyle/>
                    <a:p>
                      <a:r>
                        <a:rPr lang="en-US" sz="1400" dirty="0"/>
                        <a:t>09/03/2013 06:37:05</a:t>
                      </a:r>
                    </a:p>
                  </a:txBody>
                  <a:tcPr marL="93260" marR="93260" marT="46630" marB="46630"/>
                </a:tc>
                <a:extLst>
                  <a:ext uri="{0D108BD9-81ED-4DB2-BD59-A6C34878D82A}">
                    <a16:rowId xmlns:a16="http://schemas.microsoft.com/office/drawing/2014/main" val="48958277"/>
                  </a:ext>
                </a:extLst>
              </a:tr>
              <a:tr h="310868">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3380451046"/>
                  </a:ext>
                </a:extLst>
              </a:tr>
            </a:tbl>
          </a:graphicData>
        </a:graphic>
      </p:graphicFrame>
      <p:cxnSp>
        <p:nvCxnSpPr>
          <p:cNvPr id="132" name="Straight Connector 131"/>
          <p:cNvCxnSpPr/>
          <p:nvPr/>
        </p:nvCxnSpPr>
        <p:spPr>
          <a:xfrm>
            <a:off x="8464628" y="3560934"/>
            <a:ext cx="333442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a:xfrm>
            <a:off x="3677553" y="5077955"/>
            <a:ext cx="2074302"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09/03/2013 06:37:45</a:t>
            </a:r>
          </a:p>
        </p:txBody>
      </p:sp>
      <p:sp>
        <p:nvSpPr>
          <p:cNvPr id="134" name="Rectangle 133"/>
          <p:cNvSpPr/>
          <p:nvPr/>
        </p:nvSpPr>
        <p:spPr>
          <a:xfrm>
            <a:off x="9094689" y="1513355"/>
            <a:ext cx="2074301"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09/03/2013 08:36:00</a:t>
            </a:r>
          </a:p>
        </p:txBody>
      </p:sp>
      <p:sp>
        <p:nvSpPr>
          <p:cNvPr id="30" name="Left Brace 29"/>
          <p:cNvSpPr/>
          <p:nvPr/>
        </p:nvSpPr>
        <p:spPr>
          <a:xfrm>
            <a:off x="1674308" y="4460588"/>
            <a:ext cx="291126" cy="1870411"/>
          </a:xfrm>
          <a:prstGeom prst="leftBrace">
            <a:avLst>
              <a:gd name="adj1" fmla="val 8333"/>
              <a:gd name="adj2" fmla="val 51861"/>
            </a:avLst>
          </a:prstGeom>
          <a:ln w="19050">
            <a:solidFill>
              <a:srgbClr val="00BCF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grpSp>
        <p:nvGrpSpPr>
          <p:cNvPr id="116" name="Group 115"/>
          <p:cNvGrpSpPr/>
          <p:nvPr/>
        </p:nvGrpSpPr>
        <p:grpSpPr>
          <a:xfrm>
            <a:off x="6700078" y="3764132"/>
            <a:ext cx="383612" cy="465303"/>
            <a:chOff x="3601562" y="1357039"/>
            <a:chExt cx="3353970" cy="4068206"/>
          </a:xfrm>
        </p:grpSpPr>
        <p:sp>
          <p:nvSpPr>
            <p:cNvPr id="117" name="Freeform 116"/>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117"/>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18" name="Table 17"/>
          <p:cNvGraphicFramePr>
            <a:graphicFrameLocks noGrp="1"/>
          </p:cNvGraphicFramePr>
          <p:nvPr>
            <p:extLst/>
          </p:nvPr>
        </p:nvGraphicFramePr>
        <p:xfrm>
          <a:off x="2051048" y="4456600"/>
          <a:ext cx="5705907" cy="1874400"/>
        </p:xfrm>
        <a:graphic>
          <a:graphicData uri="http://schemas.openxmlformats.org/drawingml/2006/table">
            <a:tbl>
              <a:tblPr firstRow="1" bandRow="1">
                <a:tableStyleId>{5C22544A-7EE6-4342-B048-85BDC9FD1C3A}</a:tableStyleId>
              </a:tblPr>
              <a:tblGrid>
                <a:gridCol w="1295283">
                  <a:extLst>
                    <a:ext uri="{9D8B030D-6E8A-4147-A177-3AD203B41FA5}">
                      <a16:colId xmlns:a16="http://schemas.microsoft.com/office/drawing/2014/main" val="1248884249"/>
                    </a:ext>
                  </a:extLst>
                </a:gridCol>
                <a:gridCol w="751264">
                  <a:extLst>
                    <a:ext uri="{9D8B030D-6E8A-4147-A177-3AD203B41FA5}">
                      <a16:colId xmlns:a16="http://schemas.microsoft.com/office/drawing/2014/main" val="2275574639"/>
                    </a:ext>
                  </a:extLst>
                </a:gridCol>
                <a:gridCol w="1421109">
                  <a:extLst>
                    <a:ext uri="{9D8B030D-6E8A-4147-A177-3AD203B41FA5}">
                      <a16:colId xmlns:a16="http://schemas.microsoft.com/office/drawing/2014/main" val="3890934587"/>
                    </a:ext>
                  </a:extLst>
                </a:gridCol>
                <a:gridCol w="1088037">
                  <a:extLst>
                    <a:ext uri="{9D8B030D-6E8A-4147-A177-3AD203B41FA5}">
                      <a16:colId xmlns:a16="http://schemas.microsoft.com/office/drawing/2014/main" val="1350416051"/>
                    </a:ext>
                  </a:extLst>
                </a:gridCol>
                <a:gridCol w="1150214">
                  <a:extLst>
                    <a:ext uri="{9D8B030D-6E8A-4147-A177-3AD203B41FA5}">
                      <a16:colId xmlns:a16="http://schemas.microsoft.com/office/drawing/2014/main" val="968353595"/>
                    </a:ext>
                  </a:extLst>
                </a:gridCol>
              </a:tblGrid>
              <a:tr h="312400">
                <a:tc gridSpan="5">
                  <a:txBody>
                    <a:bodyPr/>
                    <a:lstStyle/>
                    <a:p>
                      <a:pPr algn="ctr"/>
                      <a:r>
                        <a:rPr lang="en-US" sz="1400" dirty="0"/>
                        <a:t>ETL control</a:t>
                      </a:r>
                      <a:r>
                        <a:rPr lang="en-US" sz="1400" baseline="0" dirty="0"/>
                        <a:t> detail table</a:t>
                      </a:r>
                      <a:endParaRPr lang="en-US" sz="1400" dirty="0"/>
                    </a:p>
                  </a:txBody>
                  <a:tcPr marL="93260" marR="93260" marT="46630" marB="46630">
                    <a:solidFill>
                      <a:srgbClr val="0078D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5887979"/>
                  </a:ext>
                </a:extLst>
              </a:tr>
              <a:tr h="312400">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a:solidFill>
                            <a:schemeClr val="bg1"/>
                          </a:solidFill>
                          <a:latin typeface="Segoe UI Semibold" panose="020B0702040204020203" pitchFamily="34" charset="0"/>
                          <a:cs typeface="Segoe UI Semibold" panose="020B0702040204020203" pitchFamily="34" charset="0"/>
                        </a:rPr>
                        <a:t>Status</a:t>
                      </a: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FileNam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APS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DR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3855396513"/>
                  </a:ext>
                </a:extLst>
              </a:tr>
              <a:tr h="312400">
                <a:tc>
                  <a:txBody>
                    <a:bodyPr/>
                    <a:lstStyle/>
                    <a:p>
                      <a:r>
                        <a:rPr lang="en-US" sz="1400" dirty="0"/>
                        <a:t>Patient</a:t>
                      </a:r>
                    </a:p>
                  </a:txBody>
                  <a:tcPr marL="93260" marR="93260" marT="46630" marB="46630"/>
                </a:tc>
                <a:tc>
                  <a:txBody>
                    <a:bodyPr/>
                    <a:lstStyle/>
                    <a:p>
                      <a:r>
                        <a:rPr lang="en-US" sz="1400" dirty="0"/>
                        <a:t>Comp</a:t>
                      </a:r>
                    </a:p>
                  </a:txBody>
                  <a:tcPr marL="93260" marR="93260" marT="46630" marB="46630"/>
                </a:tc>
                <a:tc>
                  <a:txBody>
                    <a:bodyPr/>
                    <a:lstStyle/>
                    <a:p>
                      <a:r>
                        <a:rPr lang="en-US" sz="1400" dirty="0"/>
                        <a:t>Pat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183929435"/>
                  </a:ext>
                </a:extLst>
              </a:tr>
              <a:tr h="312400">
                <a:tc>
                  <a:txBody>
                    <a:bodyPr/>
                    <a:lstStyle/>
                    <a:p>
                      <a:r>
                        <a:rPr lang="en-US" sz="1400" dirty="0">
                          <a:solidFill>
                            <a:srgbClr val="505050"/>
                          </a:solidFill>
                        </a:rPr>
                        <a:t>Procedure</a:t>
                      </a:r>
                    </a:p>
                  </a:txBody>
                  <a:tcPr marL="93260" marR="93260" marT="46630" marB="46630"/>
                </a:tc>
                <a:tc>
                  <a:txBody>
                    <a:bodyPr/>
                    <a:lstStyle/>
                    <a:p>
                      <a:r>
                        <a:rPr lang="en-US" sz="1400" dirty="0"/>
                        <a:t>Comp</a:t>
                      </a:r>
                    </a:p>
                  </a:txBody>
                  <a:tcPr marL="93260" marR="93260" marT="46630" marB="46630"/>
                </a:tc>
                <a:tc>
                  <a:txBody>
                    <a:bodyPr/>
                    <a:lstStyle/>
                    <a:p>
                      <a:r>
                        <a:rPr lang="en-US" sz="1400" dirty="0"/>
                        <a:t>Proc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3568375883"/>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2868241140"/>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571848649"/>
                  </a:ext>
                </a:extLst>
              </a:tr>
            </a:tbl>
          </a:graphicData>
        </a:graphic>
      </p:graphicFrame>
      <p:sp>
        <p:nvSpPr>
          <p:cNvPr id="135" name="Rectangle 134"/>
          <p:cNvSpPr/>
          <p:nvPr/>
        </p:nvSpPr>
        <p:spPr>
          <a:xfrm>
            <a:off x="9420219" y="2746300"/>
            <a:ext cx="1423240" cy="31467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roc20130903a</a:t>
            </a:r>
          </a:p>
        </p:txBody>
      </p:sp>
      <p:sp>
        <p:nvSpPr>
          <p:cNvPr id="136" name="Rectangle 135"/>
          <p:cNvSpPr/>
          <p:nvPr/>
        </p:nvSpPr>
        <p:spPr>
          <a:xfrm>
            <a:off x="2053361" y="5706113"/>
            <a:ext cx="1293300" cy="317085"/>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ient</a:t>
            </a:r>
          </a:p>
        </p:txBody>
      </p:sp>
      <p:sp>
        <p:nvSpPr>
          <p:cNvPr id="138" name="Rectangle 137"/>
          <p:cNvSpPr/>
          <p:nvPr/>
        </p:nvSpPr>
        <p:spPr>
          <a:xfrm>
            <a:off x="3348050" y="5706113"/>
            <a:ext cx="748275" cy="317085"/>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New</a:t>
            </a:r>
          </a:p>
        </p:txBody>
      </p:sp>
    </p:spTree>
    <p:extLst>
      <p:ext uri="{BB962C8B-B14F-4D97-AF65-F5344CB8AC3E}">
        <p14:creationId xmlns:p14="http://schemas.microsoft.com/office/powerpoint/2010/main" val="1022600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500"/>
                                        <p:tgtEl>
                                          <p:spTgt spid="12"/>
                                        </p:tgtEl>
                                      </p:cBhvr>
                                    </p:animEffect>
                                  </p:childTnLst>
                                </p:cTn>
                              </p:par>
                            </p:childTnLst>
                          </p:cTn>
                        </p:par>
                        <p:par>
                          <p:cTn id="17" fill="hold">
                            <p:stCondLst>
                              <p:cond delay="1500"/>
                            </p:stCondLst>
                            <p:childTnLst>
                              <p:par>
                                <p:cTn id="18" presetID="1" presetClass="entr" presetSubtype="0" fill="hold" grpId="1" nodeType="afterEffect">
                                  <p:stCondLst>
                                    <p:cond delay="0"/>
                                  </p:stCondLst>
                                  <p:childTnLst>
                                    <p:set>
                                      <p:cBhvr>
                                        <p:cTn id="19" dur="1" fill="hold">
                                          <p:stCondLst>
                                            <p:cond delay="0"/>
                                          </p:stCondLst>
                                        </p:cTn>
                                        <p:tgtEl>
                                          <p:spTgt spid="133"/>
                                        </p:tgtEl>
                                        <p:attrNameLst>
                                          <p:attrName>style.visibility</p:attrName>
                                        </p:attrNameLst>
                                      </p:cBhvr>
                                      <p:to>
                                        <p:strVal val="visible"/>
                                      </p:to>
                                    </p:set>
                                  </p:childTnLst>
                                </p:cTn>
                              </p:par>
                              <p:par>
                                <p:cTn id="20" presetID="64" presetClass="path" presetSubtype="0" accel="50000" decel="50000" fill="hold" grpId="0" nodeType="withEffect">
                                  <p:stCondLst>
                                    <p:cond delay="0"/>
                                  </p:stCondLst>
                                  <p:childTnLst>
                                    <p:animMotion origin="layout" path="M 3.54167E-6 3.33333E-6 L 0.43593 -0.43611 " pathEditMode="relative" rAng="0" ptsTypes="AA">
                                      <p:cBhvr>
                                        <p:cTn id="21" dur="2000" fill="hold"/>
                                        <p:tgtEl>
                                          <p:spTgt spid="133"/>
                                        </p:tgtEl>
                                        <p:attrNameLst>
                                          <p:attrName>ppt_x</p:attrName>
                                          <p:attrName>ppt_y</p:attrName>
                                        </p:attrNameLst>
                                      </p:cBhvr>
                                      <p:rCtr x="21797" y="-21806"/>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1" end="1"/>
                                            </p:txEl>
                                          </p:spTgt>
                                        </p:tgtEl>
                                        <p:attrNameLst>
                                          <p:attrName>style.visibility</p:attrName>
                                        </p:attrNameLst>
                                      </p:cBhvr>
                                      <p:to>
                                        <p:strVal val="visible"/>
                                      </p:to>
                                    </p:set>
                                    <p:animEffect transition="in" filter="fade">
                                      <p:cBhvr>
                                        <p:cTn id="26" dur="500"/>
                                        <p:tgtEl>
                                          <p:spTgt spid="3">
                                            <p:txEl>
                                              <p:pRg st="1" end="1"/>
                                            </p:txEl>
                                          </p:spTgt>
                                        </p:tgtEl>
                                      </p:cBhvr>
                                    </p:animEffect>
                                  </p:childTnLst>
                                </p:cTn>
                              </p:par>
                              <p:par>
                                <p:cTn id="27" presetID="1" presetClass="entr" presetSubtype="0" fill="hold" nodeType="withEffect">
                                  <p:stCondLst>
                                    <p:cond delay="0"/>
                                  </p:stCondLst>
                                  <p:childTnLst>
                                    <p:set>
                                      <p:cBhvr>
                                        <p:cTn id="28" dur="1" fill="hold">
                                          <p:stCondLst>
                                            <p:cond delay="0"/>
                                          </p:stCondLst>
                                        </p:cTn>
                                        <p:tgtEl>
                                          <p:spTgt spid="116"/>
                                        </p:tgtEl>
                                        <p:attrNameLst>
                                          <p:attrName>style.visibility</p:attrName>
                                        </p:attrNameLst>
                                      </p:cBhvr>
                                      <p:to>
                                        <p:strVal val="visible"/>
                                      </p:to>
                                    </p:set>
                                  </p:childTnLst>
                                </p:cTn>
                              </p:par>
                              <p:par>
                                <p:cTn id="29" presetID="8" presetClass="emph" presetSubtype="0" fill="hold" grpId="0" nodeType="withEffect">
                                  <p:stCondLst>
                                    <p:cond delay="0"/>
                                  </p:stCondLst>
                                  <p:childTnLst>
                                    <p:animRot by="21600000">
                                      <p:cBhvr>
                                        <p:cTn id="30" dur="2000" fill="hold"/>
                                        <p:tgtEl>
                                          <p:spTgt spid="123"/>
                                        </p:tgtEl>
                                        <p:attrNameLst>
                                          <p:attrName>r</p:attrName>
                                        </p:attrNameLst>
                                      </p:cBhvr>
                                    </p:animRot>
                                  </p:childTnLst>
                                </p:cTn>
                              </p:par>
                              <p:par>
                                <p:cTn id="31" presetID="63" presetClass="path" presetSubtype="0" accel="50000" decel="50000" fill="hold" nodeType="withEffect">
                                  <p:stCondLst>
                                    <p:cond delay="0"/>
                                  </p:stCondLst>
                                  <p:childTnLst>
                                    <p:animMotion origin="layout" path="M 3.33333E-6 3.7037E-6 L 0.26731 0.01226 " pathEditMode="relative" rAng="0" ptsTypes="AA">
                                      <p:cBhvr>
                                        <p:cTn id="32" dur="2000" fill="hold"/>
                                        <p:tgtEl>
                                          <p:spTgt spid="116"/>
                                        </p:tgtEl>
                                        <p:attrNameLst>
                                          <p:attrName>ppt_x</p:attrName>
                                          <p:attrName>ppt_y</p:attrName>
                                        </p:attrNameLst>
                                      </p:cBhvr>
                                      <p:rCtr x="13359" y="602"/>
                                    </p:animMotion>
                                  </p:childTnLst>
                                </p:cTn>
                              </p:par>
                            </p:childTnLst>
                          </p:cTn>
                        </p:par>
                        <p:par>
                          <p:cTn id="33" fill="hold">
                            <p:stCondLst>
                              <p:cond delay="2000"/>
                            </p:stCondLst>
                            <p:childTnLst>
                              <p:par>
                                <p:cTn id="34" presetID="1" presetClass="exit" presetSubtype="0" fill="hold" grpId="2" nodeType="afterEffect">
                                  <p:stCondLst>
                                    <p:cond delay="0"/>
                                  </p:stCondLst>
                                  <p:childTnLst>
                                    <p:set>
                                      <p:cBhvr>
                                        <p:cTn id="35" dur="1" fill="hold">
                                          <p:stCondLst>
                                            <p:cond delay="0"/>
                                          </p:stCondLst>
                                        </p:cTn>
                                        <p:tgtEl>
                                          <p:spTgt spid="133"/>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2" end="2"/>
                                            </p:txEl>
                                          </p:spTgt>
                                        </p:tgtEl>
                                        <p:attrNameLst>
                                          <p:attrName>style.visibility</p:attrName>
                                        </p:attrNameLst>
                                      </p:cBhvr>
                                      <p:to>
                                        <p:strVal val="visible"/>
                                      </p:to>
                                    </p:set>
                                    <p:animEffect transition="in" filter="fade">
                                      <p:cBhvr>
                                        <p:cTn id="40" dur="500"/>
                                        <p:tgtEl>
                                          <p:spTgt spid="3">
                                            <p:txEl>
                                              <p:pRg st="2" end="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 presetClass="entr" presetSubtype="0" fill="hold" grpId="0" nodeType="withEffect">
                                  <p:stCondLst>
                                    <p:cond delay="0"/>
                                  </p:stCondLst>
                                  <p:childTnLst>
                                    <p:set>
                                      <p:cBhvr>
                                        <p:cTn id="45" dur="1" fill="hold">
                                          <p:stCondLst>
                                            <p:cond delay="0"/>
                                          </p:stCondLst>
                                        </p:cTn>
                                        <p:tgtEl>
                                          <p:spTgt spid="135"/>
                                        </p:tgtEl>
                                        <p:attrNameLst>
                                          <p:attrName>style.visibility</p:attrName>
                                        </p:attrNameLst>
                                      </p:cBhvr>
                                      <p:to>
                                        <p:strVal val="visible"/>
                                      </p:to>
                                    </p:set>
                                  </p:childTnLst>
                                </p:cTn>
                              </p:par>
                              <p:par>
                                <p:cTn id="46" presetID="35" presetClass="path" presetSubtype="0" accel="50000" decel="50000" fill="hold" grpId="1" nodeType="withEffect">
                                  <p:stCondLst>
                                    <p:cond delay="0"/>
                                  </p:stCondLst>
                                  <p:childTnLst>
                                    <p:animMotion origin="layout" path="M -0.00026 -0.00047 L -0.42799 0.42291 " pathEditMode="relative" rAng="0" ptsTypes="AA">
                                      <p:cBhvr>
                                        <p:cTn id="47" dur="2000" fill="hold"/>
                                        <p:tgtEl>
                                          <p:spTgt spid="135"/>
                                        </p:tgtEl>
                                        <p:attrNameLst>
                                          <p:attrName>ppt_x</p:attrName>
                                          <p:attrName>ppt_y</p:attrName>
                                        </p:attrNameLst>
                                      </p:cBhvr>
                                      <p:rCtr x="-21393" y="21157"/>
                                    </p:animMotion>
                                  </p:childTnLst>
                                </p:cTn>
                              </p:par>
                            </p:childTnLst>
                          </p:cTn>
                        </p:par>
                        <p:par>
                          <p:cTn id="48" fill="hold">
                            <p:stCondLst>
                              <p:cond delay="2000"/>
                            </p:stCondLst>
                            <p:childTnLst>
                              <p:par>
                                <p:cTn id="49" presetID="10" presetClass="entr" presetSubtype="0" fill="hold" grpId="0" nodeType="afterEffect">
                                  <p:stCondLst>
                                    <p:cond delay="0"/>
                                  </p:stCondLst>
                                  <p:childTnLst>
                                    <p:set>
                                      <p:cBhvr>
                                        <p:cTn id="50" dur="1" fill="hold">
                                          <p:stCondLst>
                                            <p:cond delay="0"/>
                                          </p:stCondLst>
                                        </p:cTn>
                                        <p:tgtEl>
                                          <p:spTgt spid="136"/>
                                        </p:tgtEl>
                                        <p:attrNameLst>
                                          <p:attrName>style.visibility</p:attrName>
                                        </p:attrNameLst>
                                      </p:cBhvr>
                                      <p:to>
                                        <p:strVal val="visible"/>
                                      </p:to>
                                    </p:set>
                                    <p:animEffect transition="in" filter="fade">
                                      <p:cBhvr>
                                        <p:cTn id="51" dur="500"/>
                                        <p:tgtEl>
                                          <p:spTgt spid="13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
                                            <p:txEl>
                                              <p:pRg st="3" end="3"/>
                                            </p:txEl>
                                          </p:spTgt>
                                        </p:tgtEl>
                                        <p:attrNameLst>
                                          <p:attrName>style.visibility</p:attrName>
                                        </p:attrNameLst>
                                      </p:cBhvr>
                                      <p:to>
                                        <p:strVal val="visible"/>
                                      </p:to>
                                    </p:set>
                                    <p:animEffect transition="in" filter="fade">
                                      <p:cBhvr>
                                        <p:cTn id="59" dur="500"/>
                                        <p:tgtEl>
                                          <p:spTgt spid="3">
                                            <p:txEl>
                                              <p:pRg st="3" end="3"/>
                                            </p:txEl>
                                          </p:spTgt>
                                        </p:tgtEl>
                                      </p:cBhvr>
                                    </p:animEffect>
                                  </p:childTnLst>
                                </p:cTn>
                              </p:par>
                              <p:par>
                                <p:cTn id="60" presetID="10" presetClass="exit" presetSubtype="0" fill="hold" nodeType="withEffect">
                                  <p:stCondLst>
                                    <p:cond delay="0"/>
                                  </p:stCondLst>
                                  <p:childTnLst>
                                    <p:animEffect transition="out" filter="fade">
                                      <p:cBhvr>
                                        <p:cTn id="61" dur="500"/>
                                        <p:tgtEl>
                                          <p:spTgt spid="18"/>
                                        </p:tgtEl>
                                      </p:cBhvr>
                                    </p:animEffect>
                                    <p:set>
                                      <p:cBhvr>
                                        <p:cTn id="62" dur="1" fill="hold">
                                          <p:stCondLst>
                                            <p:cond delay="499"/>
                                          </p:stCondLst>
                                        </p:cTn>
                                        <p:tgtEl>
                                          <p:spTgt spid="18"/>
                                        </p:tgtEl>
                                        <p:attrNameLst>
                                          <p:attrName>style.visibility</p:attrName>
                                        </p:attrNameLst>
                                      </p:cBhvr>
                                      <p:to>
                                        <p:strVal val="hidden"/>
                                      </p:to>
                                    </p:set>
                                  </p:childTnLst>
                                </p:cTn>
                              </p:par>
                              <p:par>
                                <p:cTn id="63" presetID="10" presetClass="exit" presetSubtype="0" fill="hold" grpId="2" nodeType="withEffect">
                                  <p:stCondLst>
                                    <p:cond delay="0"/>
                                  </p:stCondLst>
                                  <p:childTnLst>
                                    <p:animEffect transition="out" filter="fade">
                                      <p:cBhvr>
                                        <p:cTn id="64" dur="500"/>
                                        <p:tgtEl>
                                          <p:spTgt spid="135"/>
                                        </p:tgtEl>
                                      </p:cBhvr>
                                    </p:animEffect>
                                    <p:set>
                                      <p:cBhvr>
                                        <p:cTn id="65" dur="1" fill="hold">
                                          <p:stCondLst>
                                            <p:cond delay="499"/>
                                          </p:stCondLst>
                                        </p:cTn>
                                        <p:tgtEl>
                                          <p:spTgt spid="135"/>
                                        </p:tgtEl>
                                        <p:attrNameLst>
                                          <p:attrName>style.visibility</p:attrName>
                                        </p:attrNameLst>
                                      </p:cBhvr>
                                      <p:to>
                                        <p:strVal val="hidden"/>
                                      </p:to>
                                    </p:set>
                                  </p:childTnLst>
                                </p:cTn>
                              </p:par>
                              <p:par>
                                <p:cTn id="66" presetID="10" presetClass="exit" presetSubtype="0" fill="hold" grpId="1" nodeType="withEffect">
                                  <p:stCondLst>
                                    <p:cond delay="0"/>
                                  </p:stCondLst>
                                  <p:childTnLst>
                                    <p:animEffect transition="out" filter="fade">
                                      <p:cBhvr>
                                        <p:cTn id="67" dur="500"/>
                                        <p:tgtEl>
                                          <p:spTgt spid="136"/>
                                        </p:tgtEl>
                                      </p:cBhvr>
                                    </p:animEffect>
                                    <p:set>
                                      <p:cBhvr>
                                        <p:cTn id="68" dur="1" fill="hold">
                                          <p:stCondLst>
                                            <p:cond delay="499"/>
                                          </p:stCondLst>
                                        </p:cTn>
                                        <p:tgtEl>
                                          <p:spTgt spid="136"/>
                                        </p:tgtEl>
                                        <p:attrNameLst>
                                          <p:attrName>style.visibility</p:attrName>
                                        </p:attrNameLst>
                                      </p:cBhvr>
                                      <p:to>
                                        <p:strVal val="hidden"/>
                                      </p:to>
                                    </p:set>
                                  </p:childTnLst>
                                </p:cTn>
                              </p:par>
                              <p:par>
                                <p:cTn id="69" presetID="10" presetClass="exit" presetSubtype="0" fill="hold" grpId="1" nodeType="withEffect">
                                  <p:stCondLst>
                                    <p:cond delay="0"/>
                                  </p:stCondLst>
                                  <p:childTnLst>
                                    <p:animEffect transition="out" filter="fade">
                                      <p:cBhvr>
                                        <p:cTn id="70" dur="500"/>
                                        <p:tgtEl>
                                          <p:spTgt spid="138"/>
                                        </p:tgtEl>
                                      </p:cBhvr>
                                    </p:animEffect>
                                    <p:set>
                                      <p:cBhvr>
                                        <p:cTn id="71" dur="1" fill="hold">
                                          <p:stCondLst>
                                            <p:cond delay="499"/>
                                          </p:stCondLst>
                                        </p:cTn>
                                        <p:tgtEl>
                                          <p:spTgt spid="138"/>
                                        </p:tgtEl>
                                        <p:attrNameLst>
                                          <p:attrName>style.visibility</p:attrName>
                                        </p:attrNameLst>
                                      </p:cBhvr>
                                      <p:to>
                                        <p:strVal val="hidden"/>
                                      </p:to>
                                    </p:set>
                                  </p:childTnLst>
                                </p:cTn>
                              </p:par>
                              <p:par>
                                <p:cTn id="72" presetID="1" presetClass="entr" presetSubtype="0" fill="hold" grpId="1" nodeType="withEffect">
                                  <p:stCondLst>
                                    <p:cond delay="0"/>
                                  </p:stCondLst>
                                  <p:childTnLst>
                                    <p:set>
                                      <p:cBhvr>
                                        <p:cTn id="73" dur="1" fill="hold">
                                          <p:stCondLst>
                                            <p:cond delay="0"/>
                                          </p:stCondLst>
                                        </p:cTn>
                                        <p:tgtEl>
                                          <p:spTgt spid="134"/>
                                        </p:tgtEl>
                                        <p:attrNameLst>
                                          <p:attrName>style.visibility</p:attrName>
                                        </p:attrNameLst>
                                      </p:cBhvr>
                                      <p:to>
                                        <p:strVal val="visible"/>
                                      </p:to>
                                    </p:set>
                                  </p:childTnLst>
                                </p:cTn>
                              </p:par>
                              <p:par>
                                <p:cTn id="74" presetID="42" presetClass="path" presetSubtype="0" accel="50000" decel="50000" fill="hold" grpId="0" nodeType="withEffect">
                                  <p:stCondLst>
                                    <p:cond delay="0"/>
                                  </p:stCondLst>
                                  <p:childTnLst>
                                    <p:animMotion origin="layout" path="M -3.54167E-6 -4.44444E-6 L -0.43567 0.50973 " pathEditMode="relative" rAng="0" ptsTypes="AA">
                                      <p:cBhvr>
                                        <p:cTn id="75" dur="2000" fill="hold"/>
                                        <p:tgtEl>
                                          <p:spTgt spid="134"/>
                                        </p:tgtEl>
                                        <p:attrNameLst>
                                          <p:attrName>ppt_x</p:attrName>
                                          <p:attrName>ppt_y</p:attrName>
                                        </p:attrNameLst>
                                      </p:cBhvr>
                                      <p:rCtr x="-21784" y="25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33" grpId="0" animBg="1"/>
      <p:bldP spid="133" grpId="1" animBg="1"/>
      <p:bldP spid="133" grpId="2" animBg="1"/>
      <p:bldP spid="134" grpId="0" animBg="1"/>
      <p:bldP spid="134" grpId="1" animBg="1"/>
      <p:bldP spid="30" grpId="0" animBg="1"/>
      <p:bldP spid="135" grpId="0" animBg="1"/>
      <p:bldP spid="135" grpId="1" animBg="1"/>
      <p:bldP spid="135" grpId="2" animBg="1"/>
      <p:bldP spid="136" grpId="0" animBg="1"/>
      <p:bldP spid="136" grpId="1" animBg="1"/>
      <p:bldP spid="138" grpId="0" animBg="1"/>
      <p:bldP spid="138"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16600" dirty="0"/>
              <a:t>Demo</a:t>
            </a:r>
          </a:p>
        </p:txBody>
      </p:sp>
    </p:spTree>
    <p:extLst>
      <p:ext uri="{BB962C8B-B14F-4D97-AF65-F5344CB8AC3E}">
        <p14:creationId xmlns:p14="http://schemas.microsoft.com/office/powerpoint/2010/main" val="2434626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39"/>
          <p:cNvSpPr/>
          <p:nvPr/>
        </p:nvSpPr>
        <p:spPr bwMode="auto">
          <a:xfrm>
            <a:off x="8167621" y="3657484"/>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a:xfrm>
            <a:off x="7131746" y="4672323"/>
            <a:ext cx="2844324"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92" name="Rectangle 91"/>
          <p:cNvSpPr/>
          <p:nvPr/>
        </p:nvSpPr>
        <p:spPr>
          <a:xfrm>
            <a:off x="7131746" y="1421950"/>
            <a:ext cx="2844324" cy="1995325"/>
          </a:xfrm>
          <a:prstGeom prst="rect">
            <a:avLst/>
          </a:prstGeom>
          <a:solidFill>
            <a:srgbClr val="B4A0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cxnSp>
        <p:nvCxnSpPr>
          <p:cNvPr id="93" name="Straight Connector 92"/>
          <p:cNvCxnSpPr/>
          <p:nvPr/>
        </p:nvCxnSpPr>
        <p:spPr>
          <a:xfrm>
            <a:off x="6850824" y="3473573"/>
            <a:ext cx="527331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8085260" y="5687451"/>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95" name="TextBox 94"/>
          <p:cNvSpPr txBox="1"/>
          <p:nvPr/>
        </p:nvSpPr>
        <p:spPr>
          <a:xfrm>
            <a:off x="10574192" y="2972587"/>
            <a:ext cx="1215925"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PS</a:t>
            </a:r>
          </a:p>
        </p:txBody>
      </p:sp>
      <p:sp>
        <p:nvSpPr>
          <p:cNvPr id="99" name="TextBox 98"/>
          <p:cNvSpPr txBox="1"/>
          <p:nvPr/>
        </p:nvSpPr>
        <p:spPr>
          <a:xfrm>
            <a:off x="10283749" y="6140290"/>
            <a:ext cx="1796812"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SQL DW</a:t>
            </a:r>
          </a:p>
        </p:txBody>
      </p:sp>
      <p:sp>
        <p:nvSpPr>
          <p:cNvPr id="100" name="TextBox 99"/>
          <p:cNvSpPr txBox="1"/>
          <p:nvPr/>
        </p:nvSpPr>
        <p:spPr>
          <a:xfrm>
            <a:off x="7390858" y="4220455"/>
            <a:ext cx="2164921" cy="527372"/>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Blob Storage</a:t>
            </a:r>
          </a:p>
        </p:txBody>
      </p:sp>
      <p:sp>
        <p:nvSpPr>
          <p:cNvPr id="104" name="TextBox 103"/>
          <p:cNvSpPr txBox="1"/>
          <p:nvPr/>
        </p:nvSpPr>
        <p:spPr>
          <a:xfrm>
            <a:off x="8085260" y="2450075"/>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108" name="Freeform 107"/>
          <p:cNvSpPr/>
          <p:nvPr/>
        </p:nvSpPr>
        <p:spPr bwMode="auto">
          <a:xfrm>
            <a:off x="8275363" y="1888310"/>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9" name="Group 108"/>
          <p:cNvGrpSpPr/>
          <p:nvPr/>
        </p:nvGrpSpPr>
        <p:grpSpPr>
          <a:xfrm>
            <a:off x="10838302" y="1688548"/>
            <a:ext cx="687708" cy="1367237"/>
            <a:chOff x="-1497013" y="809624"/>
            <a:chExt cx="1601789" cy="3184518"/>
          </a:xfrm>
          <a:solidFill>
            <a:srgbClr val="0078D7"/>
          </a:solidFill>
        </p:grpSpPr>
        <p:sp>
          <p:nvSpPr>
            <p:cNvPr id="110"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1"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2"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3"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4"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5"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6"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7"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118" name="Freeform 117"/>
          <p:cNvSpPr/>
          <p:nvPr/>
        </p:nvSpPr>
        <p:spPr bwMode="auto">
          <a:xfrm flipH="1">
            <a:off x="10555217" y="4911753"/>
            <a:ext cx="1253877" cy="11988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sp>
        <p:nvSpPr>
          <p:cNvPr id="119" name="Freeform 118"/>
          <p:cNvSpPr/>
          <p:nvPr/>
        </p:nvSpPr>
        <p:spPr bwMode="auto">
          <a:xfrm>
            <a:off x="8275363" y="5129515"/>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Normal load processing</a:t>
            </a:r>
          </a:p>
        </p:txBody>
      </p:sp>
      <p:sp>
        <p:nvSpPr>
          <p:cNvPr id="4" name="Text Placeholder 3"/>
          <p:cNvSpPr>
            <a:spLocks noGrp="1"/>
          </p:cNvSpPr>
          <p:nvPr>
            <p:ph type="body" sz="quarter" idx="10"/>
          </p:nvPr>
        </p:nvSpPr>
        <p:spPr>
          <a:xfrm>
            <a:off x="274638" y="1216152"/>
            <a:ext cx="6667005" cy="2131353"/>
          </a:xfrm>
        </p:spPr>
        <p:txBody>
          <a:bodyPr/>
          <a:lstStyle/>
          <a:p>
            <a:pPr>
              <a:lnSpc>
                <a:spcPct val="100000"/>
              </a:lnSpc>
              <a:spcAft>
                <a:spcPts val="1428"/>
              </a:spcAft>
            </a:pPr>
            <a:r>
              <a:rPr lang="en-US" sz="1600" dirty="0">
                <a:solidFill>
                  <a:srgbClr val="0078D7"/>
                </a:solidFill>
                <a:latin typeface="Segoe UI Semibold" panose="020B0702040204020203" pitchFamily="34" charset="0"/>
                <a:cs typeface="Segoe UI Semibold" panose="020B0702040204020203" pitchFamily="34" charset="0"/>
              </a:rPr>
              <a:t>Step 5: </a:t>
            </a:r>
            <a:r>
              <a:rPr lang="en-US" sz="1600" dirty="0"/>
              <a:t>APS &amp; Azure SQL DW load process reads ETL control detail to determine what needs to be completed</a:t>
            </a:r>
          </a:p>
          <a:p>
            <a:pPr>
              <a:lnSpc>
                <a:spcPct val="100000"/>
              </a:lnSpc>
              <a:spcAft>
                <a:spcPts val="1428"/>
              </a:spcAft>
            </a:pPr>
            <a:r>
              <a:rPr lang="en-US" sz="1600" dirty="0">
                <a:solidFill>
                  <a:srgbClr val="0078D7"/>
                </a:solidFill>
                <a:latin typeface="Segoe UI Semibold" panose="020B0702040204020203" pitchFamily="34" charset="0"/>
                <a:cs typeface="Segoe UI Semibold" panose="020B0702040204020203" pitchFamily="34" charset="0"/>
              </a:rPr>
              <a:t>Step 6: </a:t>
            </a:r>
            <a:r>
              <a:rPr lang="en-US" sz="1600" dirty="0"/>
              <a:t>Both APS &amp; Azure SQL DW are loaded with the needed data </a:t>
            </a:r>
          </a:p>
          <a:p>
            <a:pPr>
              <a:lnSpc>
                <a:spcPct val="100000"/>
              </a:lnSpc>
              <a:spcAft>
                <a:spcPts val="1428"/>
              </a:spcAft>
            </a:pPr>
            <a:r>
              <a:rPr lang="en-US" sz="1600" dirty="0">
                <a:solidFill>
                  <a:srgbClr val="0078D7"/>
                </a:solidFill>
                <a:latin typeface="Segoe UI Semibold" panose="020B0702040204020203" pitchFamily="34" charset="0"/>
                <a:cs typeface="Segoe UI Semibold" panose="020B0702040204020203" pitchFamily="34" charset="0"/>
              </a:rPr>
              <a:t>Step 7: </a:t>
            </a:r>
            <a:r>
              <a:rPr lang="en-US" sz="1600" dirty="0"/>
              <a:t>Each ETL updated the control table indicating it processed the file</a:t>
            </a:r>
          </a:p>
          <a:p>
            <a:pPr>
              <a:lnSpc>
                <a:spcPct val="100000"/>
              </a:lnSpc>
              <a:spcAft>
                <a:spcPts val="1428"/>
              </a:spcAft>
            </a:pPr>
            <a:r>
              <a:rPr lang="en-US" sz="1600" dirty="0">
                <a:solidFill>
                  <a:srgbClr val="0078D7"/>
                </a:solidFill>
                <a:latin typeface="Segoe UI Semibold" panose="020B0702040204020203" pitchFamily="34" charset="0"/>
                <a:cs typeface="Segoe UI Semibold" panose="020B0702040204020203" pitchFamily="34" charset="0"/>
              </a:rPr>
              <a:t>Step 8: </a:t>
            </a:r>
            <a:r>
              <a:rPr lang="en-US" sz="1600" dirty="0"/>
              <a:t>Verification/notification/clean-up – Based on the ETL control detail table, the DFS folder is cleaned up if both APS &amp; Azure SQL DW have processed the file </a:t>
            </a:r>
          </a:p>
        </p:txBody>
      </p:sp>
      <p:graphicFrame>
        <p:nvGraphicFramePr>
          <p:cNvPr id="122" name="Table 121"/>
          <p:cNvGraphicFramePr>
            <a:graphicFrameLocks noGrp="1"/>
          </p:cNvGraphicFramePr>
          <p:nvPr>
            <p:extLst/>
          </p:nvPr>
        </p:nvGraphicFramePr>
        <p:xfrm>
          <a:off x="679899" y="4439242"/>
          <a:ext cx="5705907" cy="1874400"/>
        </p:xfrm>
        <a:graphic>
          <a:graphicData uri="http://schemas.openxmlformats.org/drawingml/2006/table">
            <a:tbl>
              <a:tblPr firstRow="1" bandRow="1">
                <a:tableStyleId>{5C22544A-7EE6-4342-B048-85BDC9FD1C3A}</a:tableStyleId>
              </a:tblPr>
              <a:tblGrid>
                <a:gridCol w="1295283">
                  <a:extLst>
                    <a:ext uri="{9D8B030D-6E8A-4147-A177-3AD203B41FA5}">
                      <a16:colId xmlns:a16="http://schemas.microsoft.com/office/drawing/2014/main" val="1248884249"/>
                    </a:ext>
                  </a:extLst>
                </a:gridCol>
                <a:gridCol w="751264">
                  <a:extLst>
                    <a:ext uri="{9D8B030D-6E8A-4147-A177-3AD203B41FA5}">
                      <a16:colId xmlns:a16="http://schemas.microsoft.com/office/drawing/2014/main" val="2275574639"/>
                    </a:ext>
                  </a:extLst>
                </a:gridCol>
                <a:gridCol w="1421109">
                  <a:extLst>
                    <a:ext uri="{9D8B030D-6E8A-4147-A177-3AD203B41FA5}">
                      <a16:colId xmlns:a16="http://schemas.microsoft.com/office/drawing/2014/main" val="3890934587"/>
                    </a:ext>
                  </a:extLst>
                </a:gridCol>
                <a:gridCol w="1088037">
                  <a:extLst>
                    <a:ext uri="{9D8B030D-6E8A-4147-A177-3AD203B41FA5}">
                      <a16:colId xmlns:a16="http://schemas.microsoft.com/office/drawing/2014/main" val="1350416051"/>
                    </a:ext>
                  </a:extLst>
                </a:gridCol>
                <a:gridCol w="1150214">
                  <a:extLst>
                    <a:ext uri="{9D8B030D-6E8A-4147-A177-3AD203B41FA5}">
                      <a16:colId xmlns:a16="http://schemas.microsoft.com/office/drawing/2014/main" val="968353595"/>
                    </a:ext>
                  </a:extLst>
                </a:gridCol>
              </a:tblGrid>
              <a:tr h="312400">
                <a:tc gridSpan="5">
                  <a:txBody>
                    <a:bodyPr/>
                    <a:lstStyle/>
                    <a:p>
                      <a:pPr algn="ctr"/>
                      <a:r>
                        <a:rPr lang="en-US" sz="1400" dirty="0"/>
                        <a:t>ETL control</a:t>
                      </a:r>
                      <a:r>
                        <a:rPr lang="en-US" sz="1400" baseline="0" dirty="0"/>
                        <a:t> detail table</a:t>
                      </a:r>
                      <a:endParaRPr lang="en-US" sz="1400" dirty="0"/>
                    </a:p>
                  </a:txBody>
                  <a:tcPr marL="93260" marR="93260" marT="46630" marB="46630">
                    <a:solidFill>
                      <a:srgbClr val="0078D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5887979"/>
                  </a:ext>
                </a:extLst>
              </a:tr>
              <a:tr h="312400">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a:solidFill>
                            <a:schemeClr val="bg1"/>
                          </a:solidFill>
                          <a:latin typeface="Segoe UI Semibold" panose="020B0702040204020203" pitchFamily="34" charset="0"/>
                          <a:cs typeface="Segoe UI Semibold" panose="020B0702040204020203" pitchFamily="34" charset="0"/>
                        </a:rPr>
                        <a:t>Status</a:t>
                      </a: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FileNam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APS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DR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3855396513"/>
                  </a:ext>
                </a:extLst>
              </a:tr>
              <a:tr h="312400">
                <a:tc>
                  <a:txBody>
                    <a:bodyPr/>
                    <a:lstStyle/>
                    <a:p>
                      <a:r>
                        <a:rPr lang="en-US" sz="1400" dirty="0"/>
                        <a:t>Patient</a:t>
                      </a:r>
                    </a:p>
                  </a:txBody>
                  <a:tcPr marL="93260" marR="93260" marT="46630" marB="46630"/>
                </a:tc>
                <a:tc>
                  <a:txBody>
                    <a:bodyPr/>
                    <a:lstStyle/>
                    <a:p>
                      <a:r>
                        <a:rPr lang="en-US" sz="1400" dirty="0"/>
                        <a:t>Comp</a:t>
                      </a:r>
                    </a:p>
                  </a:txBody>
                  <a:tcPr marL="93260" marR="93260" marT="46630" marB="46630"/>
                </a:tc>
                <a:tc>
                  <a:txBody>
                    <a:bodyPr/>
                    <a:lstStyle/>
                    <a:p>
                      <a:r>
                        <a:rPr lang="en-US" sz="1400" dirty="0"/>
                        <a:t>Pat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183929435"/>
                  </a:ext>
                </a:extLst>
              </a:tr>
              <a:tr h="312400">
                <a:tc>
                  <a:txBody>
                    <a:bodyPr/>
                    <a:lstStyle/>
                    <a:p>
                      <a:r>
                        <a:rPr lang="en-US" sz="1400" dirty="0">
                          <a:solidFill>
                            <a:srgbClr val="505050"/>
                          </a:solidFill>
                        </a:rPr>
                        <a:t>Procedure</a:t>
                      </a:r>
                    </a:p>
                  </a:txBody>
                  <a:tcPr marL="93260" marR="93260" marT="46630" marB="46630"/>
                </a:tc>
                <a:tc>
                  <a:txBody>
                    <a:bodyPr/>
                    <a:lstStyle/>
                    <a:p>
                      <a:r>
                        <a:rPr lang="en-US" sz="1400" dirty="0"/>
                        <a:t>Comp</a:t>
                      </a:r>
                    </a:p>
                  </a:txBody>
                  <a:tcPr marL="93260" marR="93260" marT="46630" marB="46630"/>
                </a:tc>
                <a:tc>
                  <a:txBody>
                    <a:bodyPr/>
                    <a:lstStyle/>
                    <a:p>
                      <a:r>
                        <a:rPr lang="en-US" sz="1400" dirty="0"/>
                        <a:t>Proc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3568375883"/>
                  </a:ext>
                </a:extLst>
              </a:tr>
              <a:tr h="312400">
                <a:tc>
                  <a:txBody>
                    <a:bodyPr/>
                    <a:lstStyle/>
                    <a:p>
                      <a:r>
                        <a:rPr lang="en-US" sz="1400" dirty="0"/>
                        <a:t>Patient</a:t>
                      </a:r>
                    </a:p>
                  </a:txBody>
                  <a:tcPr marL="93260" marR="93260" marT="46630" marB="46630"/>
                </a:tc>
                <a:tc>
                  <a:txBody>
                    <a:bodyPr/>
                    <a:lstStyle/>
                    <a:p>
                      <a:r>
                        <a:rPr lang="en-US" sz="1400" dirty="0"/>
                        <a:t>New</a:t>
                      </a:r>
                    </a:p>
                  </a:txBody>
                  <a:tcPr marL="93260" marR="93260" marT="46630" marB="46630"/>
                </a:tc>
                <a:tc>
                  <a:txBody>
                    <a:bodyPr/>
                    <a:lstStyle/>
                    <a:p>
                      <a:pPr marL="0" marR="0" indent="0" algn="l" defTabSz="914250" rtl="0" eaLnBrk="1" fontAlgn="auto" latinLnBrk="0" hangingPunct="1">
                        <a:lnSpc>
                          <a:spcPct val="100000"/>
                        </a:lnSpc>
                        <a:spcBef>
                          <a:spcPts val="0"/>
                        </a:spcBef>
                        <a:spcAft>
                          <a:spcPts val="0"/>
                        </a:spcAft>
                        <a:buClrTx/>
                        <a:buSzTx/>
                        <a:buFontTx/>
                        <a:buNone/>
                        <a:tabLst/>
                        <a:defRPr/>
                      </a:pPr>
                      <a:r>
                        <a:rPr lang="en-US" sz="1400" dirty="0">
                          <a:solidFill>
                            <a:srgbClr val="505050"/>
                          </a:solidFill>
                        </a:rPr>
                        <a:t>Pat20130903a</a:t>
                      </a:r>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2868241140"/>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571848649"/>
                  </a:ext>
                </a:extLst>
              </a:tr>
            </a:tbl>
          </a:graphicData>
        </a:graphic>
      </p:graphicFrame>
      <p:sp>
        <p:nvSpPr>
          <p:cNvPr id="121" name="Rectangle 120"/>
          <p:cNvSpPr/>
          <p:nvPr/>
        </p:nvSpPr>
        <p:spPr>
          <a:xfrm>
            <a:off x="8008578" y="2745396"/>
            <a:ext cx="1090660"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sp>
        <p:nvSpPr>
          <p:cNvPr id="127" name="Rectangle 126"/>
          <p:cNvSpPr/>
          <p:nvPr/>
        </p:nvSpPr>
        <p:spPr>
          <a:xfrm>
            <a:off x="7978944" y="5969596"/>
            <a:ext cx="1149930"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grpSp>
        <p:nvGrpSpPr>
          <p:cNvPr id="105" name="Group 104"/>
          <p:cNvGrpSpPr/>
          <p:nvPr/>
        </p:nvGrpSpPr>
        <p:grpSpPr>
          <a:xfrm>
            <a:off x="8340410" y="3735340"/>
            <a:ext cx="383612" cy="465303"/>
            <a:chOff x="3601562" y="1357039"/>
            <a:chExt cx="3353970" cy="4068206"/>
          </a:xfrm>
        </p:grpSpPr>
        <p:sp>
          <p:nvSpPr>
            <p:cNvPr id="106" name="Freeform 105"/>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106"/>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8" name="Group 127"/>
          <p:cNvGrpSpPr/>
          <p:nvPr/>
        </p:nvGrpSpPr>
        <p:grpSpPr>
          <a:xfrm>
            <a:off x="8340410" y="3742696"/>
            <a:ext cx="383612" cy="465303"/>
            <a:chOff x="3601562" y="1357039"/>
            <a:chExt cx="3353970" cy="4068206"/>
          </a:xfrm>
        </p:grpSpPr>
        <p:sp>
          <p:nvSpPr>
            <p:cNvPr id="129" name="Freeform 128"/>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29"/>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3" name="Rectangle 122"/>
          <p:cNvSpPr/>
          <p:nvPr/>
        </p:nvSpPr>
        <p:spPr>
          <a:xfrm>
            <a:off x="2726526" y="5692277"/>
            <a:ext cx="1419291" cy="306611"/>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3a</a:t>
            </a:r>
          </a:p>
        </p:txBody>
      </p:sp>
      <p:sp>
        <p:nvSpPr>
          <p:cNvPr id="126" name="Rectangle 125"/>
          <p:cNvSpPr/>
          <p:nvPr/>
        </p:nvSpPr>
        <p:spPr>
          <a:xfrm>
            <a:off x="2726526" y="5692277"/>
            <a:ext cx="1419291" cy="306611"/>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3a</a:t>
            </a:r>
          </a:p>
        </p:txBody>
      </p:sp>
    </p:spTree>
    <p:extLst>
      <p:ext uri="{BB962C8B-B14F-4D97-AF65-F5344CB8AC3E}">
        <p14:creationId xmlns:p14="http://schemas.microsoft.com/office/powerpoint/2010/main" val="975376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63" presetClass="path" presetSubtype="0" accel="50000" decel="50000" fill="hold" grpId="0" nodeType="withEffect">
                                  <p:stCondLst>
                                    <p:cond delay="0"/>
                                  </p:stCondLst>
                                  <p:childTnLst>
                                    <p:animMotion origin="layout" path="M -1.875E-6 1.85185E-6 L 0.41289 -0.52685 " pathEditMode="relative" rAng="0" ptsTypes="AA">
                                      <p:cBhvr>
                                        <p:cTn id="9" dur="2000" fill="hold"/>
                                        <p:tgtEl>
                                          <p:spTgt spid="123"/>
                                        </p:tgtEl>
                                        <p:attrNameLst>
                                          <p:attrName>ppt_x</p:attrName>
                                          <p:attrName>ppt_y</p:attrName>
                                        </p:attrNameLst>
                                      </p:cBhvr>
                                      <p:rCtr x="20638" y="-26343"/>
                                    </p:animMotion>
                                  </p:childTnLst>
                                </p:cTn>
                              </p:par>
                              <p:par>
                                <p:cTn id="10" presetID="63" presetClass="path" presetSubtype="0" accel="50000" decel="50000" fill="hold" grpId="0" nodeType="withEffect">
                                  <p:stCondLst>
                                    <p:cond delay="0"/>
                                  </p:stCondLst>
                                  <p:childTnLst>
                                    <p:animMotion origin="layout" path="M -1.875E-6 1.85185E-6 L 0.4125 -0.06204 " pathEditMode="relative" rAng="0" ptsTypes="AA">
                                      <p:cBhvr>
                                        <p:cTn id="11" dur="2000" fill="hold"/>
                                        <p:tgtEl>
                                          <p:spTgt spid="126"/>
                                        </p:tgtEl>
                                        <p:attrNameLst>
                                          <p:attrName>ppt_x</p:attrName>
                                          <p:attrName>ppt_y</p:attrName>
                                        </p:attrNameLst>
                                      </p:cBhvr>
                                      <p:rCtr x="20625" y="-3102"/>
                                    </p:animMotion>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par>
                                <p:cTn id="17" presetID="8" presetClass="emph" presetSubtype="0" fill="hold" grpId="0" nodeType="withEffect">
                                  <p:stCondLst>
                                    <p:cond delay="0"/>
                                  </p:stCondLst>
                                  <p:childTnLst>
                                    <p:animRot by="21600000">
                                      <p:cBhvr>
                                        <p:cTn id="18" dur="2000" fill="hold"/>
                                        <p:tgtEl>
                                          <p:spTgt spid="108"/>
                                        </p:tgtEl>
                                        <p:attrNameLst>
                                          <p:attrName>r</p:attrName>
                                        </p:attrNameLst>
                                      </p:cBhvr>
                                    </p:animRot>
                                  </p:childTnLst>
                                </p:cTn>
                              </p:par>
                              <p:par>
                                <p:cTn id="19" presetID="8" presetClass="emph" presetSubtype="0" fill="hold" grpId="0" nodeType="withEffect">
                                  <p:stCondLst>
                                    <p:cond delay="0"/>
                                  </p:stCondLst>
                                  <p:childTnLst>
                                    <p:animRot by="21600000">
                                      <p:cBhvr>
                                        <p:cTn id="20" dur="2000" fill="hold"/>
                                        <p:tgtEl>
                                          <p:spTgt spid="119"/>
                                        </p:tgtEl>
                                        <p:attrNameLst>
                                          <p:attrName>r</p:attrName>
                                        </p:attrNameLst>
                                      </p:cBhvr>
                                    </p:animRot>
                                  </p:childTnLst>
                                </p:cTn>
                              </p:par>
                              <p:par>
                                <p:cTn id="21" presetID="57" presetClass="path" presetSubtype="0" accel="50000" decel="50000" fill="hold" nodeType="withEffect">
                                  <p:stCondLst>
                                    <p:cond delay="0"/>
                                  </p:stCondLst>
                                  <p:childTnLst>
                                    <p:animMotion origin="layout" path="M -0.00013 3.7037E-7 C 0.00052 -0.08611 0.00117 -0.17222 0.00195 -0.2581 L 0.21263 -0.25069 " pathEditMode="relative" rAng="0" ptsTypes="AAA">
                                      <p:cBhvr>
                                        <p:cTn id="22" dur="4000" fill="hold"/>
                                        <p:tgtEl>
                                          <p:spTgt spid="105"/>
                                        </p:tgtEl>
                                        <p:attrNameLst>
                                          <p:attrName>ppt_x</p:attrName>
                                          <p:attrName>ppt_y</p:attrName>
                                        </p:attrNameLst>
                                      </p:cBhvr>
                                      <p:rCtr x="10638" y="-12917"/>
                                    </p:animMotion>
                                  </p:childTnLst>
                                </p:cTn>
                              </p:par>
                              <p:par>
                                <p:cTn id="23" presetID="36" presetClass="path" presetSubtype="0" accel="50000" decel="50000" fill="hold" nodeType="withEffect">
                                  <p:stCondLst>
                                    <p:cond delay="0"/>
                                  </p:stCondLst>
                                  <p:childTnLst>
                                    <p:animMotion origin="layout" path="M -0.00013 2.96296E-6 C 0.00026 0.06852 0.00078 0.13727 0.00117 0.20602 L 0.20781 0.24166 " pathEditMode="relative" rAng="0" ptsTypes="AAA">
                                      <p:cBhvr>
                                        <p:cTn id="24" dur="4000" fill="hold"/>
                                        <p:tgtEl>
                                          <p:spTgt spid="128"/>
                                        </p:tgtEl>
                                        <p:attrNameLst>
                                          <p:attrName>ppt_x</p:attrName>
                                          <p:attrName>ppt_y</p:attrName>
                                        </p:attrNameLst>
                                      </p:cBhvr>
                                      <p:rCtr x="10391" y="12083"/>
                                    </p:animMotion>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
                                            <p:txEl>
                                              <p:pRg st="2" end="2"/>
                                            </p:txEl>
                                          </p:spTgt>
                                        </p:tgtEl>
                                        <p:attrNameLst>
                                          <p:attrName>style.visibility</p:attrName>
                                        </p:attrNameLst>
                                      </p:cBhvr>
                                      <p:to>
                                        <p:strVal val="visible"/>
                                      </p:to>
                                    </p:set>
                                    <p:animEffect transition="in" filter="fade">
                                      <p:cBhvr>
                                        <p:cTn id="29" dur="500"/>
                                        <p:tgtEl>
                                          <p:spTgt spid="4">
                                            <p:txEl>
                                              <p:pRg st="2" end="2"/>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1"/>
                                        </p:tgtEl>
                                        <p:attrNameLst>
                                          <p:attrName>style.visibility</p:attrName>
                                        </p:attrNameLst>
                                      </p:cBhvr>
                                      <p:to>
                                        <p:strVal val="visible"/>
                                      </p:to>
                                    </p:set>
                                    <p:animEffect transition="in" filter="fade">
                                      <p:cBhvr>
                                        <p:cTn id="32" dur="500"/>
                                        <p:tgtEl>
                                          <p:spTgt spid="1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7"/>
                                        </p:tgtEl>
                                        <p:attrNameLst>
                                          <p:attrName>style.visibility</p:attrName>
                                        </p:attrNameLst>
                                      </p:cBhvr>
                                      <p:to>
                                        <p:strVal val="visible"/>
                                      </p:to>
                                    </p:set>
                                    <p:animEffect transition="in" filter="fade">
                                      <p:cBhvr>
                                        <p:cTn id="35" dur="500"/>
                                        <p:tgtEl>
                                          <p:spTgt spid="127"/>
                                        </p:tgtEl>
                                      </p:cBhvr>
                                    </p:animEffect>
                                  </p:childTnLst>
                                </p:cTn>
                              </p:par>
                            </p:childTnLst>
                          </p:cTn>
                        </p:par>
                        <p:par>
                          <p:cTn id="36" fill="hold">
                            <p:stCondLst>
                              <p:cond delay="500"/>
                            </p:stCondLst>
                            <p:childTnLst>
                              <p:par>
                                <p:cTn id="37" presetID="35" presetClass="path" presetSubtype="0" accel="50000" decel="50000" fill="hold" grpId="1" nodeType="afterEffect">
                                  <p:stCondLst>
                                    <p:cond delay="0"/>
                                  </p:stCondLst>
                                  <p:childTnLst>
                                    <p:animMotion origin="layout" path="M -4.16667E-7 -1.85185E-6 L -0.31029 0.42107 " pathEditMode="relative" rAng="0" ptsTypes="AA">
                                      <p:cBhvr>
                                        <p:cTn id="38" dur="2000" fill="hold"/>
                                        <p:tgtEl>
                                          <p:spTgt spid="121"/>
                                        </p:tgtEl>
                                        <p:attrNameLst>
                                          <p:attrName>ppt_x</p:attrName>
                                          <p:attrName>ppt_y</p:attrName>
                                        </p:attrNameLst>
                                      </p:cBhvr>
                                      <p:rCtr x="-15521" y="21042"/>
                                    </p:animMotion>
                                  </p:childTnLst>
                                </p:cTn>
                              </p:par>
                            </p:childTnLst>
                          </p:cTn>
                        </p:par>
                        <p:par>
                          <p:cTn id="39" fill="hold">
                            <p:stCondLst>
                              <p:cond delay="2500"/>
                            </p:stCondLst>
                            <p:childTnLst>
                              <p:par>
                                <p:cTn id="40" presetID="35" presetClass="path" presetSubtype="0" accel="50000" decel="50000" fill="hold" grpId="1" nodeType="afterEffect">
                                  <p:stCondLst>
                                    <p:cond delay="0"/>
                                  </p:stCondLst>
                                  <p:childTnLst>
                                    <p:animMotion origin="layout" path="M -4.16667E-7 -2.96296E-6 L -0.2207 -0.03958 " pathEditMode="relative" rAng="0" ptsTypes="AA">
                                      <p:cBhvr>
                                        <p:cTn id="41" dur="2000" fill="hold"/>
                                        <p:tgtEl>
                                          <p:spTgt spid="127"/>
                                        </p:tgtEl>
                                        <p:attrNameLst>
                                          <p:attrName>ppt_x</p:attrName>
                                          <p:attrName>ppt_y</p:attrName>
                                        </p:attrNameLst>
                                      </p:cBhvr>
                                      <p:rCtr x="-11042" y="-1991"/>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
                                            <p:txEl>
                                              <p:pRg st="3" end="3"/>
                                            </p:txEl>
                                          </p:spTgt>
                                        </p:tgtEl>
                                        <p:attrNameLst>
                                          <p:attrName>style.visibility</p:attrName>
                                        </p:attrNameLst>
                                      </p:cBhvr>
                                      <p:to>
                                        <p:strVal val="visible"/>
                                      </p:to>
                                    </p:set>
                                    <p:animEffect transition="in" filter="fade">
                                      <p:cBhvr>
                                        <p:cTn id="46" dur="500"/>
                                        <p:tgtEl>
                                          <p:spTgt spid="4">
                                            <p:txEl>
                                              <p:pRg st="3" end="3"/>
                                            </p:txEl>
                                          </p:spTgt>
                                        </p:tgtEl>
                                      </p:cBhvr>
                                    </p:animEffect>
                                  </p:childTnLst>
                                </p:cTn>
                              </p:par>
                              <p:par>
                                <p:cTn id="47" presetID="10" presetClass="exit" presetSubtype="0" fill="hold" grpId="1" nodeType="withEffect">
                                  <p:stCondLst>
                                    <p:cond delay="0"/>
                                  </p:stCondLst>
                                  <p:childTnLst>
                                    <p:animEffect transition="out" filter="fade">
                                      <p:cBhvr>
                                        <p:cTn id="48" dur="500"/>
                                        <p:tgtEl>
                                          <p:spTgt spid="123"/>
                                        </p:tgtEl>
                                      </p:cBhvr>
                                    </p:animEffect>
                                    <p:set>
                                      <p:cBhvr>
                                        <p:cTn id="49" dur="1" fill="hold">
                                          <p:stCondLst>
                                            <p:cond delay="499"/>
                                          </p:stCondLst>
                                        </p:cTn>
                                        <p:tgtEl>
                                          <p:spTgt spid="123"/>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126"/>
                                        </p:tgtEl>
                                      </p:cBhvr>
                                    </p:animEffect>
                                    <p:set>
                                      <p:cBhvr>
                                        <p:cTn id="52" dur="1" fill="hold">
                                          <p:stCondLst>
                                            <p:cond delay="4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19" grpId="0" animBg="1"/>
      <p:bldP spid="121" grpId="0" animBg="1"/>
      <p:bldP spid="121" grpId="1" animBg="1"/>
      <p:bldP spid="127" grpId="0" animBg="1"/>
      <p:bldP spid="127" grpId="1" animBg="1"/>
      <p:bldP spid="123" grpId="0" animBg="1"/>
      <p:bldP spid="123" grpId="1" animBg="1"/>
      <p:bldP spid="126" grpId="0" animBg="1"/>
      <p:bldP spid="126"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16600" dirty="0"/>
              <a:t>Demo</a:t>
            </a:r>
          </a:p>
        </p:txBody>
      </p:sp>
    </p:spTree>
    <p:extLst>
      <p:ext uri="{BB962C8B-B14F-4D97-AF65-F5344CB8AC3E}">
        <p14:creationId xmlns:p14="http://schemas.microsoft.com/office/powerpoint/2010/main" val="3810051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0"/>
          <p:cNvSpPr/>
          <p:nvPr/>
        </p:nvSpPr>
        <p:spPr bwMode="auto">
          <a:xfrm>
            <a:off x="9851841" y="3761697"/>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saster recovery source system extract</a:t>
            </a:r>
          </a:p>
        </p:txBody>
      </p:sp>
      <p:sp>
        <p:nvSpPr>
          <p:cNvPr id="5" name="Text Placeholder 4"/>
          <p:cNvSpPr>
            <a:spLocks noGrp="1"/>
          </p:cNvSpPr>
          <p:nvPr>
            <p:ph type="body" sz="quarter" idx="10"/>
          </p:nvPr>
        </p:nvSpPr>
        <p:spPr>
          <a:xfrm>
            <a:off x="274638" y="1216152"/>
            <a:ext cx="7848599" cy="2131353"/>
          </a:xfrm>
        </p:spPr>
        <p:txBody>
          <a:bodyPr/>
          <a:lstStyle/>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1:  </a:t>
            </a:r>
            <a:r>
              <a:rPr lang="en-US" sz="1632" dirty="0"/>
              <a:t>Load balancer and IP pointed to DR</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2:  </a:t>
            </a:r>
            <a:r>
              <a:rPr lang="en-US" sz="1632" dirty="0"/>
              <a:t>DR SSIS reads configuration table to determine data to be extracted</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3:  </a:t>
            </a:r>
            <a:r>
              <a:rPr lang="en-US" sz="1632" dirty="0"/>
              <a:t>SSIS extracts data from source system and places it on WASB</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4: </a:t>
            </a:r>
            <a:r>
              <a:rPr lang="en-US" sz="1632" dirty="0"/>
              <a:t>SSIS creates record in ETL control detail table with status of new</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5: </a:t>
            </a:r>
            <a:r>
              <a:rPr lang="en-US" sz="1632" dirty="0"/>
              <a:t>SSIS records last extract date</a:t>
            </a:r>
          </a:p>
        </p:txBody>
      </p:sp>
      <p:sp>
        <p:nvSpPr>
          <p:cNvPr id="111" name="Rectangle 110"/>
          <p:cNvSpPr/>
          <p:nvPr/>
        </p:nvSpPr>
        <p:spPr>
          <a:xfrm>
            <a:off x="8427187" y="4684129"/>
            <a:ext cx="3421571"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112" name="Rectangle 111"/>
          <p:cNvSpPr/>
          <p:nvPr/>
        </p:nvSpPr>
        <p:spPr>
          <a:xfrm>
            <a:off x="8427187" y="1433756"/>
            <a:ext cx="3421571" cy="1995325"/>
          </a:xfrm>
          <a:prstGeom prst="rect">
            <a:avLst/>
          </a:prstGeom>
          <a:solidFill>
            <a:srgbClr val="E81123">
              <a:alpha val="15000"/>
            </a:srgbClr>
          </a:solidFill>
          <a:ln w="19050">
            <a:solidFill>
              <a:srgbClr val="E8112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sp>
        <p:nvSpPr>
          <p:cNvPr id="114" name="TextBox 113"/>
          <p:cNvSpPr txBox="1"/>
          <p:nvPr/>
        </p:nvSpPr>
        <p:spPr>
          <a:xfrm>
            <a:off x="9564278" y="5699258"/>
            <a:ext cx="1147390" cy="282383"/>
          </a:xfrm>
          <a:prstGeom prst="rect">
            <a:avLst/>
          </a:prstGeom>
          <a:noFill/>
        </p:spPr>
        <p:txBody>
          <a:bodyPr wrap="square" rtlCol="0">
            <a:spAutoFit/>
          </a:bodyPr>
          <a:lstStyle/>
          <a:p>
            <a:pPr algn="ctr" defTabSz="932597"/>
            <a:r>
              <a:rPr lang="en-US" sz="1199" kern="0" dirty="0">
                <a:solidFill>
                  <a:sysClr val="windowText" lastClr="000000"/>
                </a:solidFill>
              </a:rPr>
              <a:t>Extract (SSIS)</a:t>
            </a:r>
          </a:p>
        </p:txBody>
      </p:sp>
      <p:sp>
        <p:nvSpPr>
          <p:cNvPr id="118" name="TextBox 117"/>
          <p:cNvSpPr txBox="1"/>
          <p:nvPr/>
        </p:nvSpPr>
        <p:spPr>
          <a:xfrm>
            <a:off x="9395521" y="2460957"/>
            <a:ext cx="1484904" cy="282383"/>
          </a:xfrm>
          <a:prstGeom prst="rect">
            <a:avLst/>
          </a:prstGeom>
          <a:noFill/>
        </p:spPr>
        <p:txBody>
          <a:bodyPr wrap="square" rtlCol="0">
            <a:spAutoFit/>
          </a:bodyPr>
          <a:lstStyle/>
          <a:p>
            <a:pPr algn="ctr" defTabSz="932597"/>
            <a:r>
              <a:rPr lang="en-US" sz="1199" kern="0" dirty="0">
                <a:solidFill>
                  <a:sysClr val="windowText" lastClr="000000"/>
                </a:solidFill>
              </a:rPr>
              <a:t>Extract (SSIS)</a:t>
            </a:r>
          </a:p>
        </p:txBody>
      </p:sp>
      <p:sp>
        <p:nvSpPr>
          <p:cNvPr id="122" name="Freeform 121"/>
          <p:cNvSpPr/>
          <p:nvPr/>
        </p:nvSpPr>
        <p:spPr bwMode="auto">
          <a:xfrm>
            <a:off x="9859428" y="1899191"/>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122"/>
          <p:cNvSpPr/>
          <p:nvPr/>
        </p:nvSpPr>
        <p:spPr bwMode="auto">
          <a:xfrm>
            <a:off x="9859428" y="5141321"/>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TextBox 123"/>
          <p:cNvSpPr txBox="1"/>
          <p:nvPr/>
        </p:nvSpPr>
        <p:spPr>
          <a:xfrm>
            <a:off x="9085628" y="4284542"/>
            <a:ext cx="2164921" cy="527372"/>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Blob Storage</a:t>
            </a:r>
          </a:p>
        </p:txBody>
      </p:sp>
      <p:cxnSp>
        <p:nvCxnSpPr>
          <p:cNvPr id="79" name="Straight Connector 78"/>
          <p:cNvCxnSpPr/>
          <p:nvPr/>
        </p:nvCxnSpPr>
        <p:spPr>
          <a:xfrm>
            <a:off x="8470760" y="3509123"/>
            <a:ext cx="333442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6218067" y="3560934"/>
            <a:ext cx="383612" cy="465303"/>
            <a:chOff x="3601562" y="1357039"/>
            <a:chExt cx="3353970" cy="4068206"/>
          </a:xfrm>
        </p:grpSpPr>
        <p:sp>
          <p:nvSpPr>
            <p:cNvPr id="127" name="Freeform 126"/>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127"/>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6" name="Group 85"/>
          <p:cNvGrpSpPr/>
          <p:nvPr/>
        </p:nvGrpSpPr>
        <p:grpSpPr>
          <a:xfrm>
            <a:off x="79839" y="4845592"/>
            <a:ext cx="1508856" cy="955495"/>
            <a:chOff x="253841" y="3080502"/>
            <a:chExt cx="1479405" cy="936845"/>
          </a:xfrm>
        </p:grpSpPr>
        <p:sp>
          <p:nvSpPr>
            <p:cNvPr id="106" name="Freeform 105"/>
            <p:cNvSpPr>
              <a:spLocks noChangeAspect="1"/>
            </p:cNvSpPr>
            <p:nvPr/>
          </p:nvSpPr>
          <p:spPr bwMode="auto">
            <a:xfrm>
              <a:off x="253841" y="3080502"/>
              <a:ext cx="1479405" cy="9368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110" name="Freeform 109"/>
            <p:cNvSpPr/>
            <p:nvPr/>
          </p:nvSpPr>
          <p:spPr bwMode="auto">
            <a:xfrm>
              <a:off x="732712" y="3191594"/>
              <a:ext cx="658679" cy="799498"/>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86521" numCol="1" spcCol="0" rtlCol="0" fromWordArt="0" anchor="b" anchorCtr="1" forceAA="0" compatLnSpc="1">
              <a:prstTxWarp prst="textNoShape">
                <a:avLst/>
              </a:prstTxWarp>
              <a:noAutofit/>
            </a:bodyPr>
            <a:lstStyle/>
            <a:p>
              <a:pPr algn="ctr" defTabSz="951028" fontAlgn="base">
                <a:lnSpc>
                  <a:spcPct val="90000"/>
                </a:lnSpc>
                <a:spcBef>
                  <a:spcPct val="0"/>
                </a:spcBef>
                <a:spcAft>
                  <a:spcPct val="0"/>
                </a:spcAft>
              </a:pPr>
              <a:r>
                <a:rPr lang="en-US" sz="1224"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Control DB</a:t>
              </a:r>
            </a:p>
          </p:txBody>
        </p:sp>
      </p:grpSp>
      <p:sp>
        <p:nvSpPr>
          <p:cNvPr id="113" name="Left Brace 112"/>
          <p:cNvSpPr/>
          <p:nvPr/>
        </p:nvSpPr>
        <p:spPr>
          <a:xfrm>
            <a:off x="1674308" y="4460588"/>
            <a:ext cx="291126" cy="1870411"/>
          </a:xfrm>
          <a:prstGeom prst="leftBrace">
            <a:avLst>
              <a:gd name="adj1" fmla="val 8333"/>
              <a:gd name="adj2" fmla="val 51861"/>
            </a:avLst>
          </a:prstGeom>
          <a:ln w="19050">
            <a:solidFill>
              <a:srgbClr val="00BCF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graphicFrame>
        <p:nvGraphicFramePr>
          <p:cNvPr id="132" name="Table 131"/>
          <p:cNvGraphicFramePr>
            <a:graphicFrameLocks noGrp="1"/>
          </p:cNvGraphicFramePr>
          <p:nvPr>
            <p:extLst/>
          </p:nvPr>
        </p:nvGraphicFramePr>
        <p:xfrm>
          <a:off x="2038176" y="4460587"/>
          <a:ext cx="3700808" cy="1554340"/>
        </p:xfrm>
        <a:graphic>
          <a:graphicData uri="http://schemas.openxmlformats.org/drawingml/2006/table">
            <a:tbl>
              <a:tblPr firstRow="1" bandRow="1">
                <a:tableStyleId>{5C22544A-7EE6-4342-B048-85BDC9FD1C3A}</a:tableStyleId>
              </a:tblPr>
              <a:tblGrid>
                <a:gridCol w="1628355">
                  <a:extLst>
                    <a:ext uri="{9D8B030D-6E8A-4147-A177-3AD203B41FA5}">
                      <a16:colId xmlns:a16="http://schemas.microsoft.com/office/drawing/2014/main" val="3558700086"/>
                    </a:ext>
                  </a:extLst>
                </a:gridCol>
                <a:gridCol w="2072453">
                  <a:extLst>
                    <a:ext uri="{9D8B030D-6E8A-4147-A177-3AD203B41FA5}">
                      <a16:colId xmlns:a16="http://schemas.microsoft.com/office/drawing/2014/main" val="876583479"/>
                    </a:ext>
                  </a:extLst>
                </a:gridCol>
              </a:tblGrid>
              <a:tr h="310868">
                <a:tc gridSpan="2">
                  <a:txBody>
                    <a:bodyPr/>
                    <a:lstStyle/>
                    <a:p>
                      <a:pPr algn="ctr"/>
                      <a:r>
                        <a:rPr lang="en-US" sz="1400" dirty="0"/>
                        <a:t>ETL Control Table</a:t>
                      </a:r>
                    </a:p>
                  </a:txBody>
                  <a:tcPr marL="93260" marR="93260" marT="46630" marB="46630">
                    <a:solidFill>
                      <a:srgbClr val="0078D7"/>
                    </a:solidFill>
                  </a:tcPr>
                </a:tc>
                <a:tc hMerge="1">
                  <a:txBody>
                    <a:bodyPr/>
                    <a:lstStyle/>
                    <a:p>
                      <a:endParaRPr lang="en-US" dirty="0"/>
                    </a:p>
                  </a:txBody>
                  <a:tcPr/>
                </a:tc>
                <a:extLst>
                  <a:ext uri="{0D108BD9-81ED-4DB2-BD59-A6C34878D82A}">
                    <a16:rowId xmlns:a16="http://schemas.microsoft.com/office/drawing/2014/main" val="2374224735"/>
                  </a:ext>
                </a:extLst>
              </a:tr>
              <a:tr h="310868">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Last_Extract_Dat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2796730664"/>
                  </a:ext>
                </a:extLst>
              </a:tr>
              <a:tr h="310868">
                <a:tc>
                  <a:txBody>
                    <a:bodyPr/>
                    <a:lstStyle/>
                    <a:p>
                      <a:r>
                        <a:rPr lang="en-US" sz="1400" dirty="0"/>
                        <a:t>Patient</a:t>
                      </a:r>
                    </a:p>
                  </a:txBody>
                  <a:tcPr marL="93260" marR="93260" marT="46630" marB="46630"/>
                </a:tc>
                <a:tc>
                  <a:txBody>
                    <a:bodyPr/>
                    <a:lstStyle/>
                    <a:p>
                      <a:r>
                        <a:rPr lang="en-US" sz="1400" dirty="0"/>
                        <a:t>09/03/2013</a:t>
                      </a:r>
                      <a:r>
                        <a:rPr lang="en-US" sz="1400" baseline="0" dirty="0"/>
                        <a:t> 06:37:45</a:t>
                      </a:r>
                      <a:endParaRPr lang="en-US" sz="1400" dirty="0"/>
                    </a:p>
                  </a:txBody>
                  <a:tcPr marL="93260" marR="93260" marT="46630" marB="46630"/>
                </a:tc>
                <a:extLst>
                  <a:ext uri="{0D108BD9-81ED-4DB2-BD59-A6C34878D82A}">
                    <a16:rowId xmlns:a16="http://schemas.microsoft.com/office/drawing/2014/main" val="658772843"/>
                  </a:ext>
                </a:extLst>
              </a:tr>
              <a:tr h="310868">
                <a:tc>
                  <a:txBody>
                    <a:bodyPr/>
                    <a:lstStyle/>
                    <a:p>
                      <a:r>
                        <a:rPr lang="en-US" sz="1400" dirty="0"/>
                        <a:t>Procedure</a:t>
                      </a:r>
                    </a:p>
                  </a:txBody>
                  <a:tcPr marL="93260" marR="93260" marT="46630" marB="46630"/>
                </a:tc>
                <a:tc>
                  <a:txBody>
                    <a:bodyPr/>
                    <a:lstStyle/>
                    <a:p>
                      <a:r>
                        <a:rPr lang="en-US" sz="1400" dirty="0"/>
                        <a:t>09/03/2013 06:37:05</a:t>
                      </a:r>
                    </a:p>
                  </a:txBody>
                  <a:tcPr marL="93260" marR="93260" marT="46630" marB="46630"/>
                </a:tc>
                <a:extLst>
                  <a:ext uri="{0D108BD9-81ED-4DB2-BD59-A6C34878D82A}">
                    <a16:rowId xmlns:a16="http://schemas.microsoft.com/office/drawing/2014/main" val="48958277"/>
                  </a:ext>
                </a:extLst>
              </a:tr>
              <a:tr h="310868">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3380451046"/>
                  </a:ext>
                </a:extLst>
              </a:tr>
            </a:tbl>
          </a:graphicData>
        </a:graphic>
      </p:graphicFrame>
      <p:sp>
        <p:nvSpPr>
          <p:cNvPr id="134" name="Rectangle 133"/>
          <p:cNvSpPr/>
          <p:nvPr/>
        </p:nvSpPr>
        <p:spPr>
          <a:xfrm>
            <a:off x="3663295" y="5083630"/>
            <a:ext cx="2074301"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09/03/2013 06:37:45</a:t>
            </a:r>
          </a:p>
        </p:txBody>
      </p:sp>
      <p:sp>
        <p:nvSpPr>
          <p:cNvPr id="136" name="Rectangle 135"/>
          <p:cNvSpPr/>
          <p:nvPr/>
        </p:nvSpPr>
        <p:spPr>
          <a:xfrm>
            <a:off x="9130939" y="6008206"/>
            <a:ext cx="2074301"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09/03/2013 08:36:00</a:t>
            </a:r>
          </a:p>
        </p:txBody>
      </p:sp>
      <p:graphicFrame>
        <p:nvGraphicFramePr>
          <p:cNvPr id="133" name="Table 132"/>
          <p:cNvGraphicFramePr>
            <a:graphicFrameLocks noGrp="1"/>
          </p:cNvGraphicFramePr>
          <p:nvPr>
            <p:extLst/>
          </p:nvPr>
        </p:nvGraphicFramePr>
        <p:xfrm>
          <a:off x="2038176" y="4453595"/>
          <a:ext cx="5705907" cy="1874400"/>
        </p:xfrm>
        <a:graphic>
          <a:graphicData uri="http://schemas.openxmlformats.org/drawingml/2006/table">
            <a:tbl>
              <a:tblPr firstRow="1" bandRow="1">
                <a:tableStyleId>{5C22544A-7EE6-4342-B048-85BDC9FD1C3A}</a:tableStyleId>
              </a:tblPr>
              <a:tblGrid>
                <a:gridCol w="1295283">
                  <a:extLst>
                    <a:ext uri="{9D8B030D-6E8A-4147-A177-3AD203B41FA5}">
                      <a16:colId xmlns:a16="http://schemas.microsoft.com/office/drawing/2014/main" val="1248884249"/>
                    </a:ext>
                  </a:extLst>
                </a:gridCol>
                <a:gridCol w="751264">
                  <a:extLst>
                    <a:ext uri="{9D8B030D-6E8A-4147-A177-3AD203B41FA5}">
                      <a16:colId xmlns:a16="http://schemas.microsoft.com/office/drawing/2014/main" val="2275574639"/>
                    </a:ext>
                  </a:extLst>
                </a:gridCol>
                <a:gridCol w="1421109">
                  <a:extLst>
                    <a:ext uri="{9D8B030D-6E8A-4147-A177-3AD203B41FA5}">
                      <a16:colId xmlns:a16="http://schemas.microsoft.com/office/drawing/2014/main" val="3890934587"/>
                    </a:ext>
                  </a:extLst>
                </a:gridCol>
                <a:gridCol w="1088037">
                  <a:extLst>
                    <a:ext uri="{9D8B030D-6E8A-4147-A177-3AD203B41FA5}">
                      <a16:colId xmlns:a16="http://schemas.microsoft.com/office/drawing/2014/main" val="1350416051"/>
                    </a:ext>
                  </a:extLst>
                </a:gridCol>
                <a:gridCol w="1150214">
                  <a:extLst>
                    <a:ext uri="{9D8B030D-6E8A-4147-A177-3AD203B41FA5}">
                      <a16:colId xmlns:a16="http://schemas.microsoft.com/office/drawing/2014/main" val="968353595"/>
                    </a:ext>
                  </a:extLst>
                </a:gridCol>
              </a:tblGrid>
              <a:tr h="312400">
                <a:tc gridSpan="5">
                  <a:txBody>
                    <a:bodyPr/>
                    <a:lstStyle/>
                    <a:p>
                      <a:pPr algn="ctr"/>
                      <a:r>
                        <a:rPr lang="en-US" sz="1400" dirty="0"/>
                        <a:t>ETL control</a:t>
                      </a:r>
                      <a:r>
                        <a:rPr lang="en-US" sz="1400" baseline="0" dirty="0"/>
                        <a:t> detail table</a:t>
                      </a:r>
                      <a:endParaRPr lang="en-US" sz="1400" dirty="0"/>
                    </a:p>
                  </a:txBody>
                  <a:tcPr marL="93260" marR="93260" marT="46630" marB="46630">
                    <a:solidFill>
                      <a:srgbClr val="0078D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5887979"/>
                  </a:ext>
                </a:extLst>
              </a:tr>
              <a:tr h="312400">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a:solidFill>
                            <a:schemeClr val="bg1"/>
                          </a:solidFill>
                          <a:latin typeface="Segoe UI Semibold" panose="020B0702040204020203" pitchFamily="34" charset="0"/>
                          <a:cs typeface="Segoe UI Semibold" panose="020B0702040204020203" pitchFamily="34" charset="0"/>
                        </a:rPr>
                        <a:t>Status</a:t>
                      </a: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FileNam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APS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DR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3855396513"/>
                  </a:ext>
                </a:extLst>
              </a:tr>
              <a:tr h="312400">
                <a:tc>
                  <a:txBody>
                    <a:bodyPr/>
                    <a:lstStyle/>
                    <a:p>
                      <a:r>
                        <a:rPr lang="en-US" sz="1400" dirty="0"/>
                        <a:t>Patient</a:t>
                      </a:r>
                    </a:p>
                  </a:txBody>
                  <a:tcPr marL="93260" marR="93260" marT="46630" marB="46630"/>
                </a:tc>
                <a:tc>
                  <a:txBody>
                    <a:bodyPr/>
                    <a:lstStyle/>
                    <a:p>
                      <a:r>
                        <a:rPr lang="en-US" sz="1400" dirty="0"/>
                        <a:t>Comp</a:t>
                      </a:r>
                    </a:p>
                  </a:txBody>
                  <a:tcPr marL="93260" marR="93260" marT="46630" marB="46630"/>
                </a:tc>
                <a:tc>
                  <a:txBody>
                    <a:bodyPr/>
                    <a:lstStyle/>
                    <a:p>
                      <a:r>
                        <a:rPr lang="en-US" sz="1400" dirty="0"/>
                        <a:t>Pat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183929435"/>
                  </a:ext>
                </a:extLst>
              </a:tr>
              <a:tr h="312400">
                <a:tc>
                  <a:txBody>
                    <a:bodyPr/>
                    <a:lstStyle/>
                    <a:p>
                      <a:r>
                        <a:rPr lang="en-US" sz="1400" dirty="0">
                          <a:solidFill>
                            <a:srgbClr val="505050"/>
                          </a:solidFill>
                        </a:rPr>
                        <a:t>Procedure</a:t>
                      </a:r>
                    </a:p>
                  </a:txBody>
                  <a:tcPr marL="93260" marR="93260" marT="46630" marB="46630"/>
                </a:tc>
                <a:tc>
                  <a:txBody>
                    <a:bodyPr/>
                    <a:lstStyle/>
                    <a:p>
                      <a:r>
                        <a:rPr lang="en-US" sz="1400" dirty="0"/>
                        <a:t>Comp</a:t>
                      </a:r>
                    </a:p>
                  </a:txBody>
                  <a:tcPr marL="93260" marR="93260" marT="46630" marB="46630"/>
                </a:tc>
                <a:tc>
                  <a:txBody>
                    <a:bodyPr/>
                    <a:lstStyle/>
                    <a:p>
                      <a:r>
                        <a:rPr lang="en-US" sz="1400" dirty="0"/>
                        <a:t>Proc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3568375883"/>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2868241140"/>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571848649"/>
                  </a:ext>
                </a:extLst>
              </a:tr>
            </a:tbl>
          </a:graphicData>
        </a:graphic>
      </p:graphicFrame>
      <p:sp>
        <p:nvSpPr>
          <p:cNvPr id="137" name="Rectangle 136"/>
          <p:cNvSpPr/>
          <p:nvPr/>
        </p:nvSpPr>
        <p:spPr>
          <a:xfrm>
            <a:off x="2034855" y="5702412"/>
            <a:ext cx="1293300" cy="317085"/>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ient</a:t>
            </a:r>
          </a:p>
        </p:txBody>
      </p:sp>
      <p:sp>
        <p:nvSpPr>
          <p:cNvPr id="138" name="Rectangle 137"/>
          <p:cNvSpPr/>
          <p:nvPr/>
        </p:nvSpPr>
        <p:spPr>
          <a:xfrm>
            <a:off x="3333245" y="5702412"/>
            <a:ext cx="748275" cy="317085"/>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New</a:t>
            </a:r>
          </a:p>
        </p:txBody>
      </p:sp>
      <p:sp>
        <p:nvSpPr>
          <p:cNvPr id="139" name="Rectangle 138"/>
          <p:cNvSpPr/>
          <p:nvPr/>
        </p:nvSpPr>
        <p:spPr>
          <a:xfrm>
            <a:off x="9420219" y="6004451"/>
            <a:ext cx="1423240" cy="31467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3a</a:t>
            </a:r>
          </a:p>
        </p:txBody>
      </p:sp>
    </p:spTree>
    <p:extLst>
      <p:ext uri="{BB962C8B-B14F-4D97-AF65-F5344CB8AC3E}">
        <p14:creationId xmlns:p14="http://schemas.microsoft.com/office/powerpoint/2010/main" val="2130628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fade">
                                      <p:cBhvr>
                                        <p:cTn id="15" dur="500"/>
                                        <p:tgtEl>
                                          <p:spTgt spid="8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3"/>
                                        </p:tgtEl>
                                        <p:attrNameLst>
                                          <p:attrName>style.visibility</p:attrName>
                                        </p:attrNameLst>
                                      </p:cBhvr>
                                      <p:to>
                                        <p:strVal val="visible"/>
                                      </p:to>
                                    </p:set>
                                    <p:animEffect transition="in" filter="fade">
                                      <p:cBhvr>
                                        <p:cTn id="18" dur="500"/>
                                        <p:tgtEl>
                                          <p:spTgt spid="113"/>
                                        </p:tgtEl>
                                      </p:cBhvr>
                                    </p:animEffect>
                                  </p:childTnLst>
                                </p:cTn>
                              </p:par>
                              <p:par>
                                <p:cTn id="19" presetID="10" presetClass="entr" presetSubtype="0" fill="hold" nodeType="withEffect">
                                  <p:stCondLst>
                                    <p:cond delay="0"/>
                                  </p:stCondLst>
                                  <p:childTnLst>
                                    <p:set>
                                      <p:cBhvr>
                                        <p:cTn id="20" dur="1" fill="hold">
                                          <p:stCondLst>
                                            <p:cond delay="0"/>
                                          </p:stCondLst>
                                        </p:cTn>
                                        <p:tgtEl>
                                          <p:spTgt spid="132"/>
                                        </p:tgtEl>
                                        <p:attrNameLst>
                                          <p:attrName>style.visibility</p:attrName>
                                        </p:attrNameLst>
                                      </p:cBhvr>
                                      <p:to>
                                        <p:strVal val="visible"/>
                                      </p:to>
                                    </p:set>
                                    <p:animEffect transition="in" filter="fade">
                                      <p:cBhvr>
                                        <p:cTn id="21" dur="1500"/>
                                        <p:tgtEl>
                                          <p:spTgt spid="132"/>
                                        </p:tgtEl>
                                      </p:cBhvr>
                                    </p:animEffect>
                                  </p:childTnLst>
                                </p:cTn>
                              </p:par>
                            </p:childTnLst>
                          </p:cTn>
                        </p:par>
                        <p:par>
                          <p:cTn id="22" fill="hold">
                            <p:stCondLst>
                              <p:cond delay="1500"/>
                            </p:stCondLst>
                            <p:childTnLst>
                              <p:par>
                                <p:cTn id="23" presetID="1" presetClass="entr" presetSubtype="0" fill="hold" grpId="0" nodeType="afterEffect">
                                  <p:stCondLst>
                                    <p:cond delay="0"/>
                                  </p:stCondLst>
                                  <p:childTnLst>
                                    <p:set>
                                      <p:cBhvr>
                                        <p:cTn id="24" dur="1" fill="hold">
                                          <p:stCondLst>
                                            <p:cond delay="0"/>
                                          </p:stCondLst>
                                        </p:cTn>
                                        <p:tgtEl>
                                          <p:spTgt spid="134"/>
                                        </p:tgtEl>
                                        <p:attrNameLst>
                                          <p:attrName>style.visibility</p:attrName>
                                        </p:attrNameLst>
                                      </p:cBhvr>
                                      <p:to>
                                        <p:strVal val="visible"/>
                                      </p:to>
                                    </p:set>
                                  </p:childTnLst>
                                </p:cTn>
                              </p:par>
                              <p:par>
                                <p:cTn id="25" presetID="63" presetClass="path" presetSubtype="0" accel="50000" decel="50000" fill="hold" grpId="1" nodeType="withEffect">
                                  <p:stCondLst>
                                    <p:cond delay="0"/>
                                  </p:stCondLst>
                                  <p:childTnLst>
                                    <p:animMotion origin="layout" path="M -4.58333E-6 -1.11111E-6 L 0.43998 0.13056 " pathEditMode="relative" rAng="0" ptsTypes="AA">
                                      <p:cBhvr>
                                        <p:cTn id="26" dur="2000" fill="hold"/>
                                        <p:tgtEl>
                                          <p:spTgt spid="134"/>
                                        </p:tgtEl>
                                        <p:attrNameLst>
                                          <p:attrName>ppt_x</p:attrName>
                                          <p:attrName>ppt_y</p:attrName>
                                        </p:attrNameLst>
                                      </p:cBhvr>
                                      <p:rCtr x="21992" y="6528"/>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
                                            <p:txEl>
                                              <p:pRg st="2" end="2"/>
                                            </p:txEl>
                                          </p:spTgt>
                                        </p:tgtEl>
                                        <p:attrNameLst>
                                          <p:attrName>style.visibility</p:attrName>
                                        </p:attrNameLst>
                                      </p:cBhvr>
                                      <p:to>
                                        <p:strVal val="visible"/>
                                      </p:to>
                                    </p:set>
                                    <p:animEffect transition="in" filter="fade">
                                      <p:cBhvr>
                                        <p:cTn id="31" dur="500"/>
                                        <p:tgtEl>
                                          <p:spTgt spid="5">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05"/>
                                        </p:tgtEl>
                                        <p:attrNameLst>
                                          <p:attrName>style.visibility</p:attrName>
                                        </p:attrNameLst>
                                      </p:cBhvr>
                                      <p:to>
                                        <p:strVal val="visible"/>
                                      </p:to>
                                    </p:set>
                                    <p:animEffect transition="in" filter="fade">
                                      <p:cBhvr>
                                        <p:cTn id="34" dur="500"/>
                                        <p:tgtEl>
                                          <p:spTgt spid="105"/>
                                        </p:tgtEl>
                                      </p:cBhvr>
                                    </p:animEffect>
                                  </p:childTnLst>
                                </p:cTn>
                              </p:par>
                            </p:childTnLst>
                          </p:cTn>
                        </p:par>
                        <p:par>
                          <p:cTn id="35" fill="hold">
                            <p:stCondLst>
                              <p:cond delay="500"/>
                            </p:stCondLst>
                            <p:childTnLst>
                              <p:par>
                                <p:cTn id="36" presetID="42" presetClass="path" presetSubtype="0" accel="50000" decel="50000" fill="hold" nodeType="afterEffect">
                                  <p:stCondLst>
                                    <p:cond delay="0"/>
                                  </p:stCondLst>
                                  <p:childTnLst>
                                    <p:animMotion origin="layout" path="M -4.58333E-6 -1.11111E-6 L 0.29987 0.23565 " pathEditMode="relative" rAng="0" ptsTypes="AA">
                                      <p:cBhvr>
                                        <p:cTn id="37" dur="2000" fill="hold"/>
                                        <p:tgtEl>
                                          <p:spTgt spid="105"/>
                                        </p:tgtEl>
                                        <p:attrNameLst>
                                          <p:attrName>ppt_x</p:attrName>
                                          <p:attrName>ppt_y</p:attrName>
                                        </p:attrNameLst>
                                      </p:cBhvr>
                                      <p:rCtr x="14987" y="11782"/>
                                    </p:animMotion>
                                  </p:childTnLst>
                                </p:cTn>
                              </p:par>
                              <p:par>
                                <p:cTn id="38" presetID="8" presetClass="emph" presetSubtype="0" fill="hold" grpId="0" nodeType="withEffect">
                                  <p:stCondLst>
                                    <p:cond delay="0"/>
                                  </p:stCondLst>
                                  <p:childTnLst>
                                    <p:animRot by="21600000">
                                      <p:cBhvr>
                                        <p:cTn id="39" dur="2000" fill="hold"/>
                                        <p:tgtEl>
                                          <p:spTgt spid="123"/>
                                        </p:tgtEl>
                                        <p:attrNameLst>
                                          <p:attrName>r</p:attrName>
                                        </p:attrNameLst>
                                      </p:cBhvr>
                                    </p:animRot>
                                  </p:childTnLst>
                                </p:cTn>
                              </p:par>
                            </p:childTnLst>
                          </p:cTn>
                        </p:par>
                        <p:par>
                          <p:cTn id="40" fill="hold">
                            <p:stCondLst>
                              <p:cond delay="2500"/>
                            </p:stCondLst>
                            <p:childTnLst>
                              <p:par>
                                <p:cTn id="41" presetID="42" presetClass="path" presetSubtype="0" accel="50000" decel="50000" fill="hold" nodeType="afterEffect">
                                  <p:stCondLst>
                                    <p:cond delay="0"/>
                                  </p:stCondLst>
                                  <p:childTnLst>
                                    <p:animMotion origin="layout" path="M 0.29987 0.23565 L 0.3073 0.03727 " pathEditMode="relative" rAng="0" ptsTypes="AA">
                                      <p:cBhvr>
                                        <p:cTn id="42" dur="2000" fill="hold"/>
                                        <p:tgtEl>
                                          <p:spTgt spid="105"/>
                                        </p:tgtEl>
                                        <p:attrNameLst>
                                          <p:attrName>ppt_x</p:attrName>
                                          <p:attrName>ppt_y</p:attrName>
                                        </p:attrNameLst>
                                      </p:cBhvr>
                                      <p:rCtr x="365" y="-9931"/>
                                    </p:animMotion>
                                  </p:childTnLst>
                                </p:cTn>
                              </p:par>
                              <p:par>
                                <p:cTn id="43" presetID="10" presetClass="exit" presetSubtype="0" fill="hold" grpId="2" nodeType="withEffect">
                                  <p:stCondLst>
                                    <p:cond delay="1500"/>
                                  </p:stCondLst>
                                  <p:childTnLst>
                                    <p:animEffect transition="out" filter="fade">
                                      <p:cBhvr>
                                        <p:cTn id="44" dur="500"/>
                                        <p:tgtEl>
                                          <p:spTgt spid="134"/>
                                        </p:tgtEl>
                                      </p:cBhvr>
                                    </p:animEffect>
                                    <p:set>
                                      <p:cBhvr>
                                        <p:cTn id="45" dur="1" fill="hold">
                                          <p:stCondLst>
                                            <p:cond delay="499"/>
                                          </p:stCondLst>
                                        </p:cTn>
                                        <p:tgtEl>
                                          <p:spTgt spid="134"/>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
                                            <p:txEl>
                                              <p:pRg st="3" end="3"/>
                                            </p:txEl>
                                          </p:spTgt>
                                        </p:tgtEl>
                                        <p:attrNameLst>
                                          <p:attrName>style.visibility</p:attrName>
                                        </p:attrNameLst>
                                      </p:cBhvr>
                                      <p:to>
                                        <p:strVal val="visible"/>
                                      </p:to>
                                    </p:set>
                                    <p:animEffect transition="in" filter="fade">
                                      <p:cBhvr>
                                        <p:cTn id="50" dur="500"/>
                                        <p:tgtEl>
                                          <p:spTgt spid="5">
                                            <p:txEl>
                                              <p:pRg st="3" end="3"/>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133"/>
                                        </p:tgtEl>
                                        <p:attrNameLst>
                                          <p:attrName>style.visibility</p:attrName>
                                        </p:attrNameLst>
                                      </p:cBhvr>
                                      <p:to>
                                        <p:strVal val="visible"/>
                                      </p:to>
                                    </p:set>
                                    <p:animEffect transition="in" filter="fade">
                                      <p:cBhvr>
                                        <p:cTn id="53" dur="500"/>
                                        <p:tgtEl>
                                          <p:spTgt spid="1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9"/>
                                        </p:tgtEl>
                                        <p:attrNameLst>
                                          <p:attrName>style.visibility</p:attrName>
                                        </p:attrNameLst>
                                      </p:cBhvr>
                                      <p:to>
                                        <p:strVal val="visible"/>
                                      </p:to>
                                    </p:set>
                                    <p:animEffect transition="in" filter="fade">
                                      <p:cBhvr>
                                        <p:cTn id="56" dur="500"/>
                                        <p:tgtEl>
                                          <p:spTgt spid="139"/>
                                        </p:tgtEl>
                                      </p:cBhvr>
                                    </p:animEffect>
                                  </p:childTnLst>
                                </p:cTn>
                              </p:par>
                            </p:childTnLst>
                          </p:cTn>
                        </p:par>
                        <p:par>
                          <p:cTn id="57" fill="hold">
                            <p:stCondLst>
                              <p:cond delay="500"/>
                            </p:stCondLst>
                            <p:childTnLst>
                              <p:par>
                                <p:cTn id="58" presetID="35" presetClass="path" presetSubtype="0" accel="50000" decel="50000" fill="hold" grpId="1" nodeType="afterEffect">
                                  <p:stCondLst>
                                    <p:cond delay="0"/>
                                  </p:stCondLst>
                                  <p:childTnLst>
                                    <p:animMotion origin="layout" path="M -3.54167E-6 1.48148E-6 L -0.42903 -0.04259 " pathEditMode="relative" rAng="0" ptsTypes="AA">
                                      <p:cBhvr>
                                        <p:cTn id="59" dur="2000" fill="hold"/>
                                        <p:tgtEl>
                                          <p:spTgt spid="139"/>
                                        </p:tgtEl>
                                        <p:attrNameLst>
                                          <p:attrName>ppt_x</p:attrName>
                                          <p:attrName>ppt_y</p:attrName>
                                        </p:attrNameLst>
                                      </p:cBhvr>
                                      <p:rCtr x="-21458" y="-2130"/>
                                    </p:animMotion>
                                  </p:childTnLst>
                                </p:cTn>
                              </p:par>
                              <p:par>
                                <p:cTn id="60" presetID="10" presetClass="entr" presetSubtype="0" fill="hold" grpId="0" nodeType="withEffect">
                                  <p:stCondLst>
                                    <p:cond delay="1500"/>
                                  </p:stCondLst>
                                  <p:childTnLst>
                                    <p:set>
                                      <p:cBhvr>
                                        <p:cTn id="61" dur="1" fill="hold">
                                          <p:stCondLst>
                                            <p:cond delay="0"/>
                                          </p:stCondLst>
                                        </p:cTn>
                                        <p:tgtEl>
                                          <p:spTgt spid="138"/>
                                        </p:tgtEl>
                                        <p:attrNameLst>
                                          <p:attrName>style.visibility</p:attrName>
                                        </p:attrNameLst>
                                      </p:cBhvr>
                                      <p:to>
                                        <p:strVal val="visible"/>
                                      </p:to>
                                    </p:set>
                                    <p:animEffect transition="in" filter="fade">
                                      <p:cBhvr>
                                        <p:cTn id="62" dur="500"/>
                                        <p:tgtEl>
                                          <p:spTgt spid="138"/>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37"/>
                                        </p:tgtEl>
                                        <p:attrNameLst>
                                          <p:attrName>style.visibility</p:attrName>
                                        </p:attrNameLst>
                                      </p:cBhvr>
                                      <p:to>
                                        <p:strVal val="visible"/>
                                      </p:to>
                                    </p:set>
                                    <p:animEffect transition="in" filter="fade">
                                      <p:cBhvr>
                                        <p:cTn id="65" dur="500"/>
                                        <p:tgtEl>
                                          <p:spTgt spid="137"/>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5">
                                            <p:txEl>
                                              <p:pRg st="4" end="4"/>
                                            </p:txEl>
                                          </p:spTgt>
                                        </p:tgtEl>
                                        <p:attrNameLst>
                                          <p:attrName>style.visibility</p:attrName>
                                        </p:attrNameLst>
                                      </p:cBhvr>
                                      <p:to>
                                        <p:strVal val="visible"/>
                                      </p:to>
                                    </p:set>
                                    <p:animEffect transition="in" filter="fade">
                                      <p:cBhvr>
                                        <p:cTn id="70" dur="500"/>
                                        <p:tgtEl>
                                          <p:spTgt spid="5">
                                            <p:txEl>
                                              <p:pRg st="4" end="4"/>
                                            </p:txEl>
                                          </p:spTgt>
                                        </p:tgtEl>
                                      </p:cBhvr>
                                    </p:animEffect>
                                  </p:childTnLst>
                                </p:cTn>
                              </p:par>
                              <p:par>
                                <p:cTn id="71" presetID="10" presetClass="exit" presetSubtype="0" fill="hold" nodeType="withEffect">
                                  <p:stCondLst>
                                    <p:cond delay="0"/>
                                  </p:stCondLst>
                                  <p:childTnLst>
                                    <p:animEffect transition="out" filter="fade">
                                      <p:cBhvr>
                                        <p:cTn id="72" dur="500"/>
                                        <p:tgtEl>
                                          <p:spTgt spid="133"/>
                                        </p:tgtEl>
                                      </p:cBhvr>
                                    </p:animEffect>
                                    <p:set>
                                      <p:cBhvr>
                                        <p:cTn id="73" dur="1" fill="hold">
                                          <p:stCondLst>
                                            <p:cond delay="499"/>
                                          </p:stCondLst>
                                        </p:cTn>
                                        <p:tgtEl>
                                          <p:spTgt spid="133"/>
                                        </p:tgtEl>
                                        <p:attrNameLst>
                                          <p:attrName>style.visibility</p:attrName>
                                        </p:attrNameLst>
                                      </p:cBhvr>
                                      <p:to>
                                        <p:strVal val="hidden"/>
                                      </p:to>
                                    </p:set>
                                  </p:childTnLst>
                                </p:cTn>
                              </p:par>
                              <p:par>
                                <p:cTn id="74" presetID="10" presetClass="exit" presetSubtype="0" fill="hold" grpId="2" nodeType="withEffect">
                                  <p:stCondLst>
                                    <p:cond delay="0"/>
                                  </p:stCondLst>
                                  <p:childTnLst>
                                    <p:animEffect transition="out" filter="fade">
                                      <p:cBhvr>
                                        <p:cTn id="75" dur="500"/>
                                        <p:tgtEl>
                                          <p:spTgt spid="139"/>
                                        </p:tgtEl>
                                      </p:cBhvr>
                                    </p:animEffect>
                                    <p:set>
                                      <p:cBhvr>
                                        <p:cTn id="76" dur="1" fill="hold">
                                          <p:stCondLst>
                                            <p:cond delay="499"/>
                                          </p:stCondLst>
                                        </p:cTn>
                                        <p:tgtEl>
                                          <p:spTgt spid="139"/>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138"/>
                                        </p:tgtEl>
                                      </p:cBhvr>
                                    </p:animEffect>
                                    <p:set>
                                      <p:cBhvr>
                                        <p:cTn id="79" dur="1" fill="hold">
                                          <p:stCondLst>
                                            <p:cond delay="499"/>
                                          </p:stCondLst>
                                        </p:cTn>
                                        <p:tgtEl>
                                          <p:spTgt spid="138"/>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137"/>
                                        </p:tgtEl>
                                      </p:cBhvr>
                                    </p:animEffect>
                                    <p:set>
                                      <p:cBhvr>
                                        <p:cTn id="82" dur="1" fill="hold">
                                          <p:stCondLst>
                                            <p:cond delay="499"/>
                                          </p:stCondLst>
                                        </p:cTn>
                                        <p:tgtEl>
                                          <p:spTgt spid="137"/>
                                        </p:tgtEl>
                                        <p:attrNameLst>
                                          <p:attrName>style.visibility</p:attrName>
                                        </p:attrNameLst>
                                      </p:cBhvr>
                                      <p:to>
                                        <p:strVal val="hidden"/>
                                      </p:to>
                                    </p:se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136"/>
                                        </p:tgtEl>
                                        <p:attrNameLst>
                                          <p:attrName>style.visibility</p:attrName>
                                        </p:attrNameLst>
                                      </p:cBhvr>
                                      <p:to>
                                        <p:strVal val="visible"/>
                                      </p:to>
                                    </p:set>
                                    <p:animEffect transition="in" filter="fade">
                                      <p:cBhvr>
                                        <p:cTn id="86" dur="500"/>
                                        <p:tgtEl>
                                          <p:spTgt spid="136"/>
                                        </p:tgtEl>
                                      </p:cBhvr>
                                    </p:animEffect>
                                  </p:childTnLst>
                                </p:cTn>
                              </p:par>
                            </p:childTnLst>
                          </p:cTn>
                        </p:par>
                        <p:par>
                          <p:cTn id="87" fill="hold">
                            <p:stCondLst>
                              <p:cond delay="1000"/>
                            </p:stCondLst>
                            <p:childTnLst>
                              <p:par>
                                <p:cTn id="88" presetID="35" presetClass="path" presetSubtype="0" accel="50000" decel="50000" fill="hold" grpId="1" nodeType="afterEffect">
                                  <p:stCondLst>
                                    <p:cond delay="0"/>
                                  </p:stCondLst>
                                  <p:childTnLst>
                                    <p:animMotion origin="layout" path="M 1.875E-6 1.48148E-6 L -0.43972 -0.13218 " pathEditMode="relative" rAng="0" ptsTypes="AA">
                                      <p:cBhvr>
                                        <p:cTn id="89" dur="2000" fill="hold"/>
                                        <p:tgtEl>
                                          <p:spTgt spid="136"/>
                                        </p:tgtEl>
                                        <p:attrNameLst>
                                          <p:attrName>ppt_x</p:attrName>
                                          <p:attrName>ppt_y</p:attrName>
                                        </p:attrNameLst>
                                      </p:cBhvr>
                                      <p:rCtr x="-21992" y="-66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13" grpId="0" animBg="1"/>
      <p:bldP spid="134" grpId="0" animBg="1"/>
      <p:bldP spid="134" grpId="1" animBg="1"/>
      <p:bldP spid="134" grpId="2" animBg="1"/>
      <p:bldP spid="136" grpId="0" animBg="1"/>
      <p:bldP spid="136" grpId="1" animBg="1"/>
      <p:bldP spid="137" grpId="0" animBg="1"/>
      <p:bldP spid="137" grpId="1" animBg="1"/>
      <p:bldP spid="138" grpId="0" animBg="1"/>
      <p:bldP spid="138" grpId="1" animBg="1"/>
      <p:bldP spid="139" grpId="0" animBg="1"/>
      <p:bldP spid="139" grpId="1" animBg="1"/>
      <p:bldP spid="139" grpId="2"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44"/>
          <p:cNvSpPr/>
          <p:nvPr/>
        </p:nvSpPr>
        <p:spPr bwMode="auto">
          <a:xfrm>
            <a:off x="8900387" y="3746892"/>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isaster recovery load processing</a:t>
            </a:r>
          </a:p>
        </p:txBody>
      </p:sp>
      <p:sp>
        <p:nvSpPr>
          <p:cNvPr id="3" name="Text Placeholder 2"/>
          <p:cNvSpPr>
            <a:spLocks noGrp="1"/>
          </p:cNvSpPr>
          <p:nvPr>
            <p:ph type="body" sz="quarter" idx="10"/>
          </p:nvPr>
        </p:nvSpPr>
        <p:spPr>
          <a:xfrm>
            <a:off x="274638" y="1216152"/>
            <a:ext cx="7238411" cy="2131353"/>
          </a:xfrm>
        </p:spPr>
        <p:txBody>
          <a:bodyPr/>
          <a:lstStyle/>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6: </a:t>
            </a:r>
            <a:r>
              <a:rPr lang="en-US" sz="1632" dirty="0"/>
              <a:t>APS &amp; Azure SQL DW load process reads ETL control detail to determine what needs to be completed</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7: </a:t>
            </a:r>
            <a:r>
              <a:rPr lang="en-US" sz="1632" dirty="0"/>
              <a:t>Both APS &amp; Azure SQL DW are loaded with the needed data</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8: </a:t>
            </a:r>
            <a:r>
              <a:rPr lang="en-US" sz="1632" dirty="0"/>
              <a:t>Each ETL updated the control table indicating it processed the file</a:t>
            </a:r>
          </a:p>
          <a:p>
            <a:pPr>
              <a:lnSpc>
                <a:spcPct val="100000"/>
              </a:lnSpc>
              <a:spcAft>
                <a:spcPts val="1428"/>
              </a:spcAft>
            </a:pPr>
            <a:r>
              <a:rPr lang="en-US" sz="1632" dirty="0">
                <a:solidFill>
                  <a:srgbClr val="0078D7"/>
                </a:solidFill>
                <a:latin typeface="Segoe UI Semibold" panose="020B0702040204020203" pitchFamily="34" charset="0"/>
                <a:cs typeface="Segoe UI Semibold" panose="020B0702040204020203" pitchFamily="34" charset="0"/>
              </a:rPr>
              <a:t>Step 9: </a:t>
            </a:r>
            <a:r>
              <a:rPr lang="en-US" sz="1632" dirty="0"/>
              <a:t>Verification/notification/clean-up – Based on the ETL control detail table, the WASB folder is cleaned up if all instances of APS have processed the file </a:t>
            </a:r>
          </a:p>
        </p:txBody>
      </p:sp>
      <p:sp>
        <p:nvSpPr>
          <p:cNvPr id="95" name="Rectangle 94"/>
          <p:cNvSpPr/>
          <p:nvPr/>
        </p:nvSpPr>
        <p:spPr>
          <a:xfrm>
            <a:off x="7703152" y="4684130"/>
            <a:ext cx="2844324"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96" name="Rectangle 95"/>
          <p:cNvSpPr/>
          <p:nvPr/>
        </p:nvSpPr>
        <p:spPr>
          <a:xfrm>
            <a:off x="7703152" y="1433758"/>
            <a:ext cx="2844324" cy="1995325"/>
          </a:xfrm>
          <a:prstGeom prst="rect">
            <a:avLst/>
          </a:prstGeom>
          <a:solidFill>
            <a:srgbClr val="E81123">
              <a:alpha val="14902"/>
            </a:srgbClr>
          </a:solidFill>
          <a:ln w="19050">
            <a:solidFill>
              <a:srgbClr val="E8112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cxnSp>
        <p:nvCxnSpPr>
          <p:cNvPr id="97" name="Straight Connector 96"/>
          <p:cNvCxnSpPr/>
          <p:nvPr/>
        </p:nvCxnSpPr>
        <p:spPr>
          <a:xfrm>
            <a:off x="7526819" y="3485380"/>
            <a:ext cx="480456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8656666" y="5742976"/>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99" name="TextBox 98"/>
          <p:cNvSpPr txBox="1"/>
          <p:nvPr/>
        </p:nvSpPr>
        <p:spPr>
          <a:xfrm>
            <a:off x="10893133" y="2984394"/>
            <a:ext cx="1215925"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PS</a:t>
            </a:r>
          </a:p>
        </p:txBody>
      </p:sp>
      <p:sp>
        <p:nvSpPr>
          <p:cNvPr id="100" name="TextBox 99"/>
          <p:cNvSpPr txBox="1"/>
          <p:nvPr/>
        </p:nvSpPr>
        <p:spPr>
          <a:xfrm>
            <a:off x="10602689" y="6152097"/>
            <a:ext cx="1796812"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SQL DW</a:t>
            </a:r>
          </a:p>
        </p:txBody>
      </p:sp>
      <p:sp>
        <p:nvSpPr>
          <p:cNvPr id="104" name="TextBox 103"/>
          <p:cNvSpPr txBox="1"/>
          <p:nvPr/>
        </p:nvSpPr>
        <p:spPr>
          <a:xfrm>
            <a:off x="8656666" y="2461883"/>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108" name="Freeform 107"/>
          <p:cNvSpPr/>
          <p:nvPr/>
        </p:nvSpPr>
        <p:spPr bwMode="auto">
          <a:xfrm>
            <a:off x="8846769" y="1899654"/>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9" name="Group 108"/>
          <p:cNvGrpSpPr/>
          <p:nvPr/>
        </p:nvGrpSpPr>
        <p:grpSpPr>
          <a:xfrm>
            <a:off x="11157242" y="1700355"/>
            <a:ext cx="687708" cy="1367237"/>
            <a:chOff x="-1497013" y="809624"/>
            <a:chExt cx="1601789" cy="3184518"/>
          </a:xfrm>
          <a:solidFill>
            <a:srgbClr val="0078D7"/>
          </a:solidFill>
        </p:grpSpPr>
        <p:sp>
          <p:nvSpPr>
            <p:cNvPr id="110"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1"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2"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3"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4"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5"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6"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17"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118" name="Freeform 117"/>
          <p:cNvSpPr/>
          <p:nvPr/>
        </p:nvSpPr>
        <p:spPr bwMode="auto">
          <a:xfrm flipH="1">
            <a:off x="10874158" y="4923561"/>
            <a:ext cx="1253877" cy="11988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sp>
        <p:nvSpPr>
          <p:cNvPr id="119" name="Freeform 118"/>
          <p:cNvSpPr/>
          <p:nvPr/>
        </p:nvSpPr>
        <p:spPr bwMode="auto">
          <a:xfrm>
            <a:off x="8846769" y="5141322"/>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TextBox 119"/>
          <p:cNvSpPr txBox="1"/>
          <p:nvPr/>
        </p:nvSpPr>
        <p:spPr>
          <a:xfrm>
            <a:off x="8099194" y="4232262"/>
            <a:ext cx="2164921" cy="527372"/>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Blob Storage</a:t>
            </a:r>
          </a:p>
        </p:txBody>
      </p:sp>
      <p:sp>
        <p:nvSpPr>
          <p:cNvPr id="121" name="Freeform 79"/>
          <p:cNvSpPr>
            <a:spLocks noChangeAspect="1" noEditPoints="1"/>
          </p:cNvSpPr>
          <p:nvPr/>
        </p:nvSpPr>
        <p:spPr bwMode="black">
          <a:xfrm rot="16200000">
            <a:off x="7995261" y="2068477"/>
            <a:ext cx="460581" cy="571535"/>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0505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9" name="Group 88"/>
          <p:cNvGrpSpPr/>
          <p:nvPr/>
        </p:nvGrpSpPr>
        <p:grpSpPr>
          <a:xfrm>
            <a:off x="79839" y="4845593"/>
            <a:ext cx="1508856" cy="955495"/>
            <a:chOff x="253841" y="3080502"/>
            <a:chExt cx="1479405" cy="936845"/>
          </a:xfrm>
        </p:grpSpPr>
        <p:sp>
          <p:nvSpPr>
            <p:cNvPr id="90" name="Freeform 89"/>
            <p:cNvSpPr>
              <a:spLocks noChangeAspect="1"/>
            </p:cNvSpPr>
            <p:nvPr/>
          </p:nvSpPr>
          <p:spPr bwMode="auto">
            <a:xfrm>
              <a:off x="253841" y="3080502"/>
              <a:ext cx="1479405" cy="9368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91" name="Freeform 90"/>
            <p:cNvSpPr/>
            <p:nvPr/>
          </p:nvSpPr>
          <p:spPr bwMode="auto">
            <a:xfrm>
              <a:off x="732712" y="3191594"/>
              <a:ext cx="658679" cy="799498"/>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86521" numCol="1" spcCol="0" rtlCol="0" fromWordArt="0" anchor="b" anchorCtr="1" forceAA="0" compatLnSpc="1">
              <a:prstTxWarp prst="textNoShape">
                <a:avLst/>
              </a:prstTxWarp>
              <a:noAutofit/>
            </a:bodyPr>
            <a:lstStyle/>
            <a:p>
              <a:pPr algn="ctr" defTabSz="951028" fontAlgn="base">
                <a:lnSpc>
                  <a:spcPct val="90000"/>
                </a:lnSpc>
                <a:spcBef>
                  <a:spcPct val="0"/>
                </a:spcBef>
                <a:spcAft>
                  <a:spcPct val="0"/>
                </a:spcAft>
              </a:pPr>
              <a:r>
                <a:rPr lang="en-US" sz="1224"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Control DB</a:t>
              </a:r>
            </a:p>
          </p:txBody>
        </p:sp>
      </p:grpSp>
      <p:sp>
        <p:nvSpPr>
          <p:cNvPr id="92" name="Left Brace 91"/>
          <p:cNvSpPr/>
          <p:nvPr/>
        </p:nvSpPr>
        <p:spPr>
          <a:xfrm>
            <a:off x="1674308" y="4460589"/>
            <a:ext cx="291126" cy="1870411"/>
          </a:xfrm>
          <a:prstGeom prst="leftBrace">
            <a:avLst>
              <a:gd name="adj1" fmla="val 8333"/>
              <a:gd name="adj2" fmla="val 51861"/>
            </a:avLst>
          </a:prstGeom>
          <a:ln w="19050">
            <a:solidFill>
              <a:srgbClr val="00BCF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graphicFrame>
        <p:nvGraphicFramePr>
          <p:cNvPr id="93" name="Table 92"/>
          <p:cNvGraphicFramePr>
            <a:graphicFrameLocks noGrp="1"/>
          </p:cNvGraphicFramePr>
          <p:nvPr>
            <p:extLst/>
          </p:nvPr>
        </p:nvGraphicFramePr>
        <p:xfrm>
          <a:off x="2038176" y="4457902"/>
          <a:ext cx="5529173" cy="1874400"/>
        </p:xfrm>
        <a:graphic>
          <a:graphicData uri="http://schemas.openxmlformats.org/drawingml/2006/table">
            <a:tbl>
              <a:tblPr firstRow="1" bandRow="1">
                <a:tableStyleId>{5C22544A-7EE6-4342-B048-85BDC9FD1C3A}</a:tableStyleId>
              </a:tblPr>
              <a:tblGrid>
                <a:gridCol w="1300723">
                  <a:extLst>
                    <a:ext uri="{9D8B030D-6E8A-4147-A177-3AD203B41FA5}">
                      <a16:colId xmlns:a16="http://schemas.microsoft.com/office/drawing/2014/main" val="1248884249"/>
                    </a:ext>
                  </a:extLst>
                </a:gridCol>
                <a:gridCol w="736627">
                  <a:extLst>
                    <a:ext uri="{9D8B030D-6E8A-4147-A177-3AD203B41FA5}">
                      <a16:colId xmlns:a16="http://schemas.microsoft.com/office/drawing/2014/main" val="2275574639"/>
                    </a:ext>
                  </a:extLst>
                </a:gridCol>
                <a:gridCol w="1450263">
                  <a:extLst>
                    <a:ext uri="{9D8B030D-6E8A-4147-A177-3AD203B41FA5}">
                      <a16:colId xmlns:a16="http://schemas.microsoft.com/office/drawing/2014/main" val="3890934587"/>
                    </a:ext>
                  </a:extLst>
                </a:gridCol>
                <a:gridCol w="1062067">
                  <a:extLst>
                    <a:ext uri="{9D8B030D-6E8A-4147-A177-3AD203B41FA5}">
                      <a16:colId xmlns:a16="http://schemas.microsoft.com/office/drawing/2014/main" val="1350416051"/>
                    </a:ext>
                  </a:extLst>
                </a:gridCol>
                <a:gridCol w="979493">
                  <a:extLst>
                    <a:ext uri="{9D8B030D-6E8A-4147-A177-3AD203B41FA5}">
                      <a16:colId xmlns:a16="http://schemas.microsoft.com/office/drawing/2014/main" val="968353595"/>
                    </a:ext>
                  </a:extLst>
                </a:gridCol>
              </a:tblGrid>
              <a:tr h="312400">
                <a:tc gridSpan="5">
                  <a:txBody>
                    <a:bodyPr/>
                    <a:lstStyle/>
                    <a:p>
                      <a:pPr algn="ctr"/>
                      <a:r>
                        <a:rPr lang="en-US" sz="1400" dirty="0"/>
                        <a:t>ETL control</a:t>
                      </a:r>
                      <a:r>
                        <a:rPr lang="en-US" sz="1400" baseline="0" dirty="0"/>
                        <a:t> detail table</a:t>
                      </a:r>
                      <a:endParaRPr lang="en-US" sz="1400" dirty="0"/>
                    </a:p>
                  </a:txBody>
                  <a:tcPr marL="93260" marR="93260" marT="46630" marB="46630">
                    <a:solidFill>
                      <a:srgbClr val="0078D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5887979"/>
                  </a:ext>
                </a:extLst>
              </a:tr>
              <a:tr h="312400">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a:solidFill>
                            <a:schemeClr val="bg1"/>
                          </a:solidFill>
                          <a:latin typeface="Segoe UI Semibold" panose="020B0702040204020203" pitchFamily="34" charset="0"/>
                          <a:cs typeface="Segoe UI Semibold" panose="020B0702040204020203" pitchFamily="34" charset="0"/>
                        </a:rPr>
                        <a:t>Status</a:t>
                      </a: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FileNam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APS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DR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3855396513"/>
                  </a:ext>
                </a:extLst>
              </a:tr>
              <a:tr h="312400">
                <a:tc>
                  <a:txBody>
                    <a:bodyPr/>
                    <a:lstStyle/>
                    <a:p>
                      <a:r>
                        <a:rPr lang="en-US" sz="1400" dirty="0"/>
                        <a:t>Patient</a:t>
                      </a:r>
                    </a:p>
                  </a:txBody>
                  <a:tcPr marL="93260" marR="93260" marT="46630" marB="46630"/>
                </a:tc>
                <a:tc>
                  <a:txBody>
                    <a:bodyPr/>
                    <a:lstStyle/>
                    <a:p>
                      <a:r>
                        <a:rPr lang="en-US" sz="1400" dirty="0"/>
                        <a:t>Comp</a:t>
                      </a:r>
                    </a:p>
                  </a:txBody>
                  <a:tcPr marL="93260" marR="93260" marT="46630" marB="46630"/>
                </a:tc>
                <a:tc>
                  <a:txBody>
                    <a:bodyPr/>
                    <a:lstStyle/>
                    <a:p>
                      <a:r>
                        <a:rPr lang="en-US" sz="1400" dirty="0"/>
                        <a:t>Pat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183929435"/>
                  </a:ext>
                </a:extLst>
              </a:tr>
              <a:tr h="312400">
                <a:tc>
                  <a:txBody>
                    <a:bodyPr/>
                    <a:lstStyle/>
                    <a:p>
                      <a:r>
                        <a:rPr lang="en-US" sz="1400" dirty="0">
                          <a:solidFill>
                            <a:srgbClr val="505050"/>
                          </a:solidFill>
                        </a:rPr>
                        <a:t>Procedure</a:t>
                      </a:r>
                    </a:p>
                  </a:txBody>
                  <a:tcPr marL="93260" marR="93260" marT="46630" marB="46630"/>
                </a:tc>
                <a:tc>
                  <a:txBody>
                    <a:bodyPr/>
                    <a:lstStyle/>
                    <a:p>
                      <a:r>
                        <a:rPr lang="en-US" sz="1400" dirty="0"/>
                        <a:t>Comp</a:t>
                      </a:r>
                    </a:p>
                  </a:txBody>
                  <a:tcPr marL="93260" marR="93260" marT="46630" marB="46630"/>
                </a:tc>
                <a:tc>
                  <a:txBody>
                    <a:bodyPr/>
                    <a:lstStyle/>
                    <a:p>
                      <a:r>
                        <a:rPr lang="en-US" sz="1400" dirty="0"/>
                        <a:t>Proc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3568375883"/>
                  </a:ext>
                </a:extLst>
              </a:tr>
              <a:tr h="312400">
                <a:tc>
                  <a:txBody>
                    <a:bodyPr/>
                    <a:lstStyle/>
                    <a:p>
                      <a:r>
                        <a:rPr lang="en-US" sz="1400" dirty="0"/>
                        <a:t>Patient</a:t>
                      </a:r>
                    </a:p>
                  </a:txBody>
                  <a:tcPr marL="93260" marR="93260" marT="46630" marB="46630"/>
                </a:tc>
                <a:tc>
                  <a:txBody>
                    <a:bodyPr/>
                    <a:lstStyle/>
                    <a:p>
                      <a:r>
                        <a:rPr lang="en-US" sz="1400" dirty="0"/>
                        <a:t>New</a:t>
                      </a:r>
                    </a:p>
                  </a:txBody>
                  <a:tcPr marL="93260" marR="93260" marT="46630" marB="46630"/>
                </a:tc>
                <a:tc>
                  <a:txBody>
                    <a:bodyPr/>
                    <a:lstStyle/>
                    <a:p>
                      <a:pPr marL="0" marR="0" indent="0" algn="l" defTabSz="914250" rtl="0" eaLnBrk="1" fontAlgn="auto" latinLnBrk="0" hangingPunct="1">
                        <a:lnSpc>
                          <a:spcPct val="100000"/>
                        </a:lnSpc>
                        <a:spcBef>
                          <a:spcPts val="0"/>
                        </a:spcBef>
                        <a:spcAft>
                          <a:spcPts val="0"/>
                        </a:spcAft>
                        <a:buClrTx/>
                        <a:buSzTx/>
                        <a:buFontTx/>
                        <a:buNone/>
                        <a:tabLst/>
                        <a:defRPr/>
                      </a:pPr>
                      <a:r>
                        <a:rPr lang="en-US" sz="1400" dirty="0">
                          <a:solidFill>
                            <a:srgbClr val="505050"/>
                          </a:solidFill>
                        </a:rPr>
                        <a:t>Pat20130903a</a:t>
                      </a:r>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2868241140"/>
                  </a:ext>
                </a:extLst>
              </a:tr>
              <a:tr h="312400">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571848649"/>
                  </a:ext>
                </a:extLst>
              </a:tr>
            </a:tbl>
          </a:graphicData>
        </a:graphic>
      </p:graphicFrame>
      <p:sp>
        <p:nvSpPr>
          <p:cNvPr id="94" name="Rectangle 93"/>
          <p:cNvSpPr/>
          <p:nvPr/>
        </p:nvSpPr>
        <p:spPr>
          <a:xfrm>
            <a:off x="8695714" y="6023836"/>
            <a:ext cx="971880"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sp>
        <p:nvSpPr>
          <p:cNvPr id="133" name="Rectangle 132"/>
          <p:cNvSpPr/>
          <p:nvPr/>
        </p:nvSpPr>
        <p:spPr>
          <a:xfrm>
            <a:off x="4075470" y="5709624"/>
            <a:ext cx="1448866" cy="306611"/>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4a</a:t>
            </a:r>
          </a:p>
        </p:txBody>
      </p:sp>
      <p:sp>
        <p:nvSpPr>
          <p:cNvPr id="123" name="Rectangle 122"/>
          <p:cNvSpPr/>
          <p:nvPr/>
        </p:nvSpPr>
        <p:spPr>
          <a:xfrm>
            <a:off x="4075470" y="5709624"/>
            <a:ext cx="1448866" cy="306611"/>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4a</a:t>
            </a:r>
          </a:p>
        </p:txBody>
      </p:sp>
      <p:grpSp>
        <p:nvGrpSpPr>
          <p:cNvPr id="105" name="Group 104"/>
          <p:cNvGrpSpPr/>
          <p:nvPr/>
        </p:nvGrpSpPr>
        <p:grpSpPr>
          <a:xfrm>
            <a:off x="9067329" y="3816911"/>
            <a:ext cx="383612" cy="465303"/>
            <a:chOff x="3601562" y="1357039"/>
            <a:chExt cx="3353970" cy="4068206"/>
          </a:xfrm>
        </p:grpSpPr>
        <p:sp>
          <p:nvSpPr>
            <p:cNvPr id="106" name="Freeform 105"/>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106"/>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p:cNvGrpSpPr/>
          <p:nvPr/>
        </p:nvGrpSpPr>
        <p:grpSpPr>
          <a:xfrm>
            <a:off x="9067329" y="3816911"/>
            <a:ext cx="383612" cy="465303"/>
            <a:chOff x="3601562" y="1357039"/>
            <a:chExt cx="3353970" cy="4068206"/>
          </a:xfrm>
        </p:grpSpPr>
        <p:sp>
          <p:nvSpPr>
            <p:cNvPr id="131" name="Freeform 130"/>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131"/>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4345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63" presetClass="path" presetSubtype="0" accel="50000" decel="50000" fill="hold" grpId="0" nodeType="withEffect">
                                  <p:stCondLst>
                                    <p:cond delay="0"/>
                                  </p:stCondLst>
                                  <p:childTnLst>
                                    <p:animMotion origin="layout" path="M 2.5E-6 -4.44444E-6 L 0.34739 -0.06458 " pathEditMode="relative" rAng="0" ptsTypes="AA">
                                      <p:cBhvr>
                                        <p:cTn id="9" dur="2000" fill="hold"/>
                                        <p:tgtEl>
                                          <p:spTgt spid="123"/>
                                        </p:tgtEl>
                                        <p:attrNameLst>
                                          <p:attrName>ppt_x</p:attrName>
                                          <p:attrName>ppt_y</p:attrName>
                                        </p:attrNameLst>
                                      </p:cBhvr>
                                      <p:rCtr x="17370" y="-3241"/>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36" presetClass="path" presetSubtype="0" accel="50000" decel="50000" fill="hold" nodeType="withEffect">
                                  <p:stCondLst>
                                    <p:cond delay="0"/>
                                  </p:stCondLst>
                                  <p:childTnLst>
                                    <p:animMotion origin="layout" path="M -0.00052 4.81481E-6 C -0.00364 0.06458 -0.0069 0.12986 -0.00989 0.1956 L 0.16875 0.2324 " pathEditMode="relative" rAng="0" ptsTypes="AAA">
                                      <p:cBhvr>
                                        <p:cTn id="16" dur="4000" fill="hold"/>
                                        <p:tgtEl>
                                          <p:spTgt spid="105"/>
                                        </p:tgtEl>
                                        <p:attrNameLst>
                                          <p:attrName>ppt_x</p:attrName>
                                          <p:attrName>ppt_y</p:attrName>
                                        </p:attrNameLst>
                                      </p:cBhvr>
                                      <p:rCtr x="7995" y="11620"/>
                                    </p:animMotion>
                                  </p:childTnLst>
                                </p:cTn>
                              </p:par>
                              <p:par>
                                <p:cTn id="17" presetID="8" presetClass="emph" presetSubtype="0" fill="hold" grpId="0" nodeType="withEffect">
                                  <p:stCondLst>
                                    <p:cond delay="0"/>
                                  </p:stCondLst>
                                  <p:childTnLst>
                                    <p:animRot by="21600000">
                                      <p:cBhvr>
                                        <p:cTn id="18" dur="2000" fill="hold"/>
                                        <p:tgtEl>
                                          <p:spTgt spid="119"/>
                                        </p:tgtEl>
                                        <p:attrNameLst>
                                          <p:attrName>r</p:attrName>
                                        </p:attrNameLst>
                                      </p:cBhvr>
                                    </p:animRot>
                                  </p:childTnLst>
                                </p:cTn>
                              </p:par>
                            </p:childTnLst>
                          </p:cTn>
                        </p:par>
                        <p:par>
                          <p:cTn id="19" fill="hold">
                            <p:stCondLst>
                              <p:cond delay="4000"/>
                            </p:stCondLst>
                            <p:childTnLst>
                              <p:par>
                                <p:cTn id="20" presetID="10" presetClass="exit" presetSubtype="0" fill="hold" nodeType="afterEffect">
                                  <p:stCondLst>
                                    <p:cond delay="0"/>
                                  </p:stCondLst>
                                  <p:childTnLst>
                                    <p:animEffect transition="out" filter="fade">
                                      <p:cBhvr>
                                        <p:cTn id="21" dur="500"/>
                                        <p:tgtEl>
                                          <p:spTgt spid="105"/>
                                        </p:tgtEl>
                                      </p:cBhvr>
                                    </p:animEffect>
                                    <p:set>
                                      <p:cBhvr>
                                        <p:cTn id="22" dur="1" fill="hold">
                                          <p:stCondLst>
                                            <p:cond delay="499"/>
                                          </p:stCondLst>
                                        </p:cTn>
                                        <p:tgtEl>
                                          <p:spTgt spid="10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animEffect transition="in" filter="fade">
                                      <p:cBhvr>
                                        <p:cTn id="27" dur="500"/>
                                        <p:tgtEl>
                                          <p:spTgt spid="3">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4"/>
                                        </p:tgtEl>
                                        <p:attrNameLst>
                                          <p:attrName>style.visibility</p:attrName>
                                        </p:attrNameLst>
                                      </p:cBhvr>
                                      <p:to>
                                        <p:strVal val="visible"/>
                                      </p:to>
                                    </p:set>
                                    <p:animEffect transition="in" filter="fade">
                                      <p:cBhvr>
                                        <p:cTn id="30" dur="500"/>
                                        <p:tgtEl>
                                          <p:spTgt spid="94"/>
                                        </p:tgtEl>
                                      </p:cBhvr>
                                    </p:animEffect>
                                  </p:childTnLst>
                                </p:cTn>
                              </p:par>
                            </p:childTnLst>
                          </p:cTn>
                        </p:par>
                        <p:par>
                          <p:cTn id="31" fill="hold">
                            <p:stCondLst>
                              <p:cond delay="500"/>
                            </p:stCondLst>
                            <p:childTnLst>
                              <p:par>
                                <p:cTn id="32" presetID="35" presetClass="path" presetSubtype="0" accel="50000" decel="50000" fill="hold" grpId="1" nodeType="afterEffect">
                                  <p:stCondLst>
                                    <p:cond delay="0"/>
                                  </p:stCondLst>
                                  <p:childTnLst>
                                    <p:animMotion origin="layout" path="M -1.25E-6 -1.85185E-6 L -0.16914 -0.04467 " pathEditMode="relative" rAng="0" ptsTypes="AA">
                                      <p:cBhvr>
                                        <p:cTn id="33" dur="2000" fill="hold"/>
                                        <p:tgtEl>
                                          <p:spTgt spid="94"/>
                                        </p:tgtEl>
                                        <p:attrNameLst>
                                          <p:attrName>ppt_x</p:attrName>
                                          <p:attrName>ppt_y</p:attrName>
                                        </p:attrNameLst>
                                      </p:cBhvr>
                                      <p:rCtr x="-8464" y="-2245"/>
                                    </p:animMotion>
                                  </p:childTnLst>
                                </p:cTn>
                              </p:par>
                              <p:par>
                                <p:cTn id="34" presetID="10" presetClass="exit" presetSubtype="0" fill="hold" grpId="0" nodeType="withEffect">
                                  <p:stCondLst>
                                    <p:cond delay="1750"/>
                                  </p:stCondLst>
                                  <p:childTnLst>
                                    <p:animEffect transition="out" filter="fade">
                                      <p:cBhvr>
                                        <p:cTn id="35" dur="500"/>
                                        <p:tgtEl>
                                          <p:spTgt spid="133"/>
                                        </p:tgtEl>
                                      </p:cBhvr>
                                    </p:animEffect>
                                    <p:set>
                                      <p:cBhvr>
                                        <p:cTn id="36" dur="1" fill="hold">
                                          <p:stCondLst>
                                            <p:cond delay="499"/>
                                          </p:stCondLst>
                                        </p:cTn>
                                        <p:tgtEl>
                                          <p:spTgt spid="133"/>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
                                            <p:txEl>
                                              <p:pRg st="3" end="3"/>
                                            </p:txEl>
                                          </p:spTgt>
                                        </p:tgtEl>
                                        <p:attrNameLst>
                                          <p:attrName>style.visibility</p:attrName>
                                        </p:attrNameLst>
                                      </p:cBhvr>
                                      <p:to>
                                        <p:strVal val="visible"/>
                                      </p:to>
                                    </p:set>
                                    <p:animEffect transition="in" filter="fade">
                                      <p:cBhvr>
                                        <p:cTn id="41" dur="500"/>
                                        <p:tgtEl>
                                          <p:spTgt spid="3">
                                            <p:txEl>
                                              <p:pRg st="3" end="3"/>
                                            </p:txEl>
                                          </p:spTgt>
                                        </p:tgtEl>
                                      </p:cBhvr>
                                    </p:animEffect>
                                  </p:childTnLst>
                                </p:cTn>
                              </p:par>
                              <p:par>
                                <p:cTn id="42" presetID="10" presetClass="exit" presetSubtype="0" fill="hold" grpId="1" nodeType="withEffect">
                                  <p:stCondLst>
                                    <p:cond delay="0"/>
                                  </p:stCondLst>
                                  <p:childTnLst>
                                    <p:animEffect transition="out" filter="fade">
                                      <p:cBhvr>
                                        <p:cTn id="43" dur="500"/>
                                        <p:tgtEl>
                                          <p:spTgt spid="123"/>
                                        </p:tgtEl>
                                      </p:cBhvr>
                                    </p:animEffect>
                                    <p:set>
                                      <p:cBhvr>
                                        <p:cTn id="44" dur="1" fill="hold">
                                          <p:stCondLst>
                                            <p:cond delay="499"/>
                                          </p:stCondLst>
                                        </p:cTn>
                                        <p:tgtEl>
                                          <p:spTgt spid="123"/>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fade">
                                      <p:cBhvr>
                                        <p:cTn id="50"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92" grpId="0" animBg="1"/>
      <p:bldP spid="94" grpId="0" animBg="1"/>
      <p:bldP spid="94" grpId="1" animBg="1"/>
      <p:bldP spid="133" grpId="0" animBg="1"/>
      <p:bldP spid="123" grpId="0" animBg="1"/>
      <p:bldP spid="123"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096685"/>
            <a:ext cx="12436475" cy="1554463"/>
          </a:xfrm>
          <a:prstGeom prst="rect">
            <a:avLst/>
          </a:prstGeom>
          <a:solidFill>
            <a:schemeClr val="accent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0" tIns="46637" rIns="914400" bIns="46637" numCol="1" rtlCol="0" anchor="ctr" anchorCtr="0" compatLnSpc="1">
            <a:prstTxWarp prst="textNoShape">
              <a:avLst/>
            </a:prstTxWarp>
          </a:bodyPr>
          <a:lstStyle/>
          <a:p>
            <a:pPr defTabSz="932472" fontAlgn="base">
              <a:spcBef>
                <a:spcPct val="0"/>
              </a:spcBef>
              <a:spcAft>
                <a:spcPct val="0"/>
              </a:spcAft>
            </a:pPr>
            <a:r>
              <a:rPr lang="en-US" sz="3200" dirty="0">
                <a:gradFill>
                  <a:gsLst>
                    <a:gs pos="0">
                      <a:srgbClr val="FFFFFF"/>
                    </a:gs>
                    <a:gs pos="100000">
                      <a:srgbClr val="FFFFFF"/>
                    </a:gs>
                  </a:gsLst>
                  <a:lin ang="5400000" scaled="0"/>
                </a:gradFill>
                <a:latin typeface="+mj-lt"/>
              </a:rPr>
              <a:t>If you have questions please proceed to the </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rPr>
              <a:t>Q&amp;A MICROPHONE </a:t>
            </a:r>
            <a:r>
              <a:rPr lang="en-US" sz="3200" dirty="0">
                <a:gradFill>
                  <a:gsLst>
                    <a:gs pos="0">
                      <a:srgbClr val="FFFFFF"/>
                    </a:gs>
                    <a:gs pos="100000">
                      <a:srgbClr val="FFFFFF"/>
                    </a:gs>
                  </a:gsLst>
                  <a:lin ang="5400000" scaled="0"/>
                </a:gradFill>
                <a:latin typeface="+mj-lt"/>
              </a:rPr>
              <a:t>located in your session room.</a:t>
            </a:r>
          </a:p>
        </p:txBody>
      </p:sp>
      <p:sp>
        <p:nvSpPr>
          <p:cNvPr id="6" name="Oval 5"/>
          <p:cNvSpPr/>
          <p:nvPr/>
        </p:nvSpPr>
        <p:spPr bwMode="auto">
          <a:xfrm>
            <a:off x="274638" y="3824592"/>
            <a:ext cx="2076450" cy="2076450"/>
          </a:xfrm>
          <a:prstGeom prst="ellipse">
            <a:avLst/>
          </a:prstGeom>
          <a:solidFill>
            <a:schemeClr val="tx1"/>
          </a:solidFill>
          <a:ln w="76200">
            <a:solidFill>
              <a:schemeClr val="accent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Freeform 5"/>
          <p:cNvSpPr>
            <a:spLocks noEditPoints="1"/>
          </p:cNvSpPr>
          <p:nvPr/>
        </p:nvSpPr>
        <p:spPr bwMode="auto">
          <a:xfrm>
            <a:off x="908051" y="4204005"/>
            <a:ext cx="809625" cy="1317625"/>
          </a:xfrm>
          <a:custGeom>
            <a:avLst/>
            <a:gdLst>
              <a:gd name="T0" fmla="*/ 106 w 213"/>
              <a:gd name="T1" fmla="*/ 224 h 348"/>
              <a:gd name="T2" fmla="*/ 159 w 213"/>
              <a:gd name="T3" fmla="*/ 171 h 348"/>
              <a:gd name="T4" fmla="*/ 159 w 213"/>
              <a:gd name="T5" fmla="*/ 53 h 348"/>
              <a:gd name="T6" fmla="*/ 106 w 213"/>
              <a:gd name="T7" fmla="*/ 0 h 348"/>
              <a:gd name="T8" fmla="*/ 54 w 213"/>
              <a:gd name="T9" fmla="*/ 53 h 348"/>
              <a:gd name="T10" fmla="*/ 54 w 213"/>
              <a:gd name="T11" fmla="*/ 171 h 348"/>
              <a:gd name="T12" fmla="*/ 106 w 213"/>
              <a:gd name="T13" fmla="*/ 224 h 348"/>
              <a:gd name="T14" fmla="*/ 78 w 213"/>
              <a:gd name="T15" fmla="*/ 53 h 348"/>
              <a:gd name="T16" fmla="*/ 106 w 213"/>
              <a:gd name="T17" fmla="*/ 24 h 348"/>
              <a:gd name="T18" fmla="*/ 135 w 213"/>
              <a:gd name="T19" fmla="*/ 53 h 348"/>
              <a:gd name="T20" fmla="*/ 135 w 213"/>
              <a:gd name="T21" fmla="*/ 171 h 348"/>
              <a:gd name="T22" fmla="*/ 106 w 213"/>
              <a:gd name="T23" fmla="*/ 200 h 348"/>
              <a:gd name="T24" fmla="*/ 78 w 213"/>
              <a:gd name="T25" fmla="*/ 171 h 348"/>
              <a:gd name="T26" fmla="*/ 78 w 213"/>
              <a:gd name="T27" fmla="*/ 53 h 348"/>
              <a:gd name="T28" fmla="*/ 213 w 213"/>
              <a:gd name="T29" fmla="*/ 137 h 348"/>
              <a:gd name="T30" fmla="*/ 213 w 213"/>
              <a:gd name="T31" fmla="*/ 182 h 348"/>
              <a:gd name="T32" fmla="*/ 124 w 213"/>
              <a:gd name="T33" fmla="*/ 277 h 348"/>
              <a:gd name="T34" fmla="*/ 124 w 213"/>
              <a:gd name="T35" fmla="*/ 313 h 348"/>
              <a:gd name="T36" fmla="*/ 177 w 213"/>
              <a:gd name="T37" fmla="*/ 313 h 348"/>
              <a:gd name="T38" fmla="*/ 177 w 213"/>
              <a:gd name="T39" fmla="*/ 348 h 348"/>
              <a:gd name="T40" fmla="*/ 35 w 213"/>
              <a:gd name="T41" fmla="*/ 348 h 348"/>
              <a:gd name="T42" fmla="*/ 35 w 213"/>
              <a:gd name="T43" fmla="*/ 313 h 348"/>
              <a:gd name="T44" fmla="*/ 89 w 213"/>
              <a:gd name="T45" fmla="*/ 313 h 348"/>
              <a:gd name="T46" fmla="*/ 89 w 213"/>
              <a:gd name="T47" fmla="*/ 277 h 348"/>
              <a:gd name="T48" fmla="*/ 0 w 213"/>
              <a:gd name="T49" fmla="*/ 182 h 348"/>
              <a:gd name="T50" fmla="*/ 0 w 213"/>
              <a:gd name="T51" fmla="*/ 137 h 348"/>
              <a:gd name="T52" fmla="*/ 34 w 213"/>
              <a:gd name="T53" fmla="*/ 137 h 348"/>
              <a:gd name="T54" fmla="*/ 34 w 213"/>
              <a:gd name="T55" fmla="*/ 182 h 348"/>
              <a:gd name="T56" fmla="*/ 94 w 213"/>
              <a:gd name="T57" fmla="*/ 242 h 348"/>
              <a:gd name="T58" fmla="*/ 118 w 213"/>
              <a:gd name="T59" fmla="*/ 242 h 348"/>
              <a:gd name="T60" fmla="*/ 178 w 213"/>
              <a:gd name="T61" fmla="*/ 182 h 348"/>
              <a:gd name="T62" fmla="*/ 178 w 213"/>
              <a:gd name="T63" fmla="*/ 137 h 348"/>
              <a:gd name="T64" fmla="*/ 213 w 213"/>
              <a:gd name="T65" fmla="*/ 137 h 348"/>
              <a:gd name="T66" fmla="*/ 103 w 213"/>
              <a:gd name="T67" fmla="*/ 67 h 348"/>
              <a:gd name="T68" fmla="*/ 95 w 213"/>
              <a:gd name="T69" fmla="*/ 75 h 348"/>
              <a:gd name="T70" fmla="*/ 87 w 213"/>
              <a:gd name="T71" fmla="*/ 67 h 348"/>
              <a:gd name="T72" fmla="*/ 95 w 213"/>
              <a:gd name="T73" fmla="*/ 59 h 348"/>
              <a:gd name="T74" fmla="*/ 103 w 213"/>
              <a:gd name="T75" fmla="*/ 67 h 348"/>
              <a:gd name="T76" fmla="*/ 103 w 213"/>
              <a:gd name="T77" fmla="*/ 90 h 348"/>
              <a:gd name="T78" fmla="*/ 95 w 213"/>
              <a:gd name="T79" fmla="*/ 98 h 348"/>
              <a:gd name="T80" fmla="*/ 87 w 213"/>
              <a:gd name="T81" fmla="*/ 90 h 348"/>
              <a:gd name="T82" fmla="*/ 95 w 213"/>
              <a:gd name="T83" fmla="*/ 82 h 348"/>
              <a:gd name="T84" fmla="*/ 103 w 213"/>
              <a:gd name="T85" fmla="*/ 90 h 348"/>
              <a:gd name="T86" fmla="*/ 126 w 213"/>
              <a:gd name="T87" fmla="*/ 67 h 348"/>
              <a:gd name="T88" fmla="*/ 118 w 213"/>
              <a:gd name="T89" fmla="*/ 75 h 348"/>
              <a:gd name="T90" fmla="*/ 110 w 213"/>
              <a:gd name="T91" fmla="*/ 67 h 348"/>
              <a:gd name="T92" fmla="*/ 118 w 213"/>
              <a:gd name="T93" fmla="*/ 59 h 348"/>
              <a:gd name="T94" fmla="*/ 126 w 213"/>
              <a:gd name="T95" fmla="*/ 67 h 348"/>
              <a:gd name="T96" fmla="*/ 126 w 213"/>
              <a:gd name="T97" fmla="*/ 90 h 348"/>
              <a:gd name="T98" fmla="*/ 118 w 213"/>
              <a:gd name="T99" fmla="*/ 98 h 348"/>
              <a:gd name="T100" fmla="*/ 110 w 213"/>
              <a:gd name="T101" fmla="*/ 90 h 348"/>
              <a:gd name="T102" fmla="*/ 118 w 213"/>
              <a:gd name="T103" fmla="*/ 82 h 348"/>
              <a:gd name="T104" fmla="*/ 126 w 213"/>
              <a:gd name="T105" fmla="*/ 90 h 348"/>
              <a:gd name="T106" fmla="*/ 103 w 213"/>
              <a:gd name="T107" fmla="*/ 112 h 348"/>
              <a:gd name="T108" fmla="*/ 95 w 213"/>
              <a:gd name="T109" fmla="*/ 120 h 348"/>
              <a:gd name="T110" fmla="*/ 87 w 213"/>
              <a:gd name="T111" fmla="*/ 112 h 348"/>
              <a:gd name="T112" fmla="*/ 95 w 213"/>
              <a:gd name="T113" fmla="*/ 104 h 348"/>
              <a:gd name="T114" fmla="*/ 103 w 213"/>
              <a:gd name="T115"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48">
                <a:moveTo>
                  <a:pt x="106" y="224"/>
                </a:moveTo>
                <a:cubicBezTo>
                  <a:pt x="135" y="224"/>
                  <a:pt x="159" y="200"/>
                  <a:pt x="159" y="171"/>
                </a:cubicBezTo>
                <a:cubicBezTo>
                  <a:pt x="159" y="152"/>
                  <a:pt x="159" y="75"/>
                  <a:pt x="159" y="53"/>
                </a:cubicBezTo>
                <a:cubicBezTo>
                  <a:pt x="159" y="23"/>
                  <a:pt x="135" y="0"/>
                  <a:pt x="106" y="0"/>
                </a:cubicBezTo>
                <a:cubicBezTo>
                  <a:pt x="77" y="0"/>
                  <a:pt x="54" y="23"/>
                  <a:pt x="54" y="53"/>
                </a:cubicBezTo>
                <a:cubicBezTo>
                  <a:pt x="54" y="69"/>
                  <a:pt x="54" y="154"/>
                  <a:pt x="54" y="171"/>
                </a:cubicBezTo>
                <a:cubicBezTo>
                  <a:pt x="54" y="200"/>
                  <a:pt x="77" y="224"/>
                  <a:pt x="106" y="224"/>
                </a:cubicBezTo>
                <a:close/>
                <a:moveTo>
                  <a:pt x="78" y="53"/>
                </a:moveTo>
                <a:cubicBezTo>
                  <a:pt x="78" y="37"/>
                  <a:pt x="90" y="24"/>
                  <a:pt x="106" y="24"/>
                </a:cubicBezTo>
                <a:cubicBezTo>
                  <a:pt x="122" y="24"/>
                  <a:pt x="135" y="37"/>
                  <a:pt x="135" y="53"/>
                </a:cubicBezTo>
                <a:cubicBezTo>
                  <a:pt x="135" y="171"/>
                  <a:pt x="135" y="171"/>
                  <a:pt x="135" y="171"/>
                </a:cubicBezTo>
                <a:cubicBezTo>
                  <a:pt x="135" y="187"/>
                  <a:pt x="122" y="200"/>
                  <a:pt x="106" y="200"/>
                </a:cubicBezTo>
                <a:cubicBezTo>
                  <a:pt x="90" y="200"/>
                  <a:pt x="78" y="187"/>
                  <a:pt x="78" y="171"/>
                </a:cubicBezTo>
                <a:lnTo>
                  <a:pt x="78" y="53"/>
                </a:lnTo>
                <a:close/>
                <a:moveTo>
                  <a:pt x="213" y="137"/>
                </a:moveTo>
                <a:cubicBezTo>
                  <a:pt x="213" y="137"/>
                  <a:pt x="213" y="137"/>
                  <a:pt x="213" y="182"/>
                </a:cubicBezTo>
                <a:cubicBezTo>
                  <a:pt x="213" y="232"/>
                  <a:pt x="173" y="273"/>
                  <a:pt x="124" y="277"/>
                </a:cubicBezTo>
                <a:cubicBezTo>
                  <a:pt x="124" y="277"/>
                  <a:pt x="124" y="277"/>
                  <a:pt x="124" y="313"/>
                </a:cubicBezTo>
                <a:cubicBezTo>
                  <a:pt x="124" y="313"/>
                  <a:pt x="124" y="313"/>
                  <a:pt x="177" y="313"/>
                </a:cubicBezTo>
                <a:cubicBezTo>
                  <a:pt x="177" y="313"/>
                  <a:pt x="177" y="313"/>
                  <a:pt x="177" y="348"/>
                </a:cubicBezTo>
                <a:cubicBezTo>
                  <a:pt x="177" y="348"/>
                  <a:pt x="177" y="348"/>
                  <a:pt x="35" y="348"/>
                </a:cubicBezTo>
                <a:cubicBezTo>
                  <a:pt x="35" y="348"/>
                  <a:pt x="35" y="348"/>
                  <a:pt x="35" y="313"/>
                </a:cubicBezTo>
                <a:cubicBezTo>
                  <a:pt x="35" y="313"/>
                  <a:pt x="35" y="313"/>
                  <a:pt x="89" y="313"/>
                </a:cubicBezTo>
                <a:cubicBezTo>
                  <a:pt x="89" y="313"/>
                  <a:pt x="89" y="313"/>
                  <a:pt x="89" y="277"/>
                </a:cubicBezTo>
                <a:cubicBezTo>
                  <a:pt x="39" y="273"/>
                  <a:pt x="0" y="232"/>
                  <a:pt x="0" y="182"/>
                </a:cubicBezTo>
                <a:cubicBezTo>
                  <a:pt x="0" y="182"/>
                  <a:pt x="0" y="182"/>
                  <a:pt x="0" y="137"/>
                </a:cubicBezTo>
                <a:cubicBezTo>
                  <a:pt x="0" y="137"/>
                  <a:pt x="0" y="137"/>
                  <a:pt x="34" y="137"/>
                </a:cubicBezTo>
                <a:cubicBezTo>
                  <a:pt x="34" y="137"/>
                  <a:pt x="34" y="137"/>
                  <a:pt x="34" y="182"/>
                </a:cubicBezTo>
                <a:cubicBezTo>
                  <a:pt x="34" y="215"/>
                  <a:pt x="62" y="242"/>
                  <a:pt x="94" y="242"/>
                </a:cubicBezTo>
                <a:cubicBezTo>
                  <a:pt x="94" y="242"/>
                  <a:pt x="94" y="242"/>
                  <a:pt x="118" y="242"/>
                </a:cubicBezTo>
                <a:cubicBezTo>
                  <a:pt x="151" y="242"/>
                  <a:pt x="178" y="215"/>
                  <a:pt x="178" y="182"/>
                </a:cubicBezTo>
                <a:cubicBezTo>
                  <a:pt x="178" y="182"/>
                  <a:pt x="178" y="182"/>
                  <a:pt x="178" y="137"/>
                </a:cubicBezTo>
                <a:lnTo>
                  <a:pt x="213" y="137"/>
                </a:lnTo>
                <a:close/>
                <a:moveTo>
                  <a:pt x="103" y="67"/>
                </a:moveTo>
                <a:cubicBezTo>
                  <a:pt x="103" y="71"/>
                  <a:pt x="99" y="75"/>
                  <a:pt x="95" y="75"/>
                </a:cubicBezTo>
                <a:cubicBezTo>
                  <a:pt x="90" y="75"/>
                  <a:pt x="87" y="71"/>
                  <a:pt x="87" y="67"/>
                </a:cubicBezTo>
                <a:cubicBezTo>
                  <a:pt x="87" y="62"/>
                  <a:pt x="90" y="59"/>
                  <a:pt x="95" y="59"/>
                </a:cubicBezTo>
                <a:cubicBezTo>
                  <a:pt x="99" y="59"/>
                  <a:pt x="103" y="62"/>
                  <a:pt x="103" y="67"/>
                </a:cubicBezTo>
                <a:close/>
                <a:moveTo>
                  <a:pt x="103" y="90"/>
                </a:moveTo>
                <a:cubicBezTo>
                  <a:pt x="103" y="94"/>
                  <a:pt x="99" y="98"/>
                  <a:pt x="95" y="98"/>
                </a:cubicBezTo>
                <a:cubicBezTo>
                  <a:pt x="90" y="98"/>
                  <a:pt x="87" y="94"/>
                  <a:pt x="87" y="90"/>
                </a:cubicBezTo>
                <a:cubicBezTo>
                  <a:pt x="87" y="85"/>
                  <a:pt x="90" y="82"/>
                  <a:pt x="95" y="82"/>
                </a:cubicBezTo>
                <a:cubicBezTo>
                  <a:pt x="99" y="82"/>
                  <a:pt x="103" y="85"/>
                  <a:pt x="103" y="90"/>
                </a:cubicBezTo>
                <a:close/>
                <a:moveTo>
                  <a:pt x="126" y="67"/>
                </a:moveTo>
                <a:cubicBezTo>
                  <a:pt x="126" y="71"/>
                  <a:pt x="122" y="75"/>
                  <a:pt x="118" y="75"/>
                </a:cubicBezTo>
                <a:cubicBezTo>
                  <a:pt x="113" y="75"/>
                  <a:pt x="110" y="71"/>
                  <a:pt x="110" y="67"/>
                </a:cubicBezTo>
                <a:cubicBezTo>
                  <a:pt x="110" y="62"/>
                  <a:pt x="113" y="59"/>
                  <a:pt x="118" y="59"/>
                </a:cubicBezTo>
                <a:cubicBezTo>
                  <a:pt x="122" y="59"/>
                  <a:pt x="126" y="62"/>
                  <a:pt x="126" y="67"/>
                </a:cubicBezTo>
                <a:close/>
                <a:moveTo>
                  <a:pt x="126" y="90"/>
                </a:moveTo>
                <a:cubicBezTo>
                  <a:pt x="126" y="94"/>
                  <a:pt x="122" y="98"/>
                  <a:pt x="118" y="98"/>
                </a:cubicBezTo>
                <a:cubicBezTo>
                  <a:pt x="113" y="98"/>
                  <a:pt x="110" y="94"/>
                  <a:pt x="110" y="90"/>
                </a:cubicBezTo>
                <a:cubicBezTo>
                  <a:pt x="110" y="85"/>
                  <a:pt x="113" y="82"/>
                  <a:pt x="118" y="82"/>
                </a:cubicBezTo>
                <a:cubicBezTo>
                  <a:pt x="122" y="82"/>
                  <a:pt x="126" y="85"/>
                  <a:pt x="126" y="90"/>
                </a:cubicBezTo>
                <a:close/>
                <a:moveTo>
                  <a:pt x="103" y="112"/>
                </a:moveTo>
                <a:cubicBezTo>
                  <a:pt x="103" y="116"/>
                  <a:pt x="99" y="120"/>
                  <a:pt x="95" y="120"/>
                </a:cubicBezTo>
                <a:cubicBezTo>
                  <a:pt x="90" y="120"/>
                  <a:pt x="87" y="116"/>
                  <a:pt x="87" y="112"/>
                </a:cubicBezTo>
                <a:cubicBezTo>
                  <a:pt x="87" y="107"/>
                  <a:pt x="90" y="104"/>
                  <a:pt x="95" y="104"/>
                </a:cubicBezTo>
                <a:cubicBezTo>
                  <a:pt x="99" y="104"/>
                  <a:pt x="103" y="107"/>
                  <a:pt x="103" y="11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Title 3"/>
          <p:cNvSpPr txBox="1">
            <a:spLocks/>
          </p:cNvSpPr>
          <p:nvPr/>
        </p:nvSpPr>
        <p:spPr>
          <a:xfrm>
            <a:off x="274638" y="1364282"/>
            <a:ext cx="11887200" cy="18319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500" dirty="0"/>
              <a:t>Q&amp;A</a:t>
            </a:r>
          </a:p>
        </p:txBody>
      </p:sp>
    </p:spTree>
    <p:extLst>
      <p:ext uri="{BB962C8B-B14F-4D97-AF65-F5344CB8AC3E}">
        <p14:creationId xmlns:p14="http://schemas.microsoft.com/office/powerpoint/2010/main" val="93746882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p:cNvSpPr/>
          <p:nvPr/>
        </p:nvSpPr>
        <p:spPr>
          <a:xfrm>
            <a:off x="7703152" y="1434376"/>
            <a:ext cx="2844324" cy="1995325"/>
          </a:xfrm>
          <a:prstGeom prst="rect">
            <a:avLst/>
          </a:prstGeom>
          <a:solidFill>
            <a:srgbClr val="B4A0FF">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tx1"/>
                </a:solidFill>
              </a:rPr>
              <a:t>ETL Server - Production</a:t>
            </a:r>
          </a:p>
        </p:txBody>
      </p:sp>
      <p:sp>
        <p:nvSpPr>
          <p:cNvPr id="51" name="Freeform 50"/>
          <p:cNvSpPr/>
          <p:nvPr/>
        </p:nvSpPr>
        <p:spPr bwMode="auto">
          <a:xfrm>
            <a:off x="8900387" y="3746892"/>
            <a:ext cx="728159" cy="629489"/>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DR load processing fail back</a:t>
            </a:r>
          </a:p>
        </p:txBody>
      </p:sp>
      <p:sp>
        <p:nvSpPr>
          <p:cNvPr id="4" name="Text Placeholder 3"/>
          <p:cNvSpPr>
            <a:spLocks noGrp="1"/>
          </p:cNvSpPr>
          <p:nvPr>
            <p:ph type="body" sz="quarter" idx="10"/>
          </p:nvPr>
        </p:nvSpPr>
        <p:spPr>
          <a:xfrm>
            <a:off x="274639" y="1216152"/>
            <a:ext cx="7352430" cy="2131353"/>
          </a:xfrm>
        </p:spPr>
        <p:txBody>
          <a:bodyPr/>
          <a:lstStyle/>
          <a:p>
            <a:pPr>
              <a:lnSpc>
                <a:spcPct val="100000"/>
              </a:lnSpc>
              <a:spcAft>
                <a:spcPts val="612"/>
              </a:spcAft>
            </a:pPr>
            <a:r>
              <a:rPr lang="en-US" sz="1632" dirty="0">
                <a:solidFill>
                  <a:srgbClr val="0078D7"/>
                </a:solidFill>
                <a:latin typeface="Segoe UI Semibold" panose="020B0702040204020203" pitchFamily="34" charset="0"/>
                <a:cs typeface="Segoe UI Semibold" panose="020B0702040204020203" pitchFamily="34" charset="0"/>
              </a:rPr>
              <a:t>Step 6: </a:t>
            </a:r>
            <a:r>
              <a:rPr lang="en-US" sz="1632" dirty="0"/>
              <a:t>APS/Azure SQL DW load process reads ETL control detail to determine what needs to be completed</a:t>
            </a:r>
          </a:p>
          <a:p>
            <a:pPr>
              <a:lnSpc>
                <a:spcPct val="100000"/>
              </a:lnSpc>
              <a:spcAft>
                <a:spcPts val="612"/>
              </a:spcAft>
            </a:pPr>
            <a:r>
              <a:rPr lang="en-US" sz="1632" dirty="0">
                <a:solidFill>
                  <a:srgbClr val="0078D7"/>
                </a:solidFill>
                <a:latin typeface="Segoe UI Semibold" panose="020B0702040204020203" pitchFamily="34" charset="0"/>
                <a:cs typeface="Segoe UI Semibold" panose="020B0702040204020203" pitchFamily="34" charset="0"/>
              </a:rPr>
              <a:t>Step 7: </a:t>
            </a:r>
            <a:r>
              <a:rPr lang="en-US" sz="1632" dirty="0"/>
              <a:t>Both APS &amp; Azure SQL DW are loaded with the needed data</a:t>
            </a:r>
          </a:p>
          <a:p>
            <a:pPr>
              <a:lnSpc>
                <a:spcPct val="100000"/>
              </a:lnSpc>
              <a:spcAft>
                <a:spcPts val="612"/>
              </a:spcAft>
            </a:pPr>
            <a:r>
              <a:rPr lang="en-US" sz="1632" dirty="0">
                <a:solidFill>
                  <a:srgbClr val="0078D7"/>
                </a:solidFill>
                <a:latin typeface="Segoe UI Semibold" panose="020B0702040204020203" pitchFamily="34" charset="0"/>
                <a:cs typeface="Segoe UI Semibold" panose="020B0702040204020203" pitchFamily="34" charset="0"/>
              </a:rPr>
              <a:t>Step 8: </a:t>
            </a:r>
            <a:r>
              <a:rPr lang="en-US" sz="1632" dirty="0"/>
              <a:t>Each ETL updated the control table indicating the file was processed</a:t>
            </a:r>
          </a:p>
          <a:p>
            <a:pPr>
              <a:lnSpc>
                <a:spcPct val="100000"/>
              </a:lnSpc>
              <a:spcAft>
                <a:spcPts val="612"/>
              </a:spcAft>
            </a:pPr>
            <a:r>
              <a:rPr lang="en-US" sz="1632" dirty="0">
                <a:solidFill>
                  <a:schemeClr val="bg1">
                    <a:lumMod val="50000"/>
                  </a:schemeClr>
                </a:solidFill>
                <a:latin typeface="Segoe UI Semibold" panose="020B0702040204020203" pitchFamily="34" charset="0"/>
                <a:cs typeface="Segoe UI Semibold" panose="020B0702040204020203" pitchFamily="34" charset="0"/>
              </a:rPr>
              <a:t>	– Return to steps 7 &amp; 8</a:t>
            </a:r>
          </a:p>
          <a:p>
            <a:pPr>
              <a:lnSpc>
                <a:spcPct val="100000"/>
              </a:lnSpc>
              <a:spcAft>
                <a:spcPts val="612"/>
              </a:spcAft>
            </a:pPr>
            <a:r>
              <a:rPr lang="en-US" sz="1632" dirty="0">
                <a:solidFill>
                  <a:srgbClr val="0078D7"/>
                </a:solidFill>
                <a:latin typeface="Segoe UI Semibold" panose="020B0702040204020203" pitchFamily="34" charset="0"/>
                <a:cs typeface="Segoe UI Semibold" panose="020B0702040204020203" pitchFamily="34" charset="0"/>
              </a:rPr>
              <a:t>Step 9: </a:t>
            </a:r>
            <a:r>
              <a:rPr lang="en-US" sz="1632" dirty="0"/>
              <a:t>Verification/notification/clean-up – Based on the ETL control detail table, the WASB folder is cleaned up if both APS &amp; Azure SQL DW have processed the file</a:t>
            </a:r>
          </a:p>
          <a:p>
            <a:pPr>
              <a:lnSpc>
                <a:spcPct val="100000"/>
              </a:lnSpc>
              <a:spcAft>
                <a:spcPts val="612"/>
              </a:spcAft>
            </a:pPr>
            <a:r>
              <a:rPr lang="en-US" sz="1632" dirty="0">
                <a:solidFill>
                  <a:srgbClr val="0078D7"/>
                </a:solidFill>
                <a:latin typeface="Segoe UI Semibold" panose="020B0702040204020203" pitchFamily="34" charset="0"/>
                <a:cs typeface="Segoe UI Semibold" panose="020B0702040204020203" pitchFamily="34" charset="0"/>
              </a:rPr>
              <a:t>Step 10: </a:t>
            </a:r>
            <a:r>
              <a:rPr lang="en-US" sz="1632" dirty="0"/>
              <a:t>Load balancer is set to point to production</a:t>
            </a:r>
          </a:p>
        </p:txBody>
      </p:sp>
      <p:sp>
        <p:nvSpPr>
          <p:cNvPr id="87" name="Rectangle 86"/>
          <p:cNvSpPr/>
          <p:nvPr/>
        </p:nvSpPr>
        <p:spPr>
          <a:xfrm>
            <a:off x="7703152" y="4684126"/>
            <a:ext cx="2844324" cy="1995325"/>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DR</a:t>
            </a:r>
          </a:p>
        </p:txBody>
      </p:sp>
      <p:sp>
        <p:nvSpPr>
          <p:cNvPr id="103" name="Rectangle 102"/>
          <p:cNvSpPr/>
          <p:nvPr/>
        </p:nvSpPr>
        <p:spPr>
          <a:xfrm>
            <a:off x="7703152" y="1433753"/>
            <a:ext cx="2844324" cy="1995325"/>
          </a:xfrm>
          <a:prstGeom prst="rect">
            <a:avLst/>
          </a:prstGeom>
          <a:solidFill>
            <a:srgbClr val="E81123">
              <a:alpha val="15000"/>
            </a:srgbClr>
          </a:solidFill>
          <a:ln w="19050">
            <a:solidFill>
              <a:srgbClr val="E8112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r>
              <a:rPr lang="en-US" sz="1836" kern="0" dirty="0">
                <a:solidFill>
                  <a:schemeClr val="accent6"/>
                </a:solidFill>
              </a:rPr>
              <a:t>ETL Server - Production</a:t>
            </a:r>
          </a:p>
        </p:txBody>
      </p:sp>
      <p:sp>
        <p:nvSpPr>
          <p:cNvPr id="109" name="TextBox 108"/>
          <p:cNvSpPr txBox="1"/>
          <p:nvPr/>
        </p:nvSpPr>
        <p:spPr>
          <a:xfrm>
            <a:off x="8656666" y="5694727"/>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110" name="TextBox 109"/>
          <p:cNvSpPr txBox="1"/>
          <p:nvPr/>
        </p:nvSpPr>
        <p:spPr>
          <a:xfrm>
            <a:off x="10891324" y="2984390"/>
            <a:ext cx="1215925"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PS</a:t>
            </a:r>
          </a:p>
        </p:txBody>
      </p:sp>
      <p:sp>
        <p:nvSpPr>
          <p:cNvPr id="111" name="TextBox 110"/>
          <p:cNvSpPr txBox="1"/>
          <p:nvPr/>
        </p:nvSpPr>
        <p:spPr>
          <a:xfrm>
            <a:off x="10600881" y="6152093"/>
            <a:ext cx="1796812" cy="527358"/>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SQL DW</a:t>
            </a:r>
          </a:p>
        </p:txBody>
      </p:sp>
      <p:sp>
        <p:nvSpPr>
          <p:cNvPr id="115" name="TextBox 114"/>
          <p:cNvSpPr txBox="1"/>
          <p:nvPr/>
        </p:nvSpPr>
        <p:spPr>
          <a:xfrm>
            <a:off x="8656666" y="2461879"/>
            <a:ext cx="937295" cy="276871"/>
          </a:xfrm>
          <a:prstGeom prst="rect">
            <a:avLst/>
          </a:prstGeom>
          <a:noFill/>
        </p:spPr>
        <p:txBody>
          <a:bodyPr wrap="square" rtlCol="0">
            <a:spAutoFit/>
          </a:bodyPr>
          <a:lstStyle/>
          <a:p>
            <a:pPr algn="ctr" defTabSz="932597"/>
            <a:r>
              <a:rPr lang="en-US" sz="1199" kern="0" dirty="0">
                <a:solidFill>
                  <a:sysClr val="windowText" lastClr="000000"/>
                </a:solidFill>
              </a:rPr>
              <a:t>Load (SSIS)</a:t>
            </a:r>
          </a:p>
        </p:txBody>
      </p:sp>
      <p:sp>
        <p:nvSpPr>
          <p:cNvPr id="119" name="Freeform 118"/>
          <p:cNvSpPr/>
          <p:nvPr/>
        </p:nvSpPr>
        <p:spPr bwMode="auto">
          <a:xfrm>
            <a:off x="8846769" y="1900113"/>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0" name="Group 119"/>
          <p:cNvGrpSpPr/>
          <p:nvPr/>
        </p:nvGrpSpPr>
        <p:grpSpPr>
          <a:xfrm>
            <a:off x="11155434" y="1700351"/>
            <a:ext cx="687708" cy="1367237"/>
            <a:chOff x="-1497013" y="809624"/>
            <a:chExt cx="1601789" cy="3184518"/>
          </a:xfrm>
          <a:solidFill>
            <a:srgbClr val="0078D7"/>
          </a:solidFill>
        </p:grpSpPr>
        <p:sp>
          <p:nvSpPr>
            <p:cNvPr id="121" name="Freeform 195"/>
            <p:cNvSpPr>
              <a:spLocks noEditPoints="1"/>
            </p:cNvSpPr>
            <p:nvPr/>
          </p:nvSpPr>
          <p:spPr bwMode="auto">
            <a:xfrm>
              <a:off x="-1497013" y="809624"/>
              <a:ext cx="1601789" cy="318451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22" name="Freeform 196"/>
            <p:cNvSpPr>
              <a:spLocks noEditPoints="1"/>
            </p:cNvSpPr>
            <p:nvPr/>
          </p:nvSpPr>
          <p:spPr bwMode="auto">
            <a:xfrm>
              <a:off x="-1323974" y="3055932"/>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27" name="Freeform 197"/>
            <p:cNvSpPr>
              <a:spLocks noEditPoints="1"/>
            </p:cNvSpPr>
            <p:nvPr/>
          </p:nvSpPr>
          <p:spPr bwMode="auto">
            <a:xfrm>
              <a:off x="-1323974" y="2782883"/>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28" name="Freeform 198"/>
            <p:cNvSpPr>
              <a:spLocks noEditPoints="1"/>
            </p:cNvSpPr>
            <p:nvPr/>
          </p:nvSpPr>
          <p:spPr bwMode="auto">
            <a:xfrm>
              <a:off x="-1323974" y="250824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29" name="Freeform 199"/>
            <p:cNvSpPr>
              <a:spLocks noEditPoints="1"/>
            </p:cNvSpPr>
            <p:nvPr/>
          </p:nvSpPr>
          <p:spPr bwMode="auto">
            <a:xfrm>
              <a:off x="-1323974" y="2230434"/>
              <a:ext cx="1258889" cy="230187"/>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30" name="Freeform 200"/>
            <p:cNvSpPr>
              <a:spLocks noEditPoints="1"/>
            </p:cNvSpPr>
            <p:nvPr/>
          </p:nvSpPr>
          <p:spPr bwMode="auto">
            <a:xfrm>
              <a:off x="-1323974" y="1957385"/>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31" name="Freeform 201"/>
            <p:cNvSpPr>
              <a:spLocks noEditPoints="1"/>
            </p:cNvSpPr>
            <p:nvPr/>
          </p:nvSpPr>
          <p:spPr bwMode="auto">
            <a:xfrm>
              <a:off x="-1323974" y="1684336"/>
              <a:ext cx="1258889"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sp>
          <p:nvSpPr>
            <p:cNvPr id="132" name="Freeform 202"/>
            <p:cNvSpPr>
              <a:spLocks noEditPoints="1"/>
            </p:cNvSpPr>
            <p:nvPr/>
          </p:nvSpPr>
          <p:spPr bwMode="auto">
            <a:xfrm>
              <a:off x="-1323974" y="1409700"/>
              <a:ext cx="1258889"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rgbClr val="333333"/>
                </a:solidFill>
                <a:latin typeface="Segoe UI"/>
              </a:endParaRPr>
            </a:p>
          </p:txBody>
        </p:sp>
      </p:grpSp>
      <p:sp>
        <p:nvSpPr>
          <p:cNvPr id="136" name="Freeform 135"/>
          <p:cNvSpPr/>
          <p:nvPr/>
        </p:nvSpPr>
        <p:spPr bwMode="auto">
          <a:xfrm flipH="1">
            <a:off x="10872349" y="4923557"/>
            <a:ext cx="1253877" cy="1198860"/>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kern="0" dirty="0">
              <a:solidFill>
                <a:schemeClr val="tx1"/>
              </a:solidFill>
              <a:latin typeface="Segoe UI Light"/>
              <a:ea typeface="Segoe UI" pitchFamily="34" charset="0"/>
              <a:cs typeface="Segoe UI" pitchFamily="34" charset="0"/>
            </a:endParaRPr>
          </a:p>
        </p:txBody>
      </p:sp>
      <p:sp>
        <p:nvSpPr>
          <p:cNvPr id="137" name="Freeform 136"/>
          <p:cNvSpPr/>
          <p:nvPr/>
        </p:nvSpPr>
        <p:spPr bwMode="auto">
          <a:xfrm>
            <a:off x="8846769" y="5136791"/>
            <a:ext cx="557090" cy="557090"/>
          </a:xfrm>
          <a:custGeom>
            <a:avLst/>
            <a:gdLst>
              <a:gd name="connsiteX0" fmla="*/ 273108 w 546216"/>
              <a:gd name="connsiteY0" fmla="*/ 195824 h 546216"/>
              <a:gd name="connsiteX1" fmla="*/ 350392 w 546216"/>
              <a:gd name="connsiteY1" fmla="*/ 273108 h 546216"/>
              <a:gd name="connsiteX2" fmla="*/ 273108 w 546216"/>
              <a:gd name="connsiteY2" fmla="*/ 350392 h 546216"/>
              <a:gd name="connsiteX3" fmla="*/ 195824 w 546216"/>
              <a:gd name="connsiteY3" fmla="*/ 273108 h 546216"/>
              <a:gd name="connsiteX4" fmla="*/ 273108 w 546216"/>
              <a:gd name="connsiteY4" fmla="*/ 195824 h 546216"/>
              <a:gd name="connsiteX5" fmla="*/ 273108 w 546216"/>
              <a:gd name="connsiteY5" fmla="*/ 114492 h 546216"/>
              <a:gd name="connsiteX6" fmla="*/ 114492 w 546216"/>
              <a:gd name="connsiteY6" fmla="*/ 273108 h 546216"/>
              <a:gd name="connsiteX7" fmla="*/ 273108 w 546216"/>
              <a:gd name="connsiteY7" fmla="*/ 431723 h 546216"/>
              <a:gd name="connsiteX8" fmla="*/ 431723 w 546216"/>
              <a:gd name="connsiteY8" fmla="*/ 273108 h 546216"/>
              <a:gd name="connsiteX9" fmla="*/ 273108 w 546216"/>
              <a:gd name="connsiteY9" fmla="*/ 114492 h 546216"/>
              <a:gd name="connsiteX10" fmla="*/ 316384 w 546216"/>
              <a:gd name="connsiteY10" fmla="*/ 0 h 546216"/>
              <a:gd name="connsiteX11" fmla="*/ 369981 w 546216"/>
              <a:gd name="connsiteY11" fmla="*/ 14116 h 546216"/>
              <a:gd name="connsiteX12" fmla="*/ 369179 w 546216"/>
              <a:gd name="connsiteY12" fmla="*/ 77923 h 546216"/>
              <a:gd name="connsiteX13" fmla="*/ 376899 w 546216"/>
              <a:gd name="connsiteY13" fmla="*/ 81642 h 546216"/>
              <a:gd name="connsiteX14" fmla="*/ 392291 w 546216"/>
              <a:gd name="connsiteY14" fmla="*/ 90993 h 546216"/>
              <a:gd name="connsiteX15" fmla="*/ 446707 w 546216"/>
              <a:gd name="connsiteY15" fmla="*/ 57877 h 546216"/>
              <a:gd name="connsiteX16" fmla="*/ 486144 w 546216"/>
              <a:gd name="connsiteY16" fmla="*/ 96821 h 546216"/>
              <a:gd name="connsiteX17" fmla="*/ 453776 w 546216"/>
              <a:gd name="connsiteY17" fmla="*/ 151543 h 546216"/>
              <a:gd name="connsiteX18" fmla="*/ 464574 w 546216"/>
              <a:gd name="connsiteY18" fmla="*/ 169316 h 546216"/>
              <a:gd name="connsiteX19" fmla="*/ 467305 w 546216"/>
              <a:gd name="connsiteY19" fmla="*/ 174985 h 546216"/>
              <a:gd name="connsiteX20" fmla="*/ 531065 w 546216"/>
              <a:gd name="connsiteY20" fmla="*/ 173512 h 546216"/>
              <a:gd name="connsiteX21" fmla="*/ 545745 w 546216"/>
              <a:gd name="connsiteY21" fmla="*/ 226958 h 546216"/>
              <a:gd name="connsiteX22" fmla="*/ 490107 w 546216"/>
              <a:gd name="connsiteY22" fmla="*/ 258303 h 546216"/>
              <a:gd name="connsiteX23" fmla="*/ 490855 w 546216"/>
              <a:gd name="connsiteY23" fmla="*/ 273108 h 546216"/>
              <a:gd name="connsiteX24" fmla="*/ 490261 w 546216"/>
              <a:gd name="connsiteY24" fmla="*/ 284863 h 546216"/>
              <a:gd name="connsiteX25" fmla="*/ 546216 w 546216"/>
              <a:gd name="connsiteY25" fmla="*/ 315615 h 546216"/>
              <a:gd name="connsiteX26" fmla="*/ 532100 w 546216"/>
              <a:gd name="connsiteY26" fmla="*/ 369212 h 546216"/>
              <a:gd name="connsiteX27" fmla="*/ 468661 w 546216"/>
              <a:gd name="connsiteY27" fmla="*/ 368415 h 546216"/>
              <a:gd name="connsiteX28" fmla="*/ 464574 w 546216"/>
              <a:gd name="connsiteY28" fmla="*/ 376899 h 546216"/>
              <a:gd name="connsiteX29" fmla="*/ 455457 w 546216"/>
              <a:gd name="connsiteY29" fmla="*/ 391907 h 546216"/>
              <a:gd name="connsiteX30" fmla="*/ 488339 w 546216"/>
              <a:gd name="connsiteY30" fmla="*/ 445938 h 546216"/>
              <a:gd name="connsiteX31" fmla="*/ 449394 w 546216"/>
              <a:gd name="connsiteY31" fmla="*/ 485375 h 546216"/>
              <a:gd name="connsiteX32" fmla="*/ 395243 w 546216"/>
              <a:gd name="connsiteY32" fmla="*/ 453345 h 546216"/>
              <a:gd name="connsiteX33" fmla="*/ 394852 w 546216"/>
              <a:gd name="connsiteY33" fmla="*/ 453667 h 546216"/>
              <a:gd name="connsiteX34" fmla="*/ 376899 w 546216"/>
              <a:gd name="connsiteY34" fmla="*/ 464574 h 546216"/>
              <a:gd name="connsiteX35" fmla="*/ 371231 w 546216"/>
              <a:gd name="connsiteY35" fmla="*/ 467305 h 546216"/>
              <a:gd name="connsiteX36" fmla="*/ 372703 w 546216"/>
              <a:gd name="connsiteY36" fmla="*/ 531065 h 546216"/>
              <a:gd name="connsiteX37" fmla="*/ 319258 w 546216"/>
              <a:gd name="connsiteY37" fmla="*/ 545746 h 546216"/>
              <a:gd name="connsiteX38" fmla="*/ 287913 w 546216"/>
              <a:gd name="connsiteY38" fmla="*/ 490107 h 546216"/>
              <a:gd name="connsiteX39" fmla="*/ 273108 w 546216"/>
              <a:gd name="connsiteY39" fmla="*/ 490855 h 546216"/>
              <a:gd name="connsiteX40" fmla="*/ 260605 w 546216"/>
              <a:gd name="connsiteY40" fmla="*/ 490223 h 546216"/>
              <a:gd name="connsiteX41" fmla="*/ 229833 w 546216"/>
              <a:gd name="connsiteY41" fmla="*/ 546216 h 546216"/>
              <a:gd name="connsiteX42" fmla="*/ 176236 w 546216"/>
              <a:gd name="connsiteY42" fmla="*/ 532100 h 546216"/>
              <a:gd name="connsiteX43" fmla="*/ 177037 w 546216"/>
              <a:gd name="connsiteY43" fmla="*/ 468293 h 546216"/>
              <a:gd name="connsiteX44" fmla="*/ 169317 w 546216"/>
              <a:gd name="connsiteY44" fmla="*/ 464574 h 546216"/>
              <a:gd name="connsiteX45" fmla="*/ 153925 w 546216"/>
              <a:gd name="connsiteY45" fmla="*/ 455223 h 546216"/>
              <a:gd name="connsiteX46" fmla="*/ 99509 w 546216"/>
              <a:gd name="connsiteY46" fmla="*/ 488339 h 546216"/>
              <a:gd name="connsiteX47" fmla="*/ 60072 w 546216"/>
              <a:gd name="connsiteY47" fmla="*/ 449394 h 546216"/>
              <a:gd name="connsiteX48" fmla="*/ 92440 w 546216"/>
              <a:gd name="connsiteY48" fmla="*/ 394673 h 546216"/>
              <a:gd name="connsiteX49" fmla="*/ 81641 w 546216"/>
              <a:gd name="connsiteY49" fmla="*/ 376899 h 546216"/>
              <a:gd name="connsiteX50" fmla="*/ 78911 w 546216"/>
              <a:gd name="connsiteY50" fmla="*/ 371231 h 546216"/>
              <a:gd name="connsiteX51" fmla="*/ 15151 w 546216"/>
              <a:gd name="connsiteY51" fmla="*/ 372703 h 546216"/>
              <a:gd name="connsiteX52" fmla="*/ 470 w 546216"/>
              <a:gd name="connsiteY52" fmla="*/ 319258 h 546216"/>
              <a:gd name="connsiteX53" fmla="*/ 56109 w 546216"/>
              <a:gd name="connsiteY53" fmla="*/ 287913 h 546216"/>
              <a:gd name="connsiteX54" fmla="*/ 55361 w 546216"/>
              <a:gd name="connsiteY54" fmla="*/ 273108 h 546216"/>
              <a:gd name="connsiteX55" fmla="*/ 56030 w 546216"/>
              <a:gd name="connsiteY55" fmla="*/ 259857 h 546216"/>
              <a:gd name="connsiteX56" fmla="*/ 0 w 546216"/>
              <a:gd name="connsiteY56" fmla="*/ 229064 h 546216"/>
              <a:gd name="connsiteX57" fmla="*/ 14116 w 546216"/>
              <a:gd name="connsiteY57" fmla="*/ 175467 h 546216"/>
              <a:gd name="connsiteX58" fmla="*/ 78291 w 546216"/>
              <a:gd name="connsiteY58" fmla="*/ 176273 h 546216"/>
              <a:gd name="connsiteX59" fmla="*/ 81642 w 546216"/>
              <a:gd name="connsiteY59" fmla="*/ 169317 h 546216"/>
              <a:gd name="connsiteX60" fmla="*/ 91226 w 546216"/>
              <a:gd name="connsiteY60" fmla="*/ 153540 h 546216"/>
              <a:gd name="connsiteX61" fmla="*/ 57877 w 546216"/>
              <a:gd name="connsiteY61" fmla="*/ 98740 h 546216"/>
              <a:gd name="connsiteX62" fmla="*/ 96822 w 546216"/>
              <a:gd name="connsiteY62" fmla="*/ 59303 h 546216"/>
              <a:gd name="connsiteX63" fmla="*/ 152184 w 546216"/>
              <a:gd name="connsiteY63" fmla="*/ 92050 h 546216"/>
              <a:gd name="connsiteX64" fmla="*/ 169317 w 546216"/>
              <a:gd name="connsiteY64" fmla="*/ 81642 h 546216"/>
              <a:gd name="connsiteX65" fmla="*/ 174985 w 546216"/>
              <a:gd name="connsiteY65" fmla="*/ 78911 h 546216"/>
              <a:gd name="connsiteX66" fmla="*/ 173513 w 546216"/>
              <a:gd name="connsiteY66" fmla="*/ 15151 h 546216"/>
              <a:gd name="connsiteX67" fmla="*/ 226958 w 546216"/>
              <a:gd name="connsiteY67" fmla="*/ 471 h 546216"/>
              <a:gd name="connsiteX68" fmla="*/ 258303 w 546216"/>
              <a:gd name="connsiteY68" fmla="*/ 56109 h 546216"/>
              <a:gd name="connsiteX69" fmla="*/ 273108 w 546216"/>
              <a:gd name="connsiteY69" fmla="*/ 55361 h 546216"/>
              <a:gd name="connsiteX70" fmla="*/ 285612 w 546216"/>
              <a:gd name="connsiteY70" fmla="*/ 55992 h 54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6216" h="546216">
                <a:moveTo>
                  <a:pt x="273108" y="195824"/>
                </a:moveTo>
                <a:cubicBezTo>
                  <a:pt x="315791" y="195824"/>
                  <a:pt x="350392" y="230425"/>
                  <a:pt x="350392" y="273108"/>
                </a:cubicBezTo>
                <a:cubicBezTo>
                  <a:pt x="350392" y="315791"/>
                  <a:pt x="315791" y="350392"/>
                  <a:pt x="273108" y="350392"/>
                </a:cubicBezTo>
                <a:cubicBezTo>
                  <a:pt x="230425" y="350392"/>
                  <a:pt x="195824" y="315791"/>
                  <a:pt x="195824" y="273108"/>
                </a:cubicBezTo>
                <a:cubicBezTo>
                  <a:pt x="195824" y="230425"/>
                  <a:pt x="230425" y="195824"/>
                  <a:pt x="273108" y="195824"/>
                </a:cubicBezTo>
                <a:close/>
                <a:moveTo>
                  <a:pt x="273108" y="114492"/>
                </a:moveTo>
                <a:cubicBezTo>
                  <a:pt x="185507" y="114492"/>
                  <a:pt x="114492" y="185507"/>
                  <a:pt x="114492" y="273108"/>
                </a:cubicBezTo>
                <a:cubicBezTo>
                  <a:pt x="114492" y="360709"/>
                  <a:pt x="185507" y="431723"/>
                  <a:pt x="273108" y="431723"/>
                </a:cubicBezTo>
                <a:cubicBezTo>
                  <a:pt x="360709" y="431723"/>
                  <a:pt x="431723" y="360709"/>
                  <a:pt x="431723" y="273108"/>
                </a:cubicBezTo>
                <a:cubicBezTo>
                  <a:pt x="431723" y="185507"/>
                  <a:pt x="360709" y="114492"/>
                  <a:pt x="273108" y="114492"/>
                </a:cubicBezTo>
                <a:close/>
                <a:moveTo>
                  <a:pt x="316384" y="0"/>
                </a:moveTo>
                <a:lnTo>
                  <a:pt x="369981" y="14116"/>
                </a:lnTo>
                <a:lnTo>
                  <a:pt x="369179" y="77923"/>
                </a:lnTo>
                <a:lnTo>
                  <a:pt x="376899" y="81642"/>
                </a:lnTo>
                <a:lnTo>
                  <a:pt x="392291" y="90993"/>
                </a:lnTo>
                <a:lnTo>
                  <a:pt x="446707" y="57877"/>
                </a:lnTo>
                <a:lnTo>
                  <a:pt x="486144" y="96821"/>
                </a:lnTo>
                <a:lnTo>
                  <a:pt x="453776" y="151543"/>
                </a:lnTo>
                <a:lnTo>
                  <a:pt x="464574" y="169316"/>
                </a:lnTo>
                <a:lnTo>
                  <a:pt x="467305" y="174985"/>
                </a:lnTo>
                <a:lnTo>
                  <a:pt x="531065" y="173512"/>
                </a:lnTo>
                <a:lnTo>
                  <a:pt x="545745" y="226958"/>
                </a:lnTo>
                <a:lnTo>
                  <a:pt x="490107" y="258303"/>
                </a:lnTo>
                <a:lnTo>
                  <a:pt x="490855" y="273108"/>
                </a:lnTo>
                <a:lnTo>
                  <a:pt x="490261" y="284863"/>
                </a:lnTo>
                <a:lnTo>
                  <a:pt x="546216" y="315615"/>
                </a:lnTo>
                <a:lnTo>
                  <a:pt x="532100" y="369212"/>
                </a:lnTo>
                <a:lnTo>
                  <a:pt x="468661" y="368415"/>
                </a:lnTo>
                <a:lnTo>
                  <a:pt x="464574" y="376899"/>
                </a:lnTo>
                <a:lnTo>
                  <a:pt x="455457" y="391907"/>
                </a:lnTo>
                <a:lnTo>
                  <a:pt x="488339" y="445938"/>
                </a:lnTo>
                <a:lnTo>
                  <a:pt x="449394" y="485375"/>
                </a:lnTo>
                <a:lnTo>
                  <a:pt x="395243" y="453345"/>
                </a:lnTo>
                <a:lnTo>
                  <a:pt x="394852" y="453667"/>
                </a:lnTo>
                <a:cubicBezTo>
                  <a:pt x="389060" y="457580"/>
                  <a:pt x="383070" y="461222"/>
                  <a:pt x="376899" y="464574"/>
                </a:cubicBezTo>
                <a:lnTo>
                  <a:pt x="371231" y="467305"/>
                </a:lnTo>
                <a:lnTo>
                  <a:pt x="372703" y="531065"/>
                </a:lnTo>
                <a:lnTo>
                  <a:pt x="319258" y="545746"/>
                </a:lnTo>
                <a:lnTo>
                  <a:pt x="287913" y="490107"/>
                </a:lnTo>
                <a:lnTo>
                  <a:pt x="273108" y="490855"/>
                </a:lnTo>
                <a:lnTo>
                  <a:pt x="260605" y="490223"/>
                </a:lnTo>
                <a:lnTo>
                  <a:pt x="229833" y="546216"/>
                </a:lnTo>
                <a:lnTo>
                  <a:pt x="176236" y="532100"/>
                </a:lnTo>
                <a:lnTo>
                  <a:pt x="177037" y="468293"/>
                </a:lnTo>
                <a:lnTo>
                  <a:pt x="169317" y="464574"/>
                </a:lnTo>
                <a:lnTo>
                  <a:pt x="153925" y="455223"/>
                </a:lnTo>
                <a:lnTo>
                  <a:pt x="99509" y="488339"/>
                </a:lnTo>
                <a:lnTo>
                  <a:pt x="60072" y="449394"/>
                </a:lnTo>
                <a:lnTo>
                  <a:pt x="92440" y="394673"/>
                </a:lnTo>
                <a:lnTo>
                  <a:pt x="81641" y="376899"/>
                </a:lnTo>
                <a:lnTo>
                  <a:pt x="78911" y="371231"/>
                </a:lnTo>
                <a:lnTo>
                  <a:pt x="15151" y="372703"/>
                </a:lnTo>
                <a:lnTo>
                  <a:pt x="470" y="319258"/>
                </a:lnTo>
                <a:lnTo>
                  <a:pt x="56109" y="287913"/>
                </a:lnTo>
                <a:lnTo>
                  <a:pt x="55361" y="273108"/>
                </a:lnTo>
                <a:lnTo>
                  <a:pt x="56030" y="259857"/>
                </a:lnTo>
                <a:lnTo>
                  <a:pt x="0" y="229064"/>
                </a:lnTo>
                <a:lnTo>
                  <a:pt x="14116" y="175467"/>
                </a:lnTo>
                <a:lnTo>
                  <a:pt x="78291" y="176273"/>
                </a:lnTo>
                <a:lnTo>
                  <a:pt x="81642" y="169317"/>
                </a:lnTo>
                <a:lnTo>
                  <a:pt x="91226" y="153540"/>
                </a:lnTo>
                <a:lnTo>
                  <a:pt x="57877" y="98740"/>
                </a:lnTo>
                <a:lnTo>
                  <a:pt x="96822" y="59303"/>
                </a:lnTo>
                <a:lnTo>
                  <a:pt x="152184" y="92050"/>
                </a:lnTo>
                <a:lnTo>
                  <a:pt x="169317" y="81642"/>
                </a:lnTo>
                <a:lnTo>
                  <a:pt x="174985" y="78911"/>
                </a:lnTo>
                <a:lnTo>
                  <a:pt x="173513" y="15151"/>
                </a:lnTo>
                <a:lnTo>
                  <a:pt x="226958" y="471"/>
                </a:lnTo>
                <a:lnTo>
                  <a:pt x="258303" y="56109"/>
                </a:lnTo>
                <a:lnTo>
                  <a:pt x="273108" y="55361"/>
                </a:lnTo>
                <a:lnTo>
                  <a:pt x="285612" y="5599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TextBox 137"/>
          <p:cNvSpPr txBox="1"/>
          <p:nvPr/>
        </p:nvSpPr>
        <p:spPr>
          <a:xfrm>
            <a:off x="8099194" y="4232258"/>
            <a:ext cx="2164921" cy="527372"/>
          </a:xfrm>
          <a:prstGeom prst="rect">
            <a:avLst/>
          </a:prstGeom>
          <a:noFill/>
        </p:spPr>
        <p:txBody>
          <a:bodyPr wrap="square" lIns="186521" tIns="149217" rIns="186521" bIns="149217" rtlCol="0">
            <a:spAutoFit/>
          </a:bodyPr>
          <a:lstStyle/>
          <a:p>
            <a:pPr algn="ctr" defTabSz="932597">
              <a:lnSpc>
                <a:spcPct val="90000"/>
              </a:lnSpc>
            </a:pPr>
            <a:r>
              <a:rPr lang="en-US" sz="1632" kern="0" dirty="0">
                <a:gradFill>
                  <a:gsLst>
                    <a:gs pos="2917">
                      <a:schemeClr val="tx1"/>
                    </a:gs>
                    <a:gs pos="30000">
                      <a:schemeClr val="tx1"/>
                    </a:gs>
                  </a:gsLst>
                  <a:lin ang="5400000" scaled="0"/>
                </a:gradFill>
              </a:rPr>
              <a:t>Azure Blob Storage</a:t>
            </a:r>
          </a:p>
        </p:txBody>
      </p:sp>
      <p:grpSp>
        <p:nvGrpSpPr>
          <p:cNvPr id="83" name="Group 82"/>
          <p:cNvGrpSpPr/>
          <p:nvPr/>
        </p:nvGrpSpPr>
        <p:grpSpPr>
          <a:xfrm>
            <a:off x="79839" y="4845589"/>
            <a:ext cx="1508856" cy="955495"/>
            <a:chOff x="253841" y="3080502"/>
            <a:chExt cx="1479405" cy="936845"/>
          </a:xfrm>
        </p:grpSpPr>
        <p:sp>
          <p:nvSpPr>
            <p:cNvPr id="84" name="Freeform 83"/>
            <p:cNvSpPr>
              <a:spLocks noChangeAspect="1"/>
            </p:cNvSpPr>
            <p:nvPr/>
          </p:nvSpPr>
          <p:spPr bwMode="auto">
            <a:xfrm>
              <a:off x="253841" y="3080502"/>
              <a:ext cx="1479405" cy="9368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IN" sz="2000" b="1" kern="0" dirty="0">
                <a:solidFill>
                  <a:srgbClr val="FFFFFF"/>
                </a:solidFill>
                <a:latin typeface="Segoe UI Light"/>
                <a:ea typeface="Segoe UI" pitchFamily="34" charset="0"/>
                <a:cs typeface="Segoe UI" pitchFamily="34" charset="0"/>
              </a:endParaRPr>
            </a:p>
          </p:txBody>
        </p:sp>
        <p:sp>
          <p:nvSpPr>
            <p:cNvPr id="86" name="Freeform 85"/>
            <p:cNvSpPr/>
            <p:nvPr/>
          </p:nvSpPr>
          <p:spPr bwMode="auto">
            <a:xfrm>
              <a:off x="732712" y="3191594"/>
              <a:ext cx="658679" cy="799498"/>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86521" numCol="1" spcCol="0" rtlCol="0" fromWordArt="0" anchor="b" anchorCtr="1" forceAA="0" compatLnSpc="1">
              <a:prstTxWarp prst="textNoShape">
                <a:avLst/>
              </a:prstTxWarp>
              <a:noAutofit/>
            </a:bodyPr>
            <a:lstStyle/>
            <a:p>
              <a:pPr algn="ctr" defTabSz="951028" fontAlgn="base">
                <a:lnSpc>
                  <a:spcPct val="90000"/>
                </a:lnSpc>
                <a:spcBef>
                  <a:spcPct val="0"/>
                </a:spcBef>
                <a:spcAft>
                  <a:spcPct val="0"/>
                </a:spcAft>
              </a:pPr>
              <a:r>
                <a:rPr lang="en-US" sz="1224"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Control DB</a:t>
              </a:r>
            </a:p>
          </p:txBody>
        </p:sp>
      </p:grpSp>
      <p:sp>
        <p:nvSpPr>
          <p:cNvPr id="96" name="Left Brace 95"/>
          <p:cNvSpPr/>
          <p:nvPr/>
        </p:nvSpPr>
        <p:spPr>
          <a:xfrm>
            <a:off x="1674308" y="4460585"/>
            <a:ext cx="291126" cy="1870411"/>
          </a:xfrm>
          <a:prstGeom prst="leftBrace">
            <a:avLst>
              <a:gd name="adj1" fmla="val 8333"/>
              <a:gd name="adj2" fmla="val 51861"/>
            </a:avLst>
          </a:prstGeom>
          <a:ln w="19050">
            <a:solidFill>
              <a:srgbClr val="00BCF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graphicFrame>
        <p:nvGraphicFramePr>
          <p:cNvPr id="98" name="Table 97"/>
          <p:cNvGraphicFramePr>
            <a:graphicFrameLocks noGrp="1"/>
          </p:cNvGraphicFramePr>
          <p:nvPr>
            <p:extLst/>
          </p:nvPr>
        </p:nvGraphicFramePr>
        <p:xfrm>
          <a:off x="2038176" y="4457898"/>
          <a:ext cx="5529173" cy="1874400"/>
        </p:xfrm>
        <a:graphic>
          <a:graphicData uri="http://schemas.openxmlformats.org/drawingml/2006/table">
            <a:tbl>
              <a:tblPr firstRow="1" bandRow="1">
                <a:tableStyleId>{5C22544A-7EE6-4342-B048-85BDC9FD1C3A}</a:tableStyleId>
              </a:tblPr>
              <a:tblGrid>
                <a:gridCol w="1300723">
                  <a:extLst>
                    <a:ext uri="{9D8B030D-6E8A-4147-A177-3AD203B41FA5}">
                      <a16:colId xmlns:a16="http://schemas.microsoft.com/office/drawing/2014/main" val="1248884249"/>
                    </a:ext>
                  </a:extLst>
                </a:gridCol>
                <a:gridCol w="736627">
                  <a:extLst>
                    <a:ext uri="{9D8B030D-6E8A-4147-A177-3AD203B41FA5}">
                      <a16:colId xmlns:a16="http://schemas.microsoft.com/office/drawing/2014/main" val="2275574639"/>
                    </a:ext>
                  </a:extLst>
                </a:gridCol>
                <a:gridCol w="1450263">
                  <a:extLst>
                    <a:ext uri="{9D8B030D-6E8A-4147-A177-3AD203B41FA5}">
                      <a16:colId xmlns:a16="http://schemas.microsoft.com/office/drawing/2014/main" val="3890934587"/>
                    </a:ext>
                  </a:extLst>
                </a:gridCol>
                <a:gridCol w="1062067">
                  <a:extLst>
                    <a:ext uri="{9D8B030D-6E8A-4147-A177-3AD203B41FA5}">
                      <a16:colId xmlns:a16="http://schemas.microsoft.com/office/drawing/2014/main" val="1350416051"/>
                    </a:ext>
                  </a:extLst>
                </a:gridCol>
                <a:gridCol w="979493">
                  <a:extLst>
                    <a:ext uri="{9D8B030D-6E8A-4147-A177-3AD203B41FA5}">
                      <a16:colId xmlns:a16="http://schemas.microsoft.com/office/drawing/2014/main" val="968353595"/>
                    </a:ext>
                  </a:extLst>
                </a:gridCol>
              </a:tblGrid>
              <a:tr h="312400">
                <a:tc gridSpan="5">
                  <a:txBody>
                    <a:bodyPr/>
                    <a:lstStyle/>
                    <a:p>
                      <a:pPr algn="ctr"/>
                      <a:r>
                        <a:rPr lang="en-US" sz="1400" dirty="0"/>
                        <a:t>ETL control</a:t>
                      </a:r>
                      <a:r>
                        <a:rPr lang="en-US" sz="1400" baseline="0" dirty="0"/>
                        <a:t> detail table</a:t>
                      </a:r>
                      <a:endParaRPr lang="en-US" sz="1400" dirty="0"/>
                    </a:p>
                  </a:txBody>
                  <a:tcPr marL="93260" marR="93260" marT="46630" marB="46630">
                    <a:solidFill>
                      <a:srgbClr val="0078D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5887979"/>
                  </a:ext>
                </a:extLst>
              </a:tr>
              <a:tr h="312400">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Extract_Tabl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a:solidFill>
                            <a:schemeClr val="bg1"/>
                          </a:solidFill>
                          <a:latin typeface="Segoe UI Semibold" panose="020B0702040204020203" pitchFamily="34" charset="0"/>
                          <a:cs typeface="Segoe UI Semibold" panose="020B0702040204020203" pitchFamily="34" charset="0"/>
                        </a:rPr>
                        <a:t>Status</a:t>
                      </a: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FileName</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APS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tc>
                  <a:txBody>
                    <a:bodyPr/>
                    <a:lstStyle/>
                    <a:p>
                      <a:r>
                        <a:rPr lang="en-US" sz="1400" dirty="0" err="1">
                          <a:solidFill>
                            <a:schemeClr val="bg1"/>
                          </a:solidFill>
                          <a:latin typeface="Segoe UI Semibold" panose="020B0702040204020203" pitchFamily="34" charset="0"/>
                          <a:cs typeface="Segoe UI Semibold" panose="020B0702040204020203" pitchFamily="34" charset="0"/>
                        </a:rPr>
                        <a:t>DRStatus</a:t>
                      </a:r>
                      <a:endParaRPr lang="en-US" sz="1400" dirty="0">
                        <a:solidFill>
                          <a:schemeClr val="bg1"/>
                        </a:solidFill>
                        <a:latin typeface="Segoe UI Semibold" panose="020B0702040204020203" pitchFamily="34" charset="0"/>
                        <a:cs typeface="Segoe UI Semibold" panose="020B0702040204020203" pitchFamily="34" charset="0"/>
                      </a:endParaRPr>
                    </a:p>
                  </a:txBody>
                  <a:tcPr marL="93260" marR="93260" marT="46630" marB="46630">
                    <a:solidFill>
                      <a:srgbClr val="0078D7"/>
                    </a:solidFill>
                  </a:tcPr>
                </a:tc>
                <a:extLst>
                  <a:ext uri="{0D108BD9-81ED-4DB2-BD59-A6C34878D82A}">
                    <a16:rowId xmlns:a16="http://schemas.microsoft.com/office/drawing/2014/main" val="3855396513"/>
                  </a:ext>
                </a:extLst>
              </a:tr>
              <a:tr h="312400">
                <a:tc>
                  <a:txBody>
                    <a:bodyPr/>
                    <a:lstStyle/>
                    <a:p>
                      <a:r>
                        <a:rPr lang="en-US" sz="1400" dirty="0"/>
                        <a:t>Patient</a:t>
                      </a:r>
                    </a:p>
                  </a:txBody>
                  <a:tcPr marL="93260" marR="93260" marT="46630" marB="46630"/>
                </a:tc>
                <a:tc>
                  <a:txBody>
                    <a:bodyPr/>
                    <a:lstStyle/>
                    <a:p>
                      <a:r>
                        <a:rPr lang="en-US" sz="1400" dirty="0"/>
                        <a:t>Comp</a:t>
                      </a:r>
                    </a:p>
                  </a:txBody>
                  <a:tcPr marL="93260" marR="93260" marT="46630" marB="46630"/>
                </a:tc>
                <a:tc>
                  <a:txBody>
                    <a:bodyPr/>
                    <a:lstStyle/>
                    <a:p>
                      <a:r>
                        <a:rPr lang="en-US" sz="1400" dirty="0"/>
                        <a:t>Pat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183929435"/>
                  </a:ext>
                </a:extLst>
              </a:tr>
              <a:tr h="312400">
                <a:tc>
                  <a:txBody>
                    <a:bodyPr/>
                    <a:lstStyle/>
                    <a:p>
                      <a:r>
                        <a:rPr lang="en-US" sz="1400" dirty="0">
                          <a:solidFill>
                            <a:srgbClr val="505050"/>
                          </a:solidFill>
                        </a:rPr>
                        <a:t>Procedure</a:t>
                      </a:r>
                    </a:p>
                  </a:txBody>
                  <a:tcPr marL="93260" marR="93260" marT="46630" marB="46630"/>
                </a:tc>
                <a:tc>
                  <a:txBody>
                    <a:bodyPr/>
                    <a:lstStyle/>
                    <a:p>
                      <a:r>
                        <a:rPr lang="en-US" sz="1400" dirty="0"/>
                        <a:t>Comp</a:t>
                      </a:r>
                    </a:p>
                  </a:txBody>
                  <a:tcPr marL="93260" marR="93260" marT="46630" marB="46630"/>
                </a:tc>
                <a:tc>
                  <a:txBody>
                    <a:bodyPr/>
                    <a:lstStyle/>
                    <a:p>
                      <a:r>
                        <a:rPr lang="en-US" sz="1400" dirty="0"/>
                        <a:t>Proc20130903x</a:t>
                      </a:r>
                    </a:p>
                  </a:txBody>
                  <a:tcPr marL="93260" marR="93260" marT="46630" marB="46630"/>
                </a:tc>
                <a:tc>
                  <a:txBody>
                    <a:bodyPr/>
                    <a:lstStyle/>
                    <a:p>
                      <a:r>
                        <a:rPr lang="en-US" sz="1400" dirty="0"/>
                        <a:t>Comp</a:t>
                      </a:r>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3568375883"/>
                  </a:ext>
                </a:extLst>
              </a:tr>
              <a:tr h="312400">
                <a:tc>
                  <a:txBody>
                    <a:bodyPr/>
                    <a:lstStyle/>
                    <a:p>
                      <a:r>
                        <a:rPr lang="en-US" sz="1400" dirty="0"/>
                        <a:t>Patient</a:t>
                      </a:r>
                    </a:p>
                  </a:txBody>
                  <a:tcPr marL="93260" marR="93260" marT="46630" marB="46630"/>
                </a:tc>
                <a:tc>
                  <a:txBody>
                    <a:bodyPr/>
                    <a:lstStyle/>
                    <a:p>
                      <a:r>
                        <a:rPr lang="en-US" sz="1400" dirty="0"/>
                        <a:t>New</a:t>
                      </a:r>
                    </a:p>
                  </a:txBody>
                  <a:tcPr marL="93260" marR="93260" marT="46630" marB="46630"/>
                </a:tc>
                <a:tc>
                  <a:txBody>
                    <a:bodyPr/>
                    <a:lstStyle/>
                    <a:p>
                      <a:pPr marL="0" marR="0" indent="0" algn="l" defTabSz="914250" rtl="0" eaLnBrk="1" fontAlgn="auto" latinLnBrk="0" hangingPunct="1">
                        <a:lnSpc>
                          <a:spcPct val="100000"/>
                        </a:lnSpc>
                        <a:spcBef>
                          <a:spcPts val="0"/>
                        </a:spcBef>
                        <a:spcAft>
                          <a:spcPts val="0"/>
                        </a:spcAft>
                        <a:buClrTx/>
                        <a:buSzTx/>
                        <a:buFontTx/>
                        <a:buNone/>
                        <a:tabLst/>
                        <a:defRPr/>
                      </a:pPr>
                      <a:r>
                        <a:rPr lang="en-US" sz="1400" dirty="0">
                          <a:solidFill>
                            <a:srgbClr val="505050"/>
                          </a:solidFill>
                        </a:rPr>
                        <a:t>Pat20130903a</a:t>
                      </a:r>
                    </a:p>
                  </a:txBody>
                  <a:tcPr marL="93260" marR="93260" marT="46630" marB="46630"/>
                </a:tc>
                <a:tc>
                  <a:txBody>
                    <a:bodyPr/>
                    <a:lstStyle/>
                    <a:p>
                      <a:endParaRPr lang="en-US" sz="1400" dirty="0"/>
                    </a:p>
                  </a:txBody>
                  <a:tcPr marL="93260" marR="93260" marT="46630" marB="46630"/>
                </a:tc>
                <a:tc>
                  <a:txBody>
                    <a:bodyPr/>
                    <a:lstStyle/>
                    <a:p>
                      <a:r>
                        <a:rPr lang="en-US" sz="1400" dirty="0"/>
                        <a:t>Comp</a:t>
                      </a:r>
                    </a:p>
                  </a:txBody>
                  <a:tcPr marL="93260" marR="93260" marT="46630" marB="46630"/>
                </a:tc>
                <a:extLst>
                  <a:ext uri="{0D108BD9-81ED-4DB2-BD59-A6C34878D82A}">
                    <a16:rowId xmlns:a16="http://schemas.microsoft.com/office/drawing/2014/main" val="2868241140"/>
                  </a:ext>
                </a:extLst>
              </a:tr>
              <a:tr h="312400">
                <a:tc>
                  <a:txBody>
                    <a:bodyPr/>
                    <a:lstStyle/>
                    <a:p>
                      <a:r>
                        <a:rPr lang="en-US" sz="1400" dirty="0"/>
                        <a:t>Patient</a:t>
                      </a:r>
                    </a:p>
                  </a:txBody>
                  <a:tcPr marL="93260" marR="93260" marT="46630" marB="46630"/>
                </a:tc>
                <a:tc>
                  <a:txBody>
                    <a:bodyPr/>
                    <a:lstStyle/>
                    <a:p>
                      <a:r>
                        <a:rPr lang="en-US" sz="1400" dirty="0"/>
                        <a:t>New</a:t>
                      </a:r>
                    </a:p>
                  </a:txBody>
                  <a:tcPr marL="93260" marR="93260" marT="46630" marB="46630"/>
                </a:tc>
                <a:tc>
                  <a:txBody>
                    <a:bodyPr/>
                    <a:lstStyle/>
                    <a:p>
                      <a:r>
                        <a:rPr lang="en-US" sz="1400" dirty="0"/>
                        <a:t>Pat20130904b</a:t>
                      </a:r>
                    </a:p>
                  </a:txBody>
                  <a:tcPr marL="93260" marR="93260" marT="46630" marB="46630"/>
                </a:tc>
                <a:tc>
                  <a:txBody>
                    <a:bodyPr/>
                    <a:lstStyle/>
                    <a:p>
                      <a:endParaRPr lang="en-US" sz="1400" dirty="0"/>
                    </a:p>
                  </a:txBody>
                  <a:tcPr marL="93260" marR="93260" marT="46630" marB="46630"/>
                </a:tc>
                <a:tc>
                  <a:txBody>
                    <a:bodyPr/>
                    <a:lstStyle/>
                    <a:p>
                      <a:endParaRPr lang="en-US" sz="1400" dirty="0"/>
                    </a:p>
                  </a:txBody>
                  <a:tcPr marL="93260" marR="93260" marT="46630" marB="46630"/>
                </a:tc>
                <a:extLst>
                  <a:ext uri="{0D108BD9-81ED-4DB2-BD59-A6C34878D82A}">
                    <a16:rowId xmlns:a16="http://schemas.microsoft.com/office/drawing/2014/main" val="571848649"/>
                  </a:ext>
                </a:extLst>
              </a:tr>
            </a:tbl>
          </a:graphicData>
        </a:graphic>
      </p:graphicFrame>
      <p:cxnSp>
        <p:nvCxnSpPr>
          <p:cNvPr id="144" name="Straight Connector 143"/>
          <p:cNvCxnSpPr/>
          <p:nvPr/>
        </p:nvCxnSpPr>
        <p:spPr>
          <a:xfrm>
            <a:off x="7526819" y="3485376"/>
            <a:ext cx="480456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5" name="Rectangle 144"/>
          <p:cNvSpPr/>
          <p:nvPr/>
        </p:nvSpPr>
        <p:spPr>
          <a:xfrm>
            <a:off x="4075470" y="5709619"/>
            <a:ext cx="1448866" cy="306611"/>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3a</a:t>
            </a:r>
          </a:p>
        </p:txBody>
      </p:sp>
      <p:grpSp>
        <p:nvGrpSpPr>
          <p:cNvPr id="116" name="Group 115"/>
          <p:cNvGrpSpPr/>
          <p:nvPr/>
        </p:nvGrpSpPr>
        <p:grpSpPr>
          <a:xfrm>
            <a:off x="9067329" y="3821629"/>
            <a:ext cx="383612" cy="465303"/>
            <a:chOff x="3601562" y="1357039"/>
            <a:chExt cx="3353970" cy="4068206"/>
          </a:xfrm>
        </p:grpSpPr>
        <p:sp>
          <p:nvSpPr>
            <p:cNvPr id="117" name="Freeform 116"/>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117"/>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7" name="Group 146"/>
          <p:cNvGrpSpPr/>
          <p:nvPr/>
        </p:nvGrpSpPr>
        <p:grpSpPr>
          <a:xfrm>
            <a:off x="9067329" y="3821629"/>
            <a:ext cx="383612" cy="465303"/>
            <a:chOff x="3601562" y="1357039"/>
            <a:chExt cx="3353970" cy="4068206"/>
          </a:xfrm>
        </p:grpSpPr>
        <p:sp>
          <p:nvSpPr>
            <p:cNvPr id="148" name="Freeform 147"/>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0" name="Rectangle 149"/>
          <p:cNvSpPr/>
          <p:nvPr/>
        </p:nvSpPr>
        <p:spPr>
          <a:xfrm>
            <a:off x="8656666" y="5990048"/>
            <a:ext cx="971880" cy="307163"/>
          </a:xfrm>
          <a:prstGeom prst="rect">
            <a:avLst/>
          </a:prstGeom>
          <a:solidFill>
            <a:srgbClr val="CBE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sp>
        <p:nvSpPr>
          <p:cNvPr id="151" name="Rectangle 150"/>
          <p:cNvSpPr/>
          <p:nvPr/>
        </p:nvSpPr>
        <p:spPr>
          <a:xfrm>
            <a:off x="8580583" y="2755489"/>
            <a:ext cx="1069484" cy="307163"/>
          </a:xfrm>
          <a:prstGeom prst="rect">
            <a:avLst/>
          </a:prstGeom>
          <a:solidFill>
            <a:srgbClr val="E7F4F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sp>
        <p:nvSpPr>
          <p:cNvPr id="153" name="Rectangle 152"/>
          <p:cNvSpPr/>
          <p:nvPr/>
        </p:nvSpPr>
        <p:spPr>
          <a:xfrm>
            <a:off x="4075470" y="6023073"/>
            <a:ext cx="1448866" cy="306611"/>
          </a:xfrm>
          <a:prstGeom prst="rect">
            <a:avLst/>
          </a:prstGeom>
          <a:solidFill>
            <a:srgbClr val="CBE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4b</a:t>
            </a:r>
          </a:p>
        </p:txBody>
      </p:sp>
      <p:sp>
        <p:nvSpPr>
          <p:cNvPr id="146" name="Rectangle 145"/>
          <p:cNvSpPr/>
          <p:nvPr/>
        </p:nvSpPr>
        <p:spPr>
          <a:xfrm>
            <a:off x="4075470" y="6023073"/>
            <a:ext cx="1448866" cy="306611"/>
          </a:xfrm>
          <a:prstGeom prst="rect">
            <a:avLst/>
          </a:prstGeom>
          <a:solidFill>
            <a:srgbClr val="CBE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Pat20130904b</a:t>
            </a:r>
          </a:p>
        </p:txBody>
      </p:sp>
      <p:grpSp>
        <p:nvGrpSpPr>
          <p:cNvPr id="154" name="Group 153"/>
          <p:cNvGrpSpPr/>
          <p:nvPr/>
        </p:nvGrpSpPr>
        <p:grpSpPr>
          <a:xfrm>
            <a:off x="9067329" y="3821629"/>
            <a:ext cx="383612" cy="465303"/>
            <a:chOff x="3601562" y="1357039"/>
            <a:chExt cx="3353970" cy="4068206"/>
          </a:xfrm>
        </p:grpSpPr>
        <p:sp>
          <p:nvSpPr>
            <p:cNvPr id="155" name="Freeform 154"/>
            <p:cNvSpPr/>
            <p:nvPr/>
          </p:nvSpPr>
          <p:spPr bwMode="auto">
            <a:xfrm rot="5400000">
              <a:off x="3356198" y="1812783"/>
              <a:ext cx="3809029" cy="3101388"/>
            </a:xfrm>
            <a:custGeom>
              <a:avLst/>
              <a:gdLst>
                <a:gd name="connsiteX0" fmla="*/ 0 w 3809029"/>
                <a:gd name="connsiteY0" fmla="*/ 2160781 h 3101388"/>
                <a:gd name="connsiteX1" fmla="*/ 0 w 3809029"/>
                <a:gd name="connsiteY1" fmla="*/ 0 h 3101388"/>
                <a:gd name="connsiteX2" fmla="*/ 3809029 w 3809029"/>
                <a:gd name="connsiteY2" fmla="*/ 0 h 3101388"/>
                <a:gd name="connsiteX3" fmla="*/ 3809029 w 3809029"/>
                <a:gd name="connsiteY3" fmla="*/ 3101388 h 3101388"/>
                <a:gd name="connsiteX4" fmla="*/ 940607 w 3809029"/>
                <a:gd name="connsiteY4" fmla="*/ 3101388 h 3101388"/>
                <a:gd name="connsiteX5" fmla="*/ 0 w 3809029"/>
                <a:gd name="connsiteY5" fmla="*/ 2160781 h 3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9029" h="3101388">
                  <a:moveTo>
                    <a:pt x="0" y="2160781"/>
                  </a:moveTo>
                  <a:lnTo>
                    <a:pt x="0" y="0"/>
                  </a:lnTo>
                  <a:lnTo>
                    <a:pt x="3809029" y="0"/>
                  </a:lnTo>
                  <a:lnTo>
                    <a:pt x="3809029" y="3101388"/>
                  </a:lnTo>
                  <a:lnTo>
                    <a:pt x="940607" y="3101388"/>
                  </a:lnTo>
                  <a:lnTo>
                    <a:pt x="0" y="21607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55"/>
            <p:cNvSpPr/>
            <p:nvPr/>
          </p:nvSpPr>
          <p:spPr bwMode="auto">
            <a:xfrm>
              <a:off x="3601562" y="1357039"/>
              <a:ext cx="3353970" cy="4068206"/>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53970" h="4068206">
                  <a:moveTo>
                    <a:pt x="798094" y="2861714"/>
                  </a:moveTo>
                  <a:lnTo>
                    <a:pt x="2555877" y="2861714"/>
                  </a:lnTo>
                  <a:cubicBezTo>
                    <a:pt x="2634995" y="2861714"/>
                    <a:pt x="2699133" y="2925852"/>
                    <a:pt x="2699133" y="3004970"/>
                  </a:cubicBezTo>
                  <a:cubicBezTo>
                    <a:pt x="2699133" y="3084088"/>
                    <a:pt x="2634995" y="3148226"/>
                    <a:pt x="2555877" y="3148226"/>
                  </a:cubicBezTo>
                  <a:lnTo>
                    <a:pt x="798094" y="3148226"/>
                  </a:lnTo>
                  <a:cubicBezTo>
                    <a:pt x="718976" y="3148226"/>
                    <a:pt x="654838" y="3084088"/>
                    <a:pt x="654838" y="3004970"/>
                  </a:cubicBezTo>
                  <a:cubicBezTo>
                    <a:pt x="654838" y="2925852"/>
                    <a:pt x="718976" y="2861714"/>
                    <a:pt x="798094" y="2861714"/>
                  </a:cubicBezTo>
                  <a:close/>
                  <a:moveTo>
                    <a:pt x="798094" y="2277716"/>
                  </a:moveTo>
                  <a:lnTo>
                    <a:pt x="2555877" y="2277716"/>
                  </a:lnTo>
                  <a:cubicBezTo>
                    <a:pt x="2634995" y="2277716"/>
                    <a:pt x="2699133" y="2341854"/>
                    <a:pt x="2699133" y="2420972"/>
                  </a:cubicBezTo>
                  <a:cubicBezTo>
                    <a:pt x="2699133" y="2500090"/>
                    <a:pt x="2634995" y="2564228"/>
                    <a:pt x="2555877" y="2564228"/>
                  </a:cubicBezTo>
                  <a:lnTo>
                    <a:pt x="798094" y="2564228"/>
                  </a:lnTo>
                  <a:cubicBezTo>
                    <a:pt x="718976" y="2564228"/>
                    <a:pt x="654838" y="2500090"/>
                    <a:pt x="654838" y="2420972"/>
                  </a:cubicBezTo>
                  <a:cubicBezTo>
                    <a:pt x="654838" y="2341854"/>
                    <a:pt x="718976" y="2277716"/>
                    <a:pt x="798094" y="2277716"/>
                  </a:cubicBezTo>
                  <a:close/>
                  <a:moveTo>
                    <a:pt x="798094" y="1693718"/>
                  </a:moveTo>
                  <a:lnTo>
                    <a:pt x="2555877" y="1693718"/>
                  </a:lnTo>
                  <a:cubicBezTo>
                    <a:pt x="2634995" y="1693718"/>
                    <a:pt x="2699133" y="1757856"/>
                    <a:pt x="2699133" y="1836974"/>
                  </a:cubicBezTo>
                  <a:cubicBezTo>
                    <a:pt x="2699133" y="1916092"/>
                    <a:pt x="2634995" y="1980230"/>
                    <a:pt x="2555877" y="1980230"/>
                  </a:cubicBezTo>
                  <a:lnTo>
                    <a:pt x="798094" y="1980230"/>
                  </a:lnTo>
                  <a:cubicBezTo>
                    <a:pt x="718976" y="1980230"/>
                    <a:pt x="654838" y="1916092"/>
                    <a:pt x="654838" y="1836974"/>
                  </a:cubicBezTo>
                  <a:cubicBezTo>
                    <a:pt x="654838" y="1757856"/>
                    <a:pt x="718976" y="1693718"/>
                    <a:pt x="798094" y="1693718"/>
                  </a:cubicBezTo>
                  <a:close/>
                  <a:moveTo>
                    <a:pt x="1530134" y="1144192"/>
                  </a:moveTo>
                  <a:lnTo>
                    <a:pt x="2555877" y="1144192"/>
                  </a:lnTo>
                  <a:cubicBezTo>
                    <a:pt x="2634995" y="1144192"/>
                    <a:pt x="2699133" y="1208330"/>
                    <a:pt x="2699133" y="1287448"/>
                  </a:cubicBezTo>
                  <a:cubicBezTo>
                    <a:pt x="2699133" y="1366566"/>
                    <a:pt x="2634995" y="1430704"/>
                    <a:pt x="2555877" y="1430704"/>
                  </a:cubicBezTo>
                  <a:lnTo>
                    <a:pt x="1530134" y="1430704"/>
                  </a:lnTo>
                  <a:cubicBezTo>
                    <a:pt x="1451016" y="1430704"/>
                    <a:pt x="1386878" y="1366566"/>
                    <a:pt x="1386878" y="1287448"/>
                  </a:cubicBezTo>
                  <a:cubicBezTo>
                    <a:pt x="1386878" y="1208330"/>
                    <a:pt x="1451016" y="1144192"/>
                    <a:pt x="1530134" y="1144192"/>
                  </a:cubicBezTo>
                  <a:close/>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7" name="Rectangle 156"/>
          <p:cNvSpPr/>
          <p:nvPr/>
        </p:nvSpPr>
        <p:spPr>
          <a:xfrm>
            <a:off x="8580583" y="2755489"/>
            <a:ext cx="1069484" cy="307163"/>
          </a:xfrm>
          <a:prstGeom prst="rect">
            <a:avLst/>
          </a:prstGeom>
          <a:solidFill>
            <a:srgbClr val="CBE7F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sz="1428" kern="0" dirty="0">
                <a:solidFill>
                  <a:srgbClr val="505050"/>
                </a:solidFill>
              </a:rPr>
              <a:t>Comp</a:t>
            </a:r>
          </a:p>
        </p:txBody>
      </p:sp>
    </p:spTree>
    <p:extLst>
      <p:ext uri="{BB962C8B-B14F-4D97-AF65-F5344CB8AC3E}">
        <p14:creationId xmlns:p14="http://schemas.microsoft.com/office/powerpoint/2010/main" val="27028506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63" presetClass="path" presetSubtype="0" accel="50000" decel="50000" fill="hold" grpId="0" nodeType="withEffect">
                                  <p:stCondLst>
                                    <p:cond delay="0"/>
                                  </p:stCondLst>
                                  <p:childTnLst>
                                    <p:animMotion origin="layout" path="M 2.5E-6 -4.44444E-6 L 0.34739 -0.52777 " pathEditMode="relative" rAng="0" ptsTypes="AA">
                                      <p:cBhvr>
                                        <p:cTn id="9" dur="2000" fill="hold"/>
                                        <p:tgtEl>
                                          <p:spTgt spid="145"/>
                                        </p:tgtEl>
                                        <p:attrNameLst>
                                          <p:attrName>ppt_x</p:attrName>
                                          <p:attrName>ppt_y</p:attrName>
                                        </p:attrNameLst>
                                      </p:cBhvr>
                                      <p:rCtr x="17370" y="-26389"/>
                                    </p:animMotion>
                                  </p:childTnLst>
                                </p:cTn>
                              </p:par>
                            </p:childTnLst>
                          </p:cTn>
                        </p:par>
                        <p:par>
                          <p:cTn id="10" fill="hold">
                            <p:stCondLst>
                              <p:cond delay="2000"/>
                            </p:stCondLst>
                            <p:childTnLst>
                              <p:par>
                                <p:cTn id="11" presetID="63" presetClass="path" presetSubtype="0" accel="50000" decel="50000" fill="hold" grpId="0" nodeType="afterEffect">
                                  <p:stCondLst>
                                    <p:cond delay="0"/>
                                  </p:stCondLst>
                                  <p:childTnLst>
                                    <p:animMotion origin="layout" path="M 2.5E-6 -3.7037E-7 L 0.3483 -0.10856 " pathEditMode="relative" rAng="0" ptsTypes="AA">
                                      <p:cBhvr>
                                        <p:cTn id="12" dur="2000" fill="hold"/>
                                        <p:tgtEl>
                                          <p:spTgt spid="146"/>
                                        </p:tgtEl>
                                        <p:attrNameLst>
                                          <p:attrName>ppt_x</p:attrName>
                                          <p:attrName>ppt_y</p:attrName>
                                        </p:attrNameLst>
                                      </p:cBhvr>
                                      <p:rCtr x="17409" y="-5440"/>
                                    </p:animMotion>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animEffect transition="in" filter="fade">
                                      <p:cBhvr>
                                        <p:cTn id="17" dur="500"/>
                                        <p:tgtEl>
                                          <p:spTgt spid="4">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10" presetClass="entr" presetSubtype="0" fill="hold" nodeType="withEffect">
                                  <p:stCondLst>
                                    <p:cond delay="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childTnLst>
                          </p:cTn>
                        </p:par>
                        <p:par>
                          <p:cTn id="24" fill="hold">
                            <p:stCondLst>
                              <p:cond delay="500"/>
                            </p:stCondLst>
                            <p:childTnLst>
                              <p:par>
                                <p:cTn id="25" presetID="36" presetClass="path" presetSubtype="0" accel="50000" decel="50000" fill="hold" nodeType="afterEffect">
                                  <p:stCondLst>
                                    <p:cond delay="0"/>
                                  </p:stCondLst>
                                  <p:childTnLst>
                                    <p:animMotion origin="layout" path="M -0.00052 3.7037E-7 C -0.0039 0.06481 -0.00768 0.1294 -0.01094 0.19444 L 0.17279 0.22222 " pathEditMode="relative" rAng="0" ptsTypes="AAA">
                                      <p:cBhvr>
                                        <p:cTn id="26" dur="4000" fill="hold"/>
                                        <p:tgtEl>
                                          <p:spTgt spid="147"/>
                                        </p:tgtEl>
                                        <p:attrNameLst>
                                          <p:attrName>ppt_x</p:attrName>
                                          <p:attrName>ppt_y</p:attrName>
                                        </p:attrNameLst>
                                      </p:cBhvr>
                                      <p:rCtr x="8138" y="11111"/>
                                    </p:animMotion>
                                  </p:childTnLst>
                                </p:cTn>
                              </p:par>
                              <p:par>
                                <p:cTn id="27" presetID="57" presetClass="path" presetSubtype="0" accel="50000" decel="50000" fill="hold" nodeType="withEffect">
                                  <p:stCondLst>
                                    <p:cond delay="0"/>
                                  </p:stCondLst>
                                  <p:childTnLst>
                                    <p:animMotion origin="layout" path="M -0.00039 3.7037E-7 L -0.01015 -0.27014 L 0.18034 -0.25069 " pathEditMode="relative" rAng="0" ptsTypes="AAA">
                                      <p:cBhvr>
                                        <p:cTn id="28" dur="4000" fill="hold"/>
                                        <p:tgtEl>
                                          <p:spTgt spid="116"/>
                                        </p:tgtEl>
                                        <p:attrNameLst>
                                          <p:attrName>ppt_x</p:attrName>
                                          <p:attrName>ppt_y</p:attrName>
                                        </p:attrNameLst>
                                      </p:cBhvr>
                                      <p:rCtr x="8542" y="-13519"/>
                                    </p:animMotion>
                                  </p:childTnLst>
                                </p:cTn>
                              </p:par>
                              <p:par>
                                <p:cTn id="29" presetID="8" presetClass="emph" presetSubtype="0" fill="hold" grpId="0" nodeType="withEffect">
                                  <p:stCondLst>
                                    <p:cond delay="0"/>
                                  </p:stCondLst>
                                  <p:childTnLst>
                                    <p:animRot by="21600000">
                                      <p:cBhvr>
                                        <p:cTn id="30" dur="2000" fill="hold"/>
                                        <p:tgtEl>
                                          <p:spTgt spid="119"/>
                                        </p:tgtEl>
                                        <p:attrNameLst>
                                          <p:attrName>r</p:attrName>
                                        </p:attrNameLst>
                                      </p:cBhvr>
                                    </p:animRot>
                                  </p:childTnLst>
                                </p:cTn>
                              </p:par>
                              <p:par>
                                <p:cTn id="31" presetID="8" presetClass="emph" presetSubtype="0" fill="hold" grpId="0" nodeType="withEffect">
                                  <p:stCondLst>
                                    <p:cond delay="0"/>
                                  </p:stCondLst>
                                  <p:childTnLst>
                                    <p:animRot by="21600000">
                                      <p:cBhvr>
                                        <p:cTn id="32" dur="2000" fill="hold"/>
                                        <p:tgtEl>
                                          <p:spTgt spid="137"/>
                                        </p:tgtEl>
                                        <p:attrNameLst>
                                          <p:attrName>r</p:attrName>
                                        </p:attrNameLst>
                                      </p:cBhvr>
                                    </p:animRot>
                                  </p:childTnLst>
                                </p:cTn>
                              </p:par>
                            </p:childTnLst>
                          </p:cTn>
                        </p:par>
                        <p:par>
                          <p:cTn id="33" fill="hold">
                            <p:stCondLst>
                              <p:cond delay="4500"/>
                            </p:stCondLst>
                            <p:childTnLst>
                              <p:par>
                                <p:cTn id="34" presetID="10" presetClass="exit" presetSubtype="0" fill="hold" nodeType="afterEffect">
                                  <p:stCondLst>
                                    <p:cond delay="0"/>
                                  </p:stCondLst>
                                  <p:childTnLst>
                                    <p:animEffect transition="out" filter="fade">
                                      <p:cBhvr>
                                        <p:cTn id="35" dur="500"/>
                                        <p:tgtEl>
                                          <p:spTgt spid="147"/>
                                        </p:tgtEl>
                                      </p:cBhvr>
                                    </p:animEffect>
                                    <p:set>
                                      <p:cBhvr>
                                        <p:cTn id="36" dur="1" fill="hold">
                                          <p:stCondLst>
                                            <p:cond delay="499"/>
                                          </p:stCondLst>
                                        </p:cTn>
                                        <p:tgtEl>
                                          <p:spTgt spid="147"/>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116"/>
                                        </p:tgtEl>
                                      </p:cBhvr>
                                    </p:animEffect>
                                    <p:set>
                                      <p:cBhvr>
                                        <p:cTn id="39" dur="1" fill="hold">
                                          <p:stCondLst>
                                            <p:cond delay="499"/>
                                          </p:stCondLst>
                                        </p:cTn>
                                        <p:tgtEl>
                                          <p:spTgt spid="11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
                                            <p:txEl>
                                              <p:pRg st="2" end="2"/>
                                            </p:txEl>
                                          </p:spTgt>
                                        </p:tgtEl>
                                        <p:attrNameLst>
                                          <p:attrName>style.visibility</p:attrName>
                                        </p:attrNameLst>
                                      </p:cBhvr>
                                      <p:to>
                                        <p:strVal val="visible"/>
                                      </p:to>
                                    </p:set>
                                    <p:animEffect transition="in" filter="fade">
                                      <p:cBhvr>
                                        <p:cTn id="44" dur="500"/>
                                        <p:tgtEl>
                                          <p:spTgt spid="4">
                                            <p:txEl>
                                              <p:pRg st="2" end="2"/>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51"/>
                                        </p:tgtEl>
                                        <p:attrNameLst>
                                          <p:attrName>style.visibility</p:attrName>
                                        </p:attrNameLst>
                                      </p:cBhvr>
                                      <p:to>
                                        <p:strVal val="visible"/>
                                      </p:to>
                                    </p:set>
                                    <p:animEffect transition="in" filter="fade">
                                      <p:cBhvr>
                                        <p:cTn id="47" dur="500"/>
                                        <p:tgtEl>
                                          <p:spTgt spid="15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50"/>
                                        </p:tgtEl>
                                        <p:attrNameLst>
                                          <p:attrName>style.visibility</p:attrName>
                                        </p:attrNameLst>
                                      </p:cBhvr>
                                      <p:to>
                                        <p:strVal val="visible"/>
                                      </p:to>
                                    </p:set>
                                    <p:animEffect transition="in" filter="fade">
                                      <p:cBhvr>
                                        <p:cTn id="50" dur="500"/>
                                        <p:tgtEl>
                                          <p:spTgt spid="150"/>
                                        </p:tgtEl>
                                      </p:cBhvr>
                                    </p:animEffect>
                                  </p:childTnLst>
                                </p:cTn>
                              </p:par>
                            </p:childTnLst>
                          </p:cTn>
                        </p:par>
                        <p:par>
                          <p:cTn id="51" fill="hold">
                            <p:stCondLst>
                              <p:cond delay="500"/>
                            </p:stCondLst>
                            <p:childTnLst>
                              <p:par>
                                <p:cTn id="52" presetID="35" presetClass="path" presetSubtype="0" accel="50000" decel="50000" fill="hold" grpId="1" nodeType="afterEffect">
                                  <p:stCondLst>
                                    <p:cond delay="0"/>
                                  </p:stCondLst>
                                  <p:childTnLst>
                                    <p:animMotion origin="layout" path="M -2.70833E-6 -2.22222E-6 L -0.24596 0.42199 " pathEditMode="relative" rAng="0" ptsTypes="AA">
                                      <p:cBhvr>
                                        <p:cTn id="53" dur="2000" fill="hold"/>
                                        <p:tgtEl>
                                          <p:spTgt spid="151"/>
                                        </p:tgtEl>
                                        <p:attrNameLst>
                                          <p:attrName>ppt_x</p:attrName>
                                          <p:attrName>ppt_y</p:attrName>
                                        </p:attrNameLst>
                                      </p:cBhvr>
                                      <p:rCtr x="-12305" y="21088"/>
                                    </p:animMotion>
                                  </p:childTnLst>
                                </p:cTn>
                              </p:par>
                            </p:childTnLst>
                          </p:cTn>
                        </p:par>
                        <p:par>
                          <p:cTn id="54" fill="hold">
                            <p:stCondLst>
                              <p:cond delay="2500"/>
                            </p:stCondLst>
                            <p:childTnLst>
                              <p:par>
                                <p:cTn id="55" presetID="10" presetClass="exit" presetSubtype="0" fill="hold" grpId="1" nodeType="afterEffect">
                                  <p:stCondLst>
                                    <p:cond delay="0"/>
                                  </p:stCondLst>
                                  <p:childTnLst>
                                    <p:animEffect transition="out" filter="fade">
                                      <p:cBhvr>
                                        <p:cTn id="56" dur="500"/>
                                        <p:tgtEl>
                                          <p:spTgt spid="145"/>
                                        </p:tgtEl>
                                      </p:cBhvr>
                                    </p:animEffect>
                                    <p:set>
                                      <p:cBhvr>
                                        <p:cTn id="57" dur="1" fill="hold">
                                          <p:stCondLst>
                                            <p:cond delay="499"/>
                                          </p:stCondLst>
                                        </p:cTn>
                                        <p:tgtEl>
                                          <p:spTgt spid="145"/>
                                        </p:tgtEl>
                                        <p:attrNameLst>
                                          <p:attrName>style.visibility</p:attrName>
                                        </p:attrNameLst>
                                      </p:cBhvr>
                                      <p:to>
                                        <p:strVal val="hidden"/>
                                      </p:to>
                                    </p:set>
                                  </p:childTnLst>
                                </p:cTn>
                              </p:par>
                              <p:par>
                                <p:cTn id="58" presetID="35" presetClass="path" presetSubtype="0" accel="50000" decel="50000" fill="hold" grpId="1" nodeType="withEffect">
                                  <p:stCondLst>
                                    <p:cond delay="0"/>
                                  </p:stCondLst>
                                  <p:childTnLst>
                                    <p:animMotion origin="layout" path="M 3.75E-6 -7.40741E-7 L -0.16602 0.00463 " pathEditMode="relative" rAng="0" ptsTypes="AA">
                                      <p:cBhvr>
                                        <p:cTn id="59" dur="2000" fill="hold"/>
                                        <p:tgtEl>
                                          <p:spTgt spid="150"/>
                                        </p:tgtEl>
                                        <p:attrNameLst>
                                          <p:attrName>ppt_x</p:attrName>
                                          <p:attrName>ppt_y</p:attrName>
                                        </p:attrNameLst>
                                      </p:cBhvr>
                                      <p:rCtr x="-8307" y="231"/>
                                    </p:animMotion>
                                  </p:childTnLst>
                                </p:cTn>
                              </p:par>
                            </p:childTnLst>
                          </p:cTn>
                        </p:par>
                        <p:par>
                          <p:cTn id="60" fill="hold">
                            <p:stCondLst>
                              <p:cond delay="4500"/>
                            </p:stCondLst>
                            <p:childTnLst>
                              <p:par>
                                <p:cTn id="61" presetID="10" presetClass="exit" presetSubtype="0" fill="hold" grpId="1" nodeType="afterEffect">
                                  <p:stCondLst>
                                    <p:cond delay="0"/>
                                  </p:stCondLst>
                                  <p:childTnLst>
                                    <p:animEffect transition="out" filter="fade">
                                      <p:cBhvr>
                                        <p:cTn id="62" dur="500"/>
                                        <p:tgtEl>
                                          <p:spTgt spid="146"/>
                                        </p:tgtEl>
                                      </p:cBhvr>
                                    </p:animEffect>
                                    <p:set>
                                      <p:cBhvr>
                                        <p:cTn id="63" dur="1" fill="hold">
                                          <p:stCondLst>
                                            <p:cond delay="499"/>
                                          </p:stCondLst>
                                        </p:cTn>
                                        <p:tgtEl>
                                          <p:spTgt spid="146"/>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4">
                                            <p:txEl>
                                              <p:pRg st="3" end="3"/>
                                            </p:txEl>
                                          </p:spTgt>
                                        </p:tgtEl>
                                        <p:attrNameLst>
                                          <p:attrName>style.visibility</p:attrName>
                                        </p:attrNameLst>
                                      </p:cBhvr>
                                      <p:to>
                                        <p:strVal val="visible"/>
                                      </p:to>
                                    </p:set>
                                    <p:animEffect transition="in" filter="fade">
                                      <p:cBhvr>
                                        <p:cTn id="68" dur="500"/>
                                        <p:tgtEl>
                                          <p:spTgt spid="4">
                                            <p:txEl>
                                              <p:pRg st="3" end="3"/>
                                            </p:txEl>
                                          </p:spTgt>
                                        </p:tgtEl>
                                      </p:cBhvr>
                                    </p:animEffect>
                                  </p:childTnLst>
                                </p:cTn>
                              </p:par>
                              <p:par>
                                <p:cTn id="69" presetID="63" presetClass="path" presetSubtype="0" accel="50000" decel="50000" fill="hold" grpId="0" nodeType="withEffect">
                                  <p:stCondLst>
                                    <p:cond delay="0"/>
                                  </p:stCondLst>
                                  <p:childTnLst>
                                    <p:animMotion origin="layout" path="M 2.5E-6 -3.7037E-7 L 0.34726 -0.57245 " pathEditMode="relative" rAng="0" ptsTypes="AA">
                                      <p:cBhvr>
                                        <p:cTn id="70" dur="2000" fill="hold"/>
                                        <p:tgtEl>
                                          <p:spTgt spid="153"/>
                                        </p:tgtEl>
                                        <p:attrNameLst>
                                          <p:attrName>ppt_x</p:attrName>
                                          <p:attrName>ppt_y</p:attrName>
                                        </p:attrNameLst>
                                      </p:cBhvr>
                                      <p:rCtr x="17357" y="-28634"/>
                                    </p:animMotion>
                                  </p:childTnLst>
                                </p:cTn>
                              </p:par>
                            </p:childTnLst>
                          </p:cTn>
                        </p:par>
                        <p:par>
                          <p:cTn id="71" fill="hold">
                            <p:stCondLst>
                              <p:cond delay="2000"/>
                            </p:stCondLst>
                            <p:childTnLst>
                              <p:par>
                                <p:cTn id="72" presetID="10" presetClass="entr" presetSubtype="0" fill="hold" nodeType="after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childTnLst>
                          </p:cTn>
                        </p:par>
                        <p:par>
                          <p:cTn id="75" fill="hold">
                            <p:stCondLst>
                              <p:cond delay="2500"/>
                            </p:stCondLst>
                            <p:childTnLst>
                              <p:par>
                                <p:cTn id="76" presetID="8" presetClass="emph" presetSubtype="0" fill="hold" grpId="1" nodeType="afterEffect">
                                  <p:stCondLst>
                                    <p:cond delay="0"/>
                                  </p:stCondLst>
                                  <p:childTnLst>
                                    <p:animRot by="21600000">
                                      <p:cBhvr>
                                        <p:cTn id="77" dur="2000" fill="hold"/>
                                        <p:tgtEl>
                                          <p:spTgt spid="119"/>
                                        </p:tgtEl>
                                        <p:attrNameLst>
                                          <p:attrName>r</p:attrName>
                                        </p:attrNameLst>
                                      </p:cBhvr>
                                    </p:animRot>
                                  </p:childTnLst>
                                </p:cTn>
                              </p:par>
                              <p:par>
                                <p:cTn id="78" presetID="57" presetClass="path" presetSubtype="0" accel="50000" decel="50000" fill="hold" nodeType="withEffect">
                                  <p:stCondLst>
                                    <p:cond delay="0"/>
                                  </p:stCondLst>
                                  <p:childTnLst>
                                    <p:animMotion origin="layout" path="M -0.00039 3.7037E-7 L -0.01015 -0.27014 L 0.18034 -0.25069 " pathEditMode="relative" rAng="0" ptsTypes="AAA">
                                      <p:cBhvr>
                                        <p:cTn id="79" dur="4000" fill="hold"/>
                                        <p:tgtEl>
                                          <p:spTgt spid="154"/>
                                        </p:tgtEl>
                                        <p:attrNameLst>
                                          <p:attrName>ppt_x</p:attrName>
                                          <p:attrName>ppt_y</p:attrName>
                                        </p:attrNameLst>
                                      </p:cBhvr>
                                      <p:rCtr x="8542" y="-13519"/>
                                    </p:animMotion>
                                  </p:childTnLst>
                                </p:cTn>
                              </p:par>
                            </p:childTnLst>
                          </p:cTn>
                        </p:par>
                        <p:par>
                          <p:cTn id="80" fill="hold">
                            <p:stCondLst>
                              <p:cond delay="6500"/>
                            </p:stCondLst>
                            <p:childTnLst>
                              <p:par>
                                <p:cTn id="81" presetID="10" presetClass="exit" presetSubtype="0" fill="hold" nodeType="afterEffect">
                                  <p:stCondLst>
                                    <p:cond delay="0"/>
                                  </p:stCondLst>
                                  <p:childTnLst>
                                    <p:animEffect transition="out" filter="fade">
                                      <p:cBhvr>
                                        <p:cTn id="82" dur="500"/>
                                        <p:tgtEl>
                                          <p:spTgt spid="154"/>
                                        </p:tgtEl>
                                      </p:cBhvr>
                                    </p:animEffect>
                                    <p:set>
                                      <p:cBhvr>
                                        <p:cTn id="83" dur="1" fill="hold">
                                          <p:stCondLst>
                                            <p:cond delay="499"/>
                                          </p:stCondLst>
                                        </p:cTn>
                                        <p:tgtEl>
                                          <p:spTgt spid="154"/>
                                        </p:tgtEl>
                                        <p:attrNameLst>
                                          <p:attrName>style.visibility</p:attrName>
                                        </p:attrNameLst>
                                      </p:cBhvr>
                                      <p:to>
                                        <p:strVal val="hidden"/>
                                      </p:to>
                                    </p:set>
                                  </p:childTnLst>
                                </p:cTn>
                              </p:par>
                              <p:par>
                                <p:cTn id="84" presetID="10" presetClass="entr" presetSubtype="0" fill="hold" grpId="0" nodeType="withEffect">
                                  <p:stCondLst>
                                    <p:cond delay="0"/>
                                  </p:stCondLst>
                                  <p:childTnLst>
                                    <p:set>
                                      <p:cBhvr>
                                        <p:cTn id="85" dur="1" fill="hold">
                                          <p:stCondLst>
                                            <p:cond delay="0"/>
                                          </p:stCondLst>
                                        </p:cTn>
                                        <p:tgtEl>
                                          <p:spTgt spid="157"/>
                                        </p:tgtEl>
                                        <p:attrNameLst>
                                          <p:attrName>style.visibility</p:attrName>
                                        </p:attrNameLst>
                                      </p:cBhvr>
                                      <p:to>
                                        <p:strVal val="visible"/>
                                      </p:to>
                                    </p:set>
                                    <p:animEffect transition="in" filter="fade">
                                      <p:cBhvr>
                                        <p:cTn id="86" dur="500"/>
                                        <p:tgtEl>
                                          <p:spTgt spid="157"/>
                                        </p:tgtEl>
                                      </p:cBhvr>
                                    </p:animEffect>
                                  </p:childTnLst>
                                </p:cTn>
                              </p:par>
                            </p:childTnLst>
                          </p:cTn>
                        </p:par>
                        <p:par>
                          <p:cTn id="87" fill="hold">
                            <p:stCondLst>
                              <p:cond delay="7000"/>
                            </p:stCondLst>
                            <p:childTnLst>
                              <p:par>
                                <p:cTn id="88" presetID="35" presetClass="path" presetSubtype="0" accel="50000" decel="50000" fill="hold" grpId="1" nodeType="afterEffect">
                                  <p:stCondLst>
                                    <p:cond delay="0"/>
                                  </p:stCondLst>
                                  <p:childTnLst>
                                    <p:animMotion origin="layout" path="M -2.70833E-6 -2.22222E-6 L -0.24596 0.4669 " pathEditMode="relative" rAng="0" ptsTypes="AA">
                                      <p:cBhvr>
                                        <p:cTn id="89" dur="2000" fill="hold"/>
                                        <p:tgtEl>
                                          <p:spTgt spid="157"/>
                                        </p:tgtEl>
                                        <p:attrNameLst>
                                          <p:attrName>ppt_x</p:attrName>
                                          <p:attrName>ppt_y</p:attrName>
                                        </p:attrNameLst>
                                      </p:cBhvr>
                                      <p:rCtr x="-12305" y="23333"/>
                                    </p:animMotion>
                                  </p:childTnLst>
                                </p:cTn>
                              </p:par>
                              <p:par>
                                <p:cTn id="90" presetID="10" presetClass="exit" presetSubtype="0" fill="hold" grpId="1" nodeType="withEffect">
                                  <p:stCondLst>
                                    <p:cond delay="1500"/>
                                  </p:stCondLst>
                                  <p:childTnLst>
                                    <p:animEffect transition="out" filter="fade">
                                      <p:cBhvr>
                                        <p:cTn id="91" dur="500"/>
                                        <p:tgtEl>
                                          <p:spTgt spid="153"/>
                                        </p:tgtEl>
                                      </p:cBhvr>
                                    </p:animEffect>
                                    <p:set>
                                      <p:cBhvr>
                                        <p:cTn id="92" dur="1" fill="hold">
                                          <p:stCondLst>
                                            <p:cond delay="499"/>
                                          </p:stCondLst>
                                        </p:cTn>
                                        <p:tgtEl>
                                          <p:spTgt spid="153"/>
                                        </p:tgtEl>
                                        <p:attrNameLst>
                                          <p:attrName>style.visibility</p:attrName>
                                        </p:attrNameLst>
                                      </p:cBhvr>
                                      <p:to>
                                        <p:strVal val="hidden"/>
                                      </p:to>
                                    </p:se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4">
                                            <p:txEl>
                                              <p:pRg st="4" end="4"/>
                                            </p:txEl>
                                          </p:spTgt>
                                        </p:tgtEl>
                                        <p:attrNameLst>
                                          <p:attrName>style.visibility</p:attrName>
                                        </p:attrNameLst>
                                      </p:cBhvr>
                                      <p:to>
                                        <p:strVal val="visible"/>
                                      </p:to>
                                    </p:set>
                                    <p:animEffect transition="in" filter="fade">
                                      <p:cBhvr>
                                        <p:cTn id="97" dur="500"/>
                                        <p:tgtEl>
                                          <p:spTgt spid="4">
                                            <p:txEl>
                                              <p:pRg st="4" end="4"/>
                                            </p:tx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4">
                                            <p:txEl>
                                              <p:pRg st="5" end="5"/>
                                            </p:txEl>
                                          </p:spTgt>
                                        </p:tgtEl>
                                        <p:attrNameLst>
                                          <p:attrName>style.visibility</p:attrName>
                                        </p:attrNameLst>
                                      </p:cBhvr>
                                      <p:to>
                                        <p:strVal val="visible"/>
                                      </p:to>
                                    </p:set>
                                    <p:animEffect transition="in" filter="fade">
                                      <p:cBhvr>
                                        <p:cTn id="102" dur="500"/>
                                        <p:tgtEl>
                                          <p:spTgt spid="4">
                                            <p:txEl>
                                              <p:pRg st="5" end="5"/>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83"/>
                                        </p:tgtEl>
                                        <p:attrNameLst>
                                          <p:attrName>style.visibility</p:attrName>
                                        </p:attrNameLst>
                                      </p:cBhvr>
                                      <p:to>
                                        <p:strVal val="visible"/>
                                      </p:to>
                                    </p:set>
                                    <p:animEffect transition="in" filter="fade">
                                      <p:cBhvr>
                                        <p:cTn id="105" dur="500"/>
                                        <p:tgtEl>
                                          <p:spTgt spid="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96"/>
                                        </p:tgtEl>
                                        <p:attrNameLst>
                                          <p:attrName>style.visibility</p:attrName>
                                        </p:attrNameLst>
                                      </p:cBhvr>
                                      <p:to>
                                        <p:strVal val="visible"/>
                                      </p:to>
                                    </p:set>
                                    <p:animEffect transition="in" filter="fade">
                                      <p:cBhvr>
                                        <p:cTn id="108" dur="500"/>
                                        <p:tgtEl>
                                          <p:spTgt spid="96"/>
                                        </p:tgtEl>
                                      </p:cBhvr>
                                    </p:animEffect>
                                  </p:childTnLst>
                                </p:cTn>
                              </p:par>
                              <p:par>
                                <p:cTn id="109" presetID="10" presetClass="exit" presetSubtype="0" fill="hold" grpId="0" nodeType="withEffect">
                                  <p:stCondLst>
                                    <p:cond delay="0"/>
                                  </p:stCondLst>
                                  <p:childTnLst>
                                    <p:animEffect transition="out" filter="fade">
                                      <p:cBhvr>
                                        <p:cTn id="110" dur="500"/>
                                        <p:tgtEl>
                                          <p:spTgt spid="103"/>
                                        </p:tgtEl>
                                      </p:cBhvr>
                                    </p:animEffect>
                                    <p:set>
                                      <p:cBhvr>
                                        <p:cTn id="111" dur="1" fill="hold">
                                          <p:stCondLst>
                                            <p:cond delay="499"/>
                                          </p:stCondLst>
                                        </p:cTn>
                                        <p:tgtEl>
                                          <p:spTgt spid="103"/>
                                        </p:tgtEl>
                                        <p:attrNameLst>
                                          <p:attrName>style.visibility</p:attrName>
                                        </p:attrNameLst>
                                      </p:cBhvr>
                                      <p:to>
                                        <p:strVal val="hidden"/>
                                      </p:to>
                                    </p:set>
                                  </p:childTnLst>
                                </p:cTn>
                              </p:par>
                              <p:par>
                                <p:cTn id="112" presetID="10" presetClass="entr" presetSubtype="0" fill="hold" grpId="0" nodeType="withEffect">
                                  <p:stCondLst>
                                    <p:cond delay="0"/>
                                  </p:stCondLst>
                                  <p:childTnLst>
                                    <p:set>
                                      <p:cBhvr>
                                        <p:cTn id="113" dur="1" fill="hold">
                                          <p:stCondLst>
                                            <p:cond delay="0"/>
                                          </p:stCondLst>
                                        </p:cTn>
                                        <p:tgtEl>
                                          <p:spTgt spid="97"/>
                                        </p:tgtEl>
                                        <p:attrNameLst>
                                          <p:attrName>style.visibility</p:attrName>
                                        </p:attrNameLst>
                                      </p:cBhvr>
                                      <p:to>
                                        <p:strVal val="visible"/>
                                      </p:to>
                                    </p:set>
                                    <p:animEffect transition="in" filter="fade">
                                      <p:cBhvr>
                                        <p:cTn id="114"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103" grpId="0" animBg="1"/>
      <p:bldP spid="119" grpId="0" animBg="1"/>
      <p:bldP spid="119" grpId="1" animBg="1"/>
      <p:bldP spid="137" grpId="0" animBg="1"/>
      <p:bldP spid="96" grpId="0" animBg="1"/>
      <p:bldP spid="145" grpId="0" animBg="1"/>
      <p:bldP spid="145" grpId="1" animBg="1"/>
      <p:bldP spid="150" grpId="0" animBg="1"/>
      <p:bldP spid="150" grpId="1" animBg="1"/>
      <p:bldP spid="151" grpId="0" animBg="1"/>
      <p:bldP spid="151" grpId="1" animBg="1"/>
      <p:bldP spid="153" grpId="0" animBg="1"/>
      <p:bldP spid="153" grpId="1" animBg="1"/>
      <p:bldP spid="146" grpId="0" animBg="1"/>
      <p:bldP spid="146" grpId="1" animBg="1"/>
      <p:bldP spid="157" grpId="0" animBg="1"/>
      <p:bldP spid="157"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482" y="1212850"/>
            <a:ext cx="11885514" cy="5970905"/>
          </a:xfrm>
        </p:spPr>
        <p:txBody>
          <a:bodyPr/>
          <a:lstStyle/>
          <a:p>
            <a:pPr>
              <a:buFont typeface="Arial" panose="020B0604020202020204" pitchFamily="34" charset="0"/>
              <a:buChar char="•"/>
            </a:pPr>
            <a:r>
              <a:rPr lang="en-US" sz="2856" dirty="0">
                <a:solidFill>
                  <a:schemeClr val="tx1"/>
                </a:solidFill>
              </a:rPr>
              <a:t>DDL changes to the DW have to be applied to both systems.</a:t>
            </a:r>
          </a:p>
          <a:p>
            <a:pPr>
              <a:buFont typeface="Arial" panose="020B0604020202020204" pitchFamily="34" charset="0"/>
              <a:buChar char="•"/>
            </a:pPr>
            <a:r>
              <a:rPr lang="en-US" sz="2856" dirty="0">
                <a:solidFill>
                  <a:schemeClr val="tx1"/>
                </a:solidFill>
              </a:rPr>
              <a:t>Security changes need to be kept in sync.</a:t>
            </a:r>
          </a:p>
          <a:p>
            <a:pPr>
              <a:buFont typeface="Arial" panose="020B0604020202020204" pitchFamily="34" charset="0"/>
              <a:buChar char="•"/>
            </a:pPr>
            <a:r>
              <a:rPr lang="en-US" sz="2856" dirty="0">
                <a:solidFill>
                  <a:schemeClr val="tx1"/>
                </a:solidFill>
              </a:rPr>
              <a:t>ETL/ELT process should be written so that both systems can use the same process.</a:t>
            </a:r>
          </a:p>
          <a:p>
            <a:pPr>
              <a:buFont typeface="Arial" panose="020B0604020202020204" pitchFamily="34" charset="0"/>
              <a:buChar char="•"/>
            </a:pPr>
            <a:r>
              <a:rPr lang="en-US" sz="2856" dirty="0">
                <a:solidFill>
                  <a:schemeClr val="tx1"/>
                </a:solidFill>
              </a:rPr>
              <a:t>Azure Geo replication can be used to make the storage redundant across regions for DR.</a:t>
            </a:r>
          </a:p>
          <a:p>
            <a:pPr>
              <a:buFont typeface="Arial" panose="020B0604020202020204" pitchFamily="34" charset="0"/>
              <a:buChar char="•"/>
            </a:pPr>
            <a:r>
              <a:rPr lang="en-US" sz="2856" dirty="0">
                <a:solidFill>
                  <a:schemeClr val="tx1"/>
                </a:solidFill>
              </a:rPr>
              <a:t>All systems that interface with the DW must be redundant for this to be considered a true DR solution.  Data without reports do little good.  Offline sources provide no data.</a:t>
            </a:r>
          </a:p>
          <a:p>
            <a:pPr>
              <a:buFont typeface="Arial" panose="020B0604020202020204" pitchFamily="34" charset="0"/>
              <a:buChar char="•"/>
            </a:pPr>
            <a:r>
              <a:rPr lang="en-US" sz="2856" dirty="0">
                <a:solidFill>
                  <a:schemeClr val="tx1"/>
                </a:solidFill>
              </a:rPr>
              <a:t>If Tables from 2 different DB’s need to be joined, schema’s should be used to separate the table not different DB’s.  Cross DB joins is not available in Azure SQLDW.</a:t>
            </a:r>
          </a:p>
          <a:p>
            <a:pPr>
              <a:buFont typeface="Arial" panose="020B0604020202020204" pitchFamily="34" charset="0"/>
              <a:buChar char="•"/>
            </a:pPr>
            <a:endParaRPr lang="en-US" sz="2856" dirty="0">
              <a:solidFill>
                <a:schemeClr val="tx1"/>
              </a:solidFill>
            </a:endParaRPr>
          </a:p>
        </p:txBody>
      </p:sp>
      <p:sp>
        <p:nvSpPr>
          <p:cNvPr id="2" name="Title 1"/>
          <p:cNvSpPr>
            <a:spLocks noGrp="1"/>
          </p:cNvSpPr>
          <p:nvPr>
            <p:ph type="title"/>
          </p:nvPr>
        </p:nvSpPr>
        <p:spPr/>
        <p:txBody>
          <a:bodyPr/>
          <a:lstStyle/>
          <a:p>
            <a:r>
              <a:rPr lang="en-US" dirty="0">
                <a:solidFill>
                  <a:schemeClr val="tx1"/>
                </a:solidFill>
              </a:rPr>
              <a:t>Hybrid DR – Best Practices</a:t>
            </a:r>
            <a:endParaRPr lang="en-US" dirty="0"/>
          </a:p>
        </p:txBody>
      </p:sp>
    </p:spTree>
    <p:extLst>
      <p:ext uri="{BB962C8B-B14F-4D97-AF65-F5344CB8AC3E}">
        <p14:creationId xmlns:p14="http://schemas.microsoft.com/office/powerpoint/2010/main" val="217153484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5482" y="1212850"/>
            <a:ext cx="11885514" cy="7558992"/>
          </a:xfrm>
        </p:spPr>
        <p:txBody>
          <a:bodyPr/>
          <a:lstStyle/>
          <a:p>
            <a:pPr>
              <a:buFont typeface="Arial" panose="020B0604020202020204" pitchFamily="34" charset="0"/>
              <a:buChar char="•"/>
            </a:pPr>
            <a:r>
              <a:rPr lang="en-US" dirty="0">
                <a:solidFill>
                  <a:schemeClr val="tx1"/>
                </a:solidFill>
              </a:rPr>
              <a:t>Control DB – Start monitoring here.  Need process to determine if both systems are in sync.  If the Control DB is out of sync, there’s no need to validate any deeper for the given table/process</a:t>
            </a:r>
          </a:p>
          <a:p>
            <a:pPr>
              <a:buFont typeface="Arial" panose="020B0604020202020204" pitchFamily="34" charset="0"/>
              <a:buChar char="•"/>
            </a:pPr>
            <a:r>
              <a:rPr lang="en-US" dirty="0">
                <a:solidFill>
                  <a:schemeClr val="tx1"/>
                </a:solidFill>
              </a:rPr>
              <a:t>DDL/DML – ETL process should be stopped if the DML or DDL is different between the systems.</a:t>
            </a:r>
          </a:p>
          <a:p>
            <a:pPr>
              <a:buFont typeface="Arial" panose="020B0604020202020204" pitchFamily="34" charset="0"/>
              <a:buChar char="•"/>
            </a:pPr>
            <a:r>
              <a:rPr lang="en-US" dirty="0">
                <a:solidFill>
                  <a:schemeClr val="tx1"/>
                </a:solidFill>
              </a:rPr>
              <a:t>Data – Validation should be defined by the business.</a:t>
            </a:r>
          </a:p>
          <a:p>
            <a:pPr lvl="1">
              <a:buFont typeface="Arial" panose="020B0604020202020204" pitchFamily="34" charset="0"/>
              <a:buChar char="•"/>
            </a:pPr>
            <a:r>
              <a:rPr lang="en-US" dirty="0">
                <a:solidFill>
                  <a:schemeClr val="tx1"/>
                </a:solidFill>
              </a:rPr>
              <a:t>Summary</a:t>
            </a:r>
          </a:p>
          <a:p>
            <a:pPr lvl="1">
              <a:buFont typeface="Arial" panose="020B0604020202020204" pitchFamily="34" charset="0"/>
              <a:buChar char="•"/>
            </a:pPr>
            <a:r>
              <a:rPr lang="en-US" dirty="0">
                <a:solidFill>
                  <a:schemeClr val="tx1"/>
                </a:solidFill>
              </a:rPr>
              <a:t>Detail</a:t>
            </a:r>
          </a:p>
          <a:p>
            <a:pPr lvl="1">
              <a:buFont typeface="Arial" panose="020B0604020202020204" pitchFamily="34" charset="0"/>
              <a:buChar char="•"/>
            </a:pPr>
            <a:r>
              <a:rPr lang="en-US" dirty="0">
                <a:solidFill>
                  <a:schemeClr val="tx1"/>
                </a:solidFill>
              </a:rPr>
              <a:t>Row by row?  </a:t>
            </a:r>
          </a:p>
          <a:p>
            <a:pPr>
              <a:buFont typeface="Arial" panose="020B0604020202020204" pitchFamily="34" charset="0"/>
              <a:buChar char="•"/>
            </a:pPr>
            <a:endParaRPr lang="en-US" dirty="0">
              <a:solidFill>
                <a:schemeClr val="tx1"/>
              </a:solidFill>
            </a:endParaRPr>
          </a:p>
          <a:p>
            <a:pPr>
              <a:buFont typeface="Arial" panose="020B0604020202020204" pitchFamily="34" charset="0"/>
              <a:buChar char="•"/>
            </a:pPr>
            <a:endParaRPr lang="en-US" dirty="0">
              <a:solidFill>
                <a:schemeClr val="tx1"/>
              </a:solidFill>
            </a:endParaRPr>
          </a:p>
          <a:p>
            <a:pPr>
              <a:buFont typeface="Arial" panose="020B0604020202020204" pitchFamily="34" charset="0"/>
              <a:buChar char="•"/>
            </a:pPr>
            <a:endParaRPr lang="en-US" dirty="0">
              <a:solidFill>
                <a:schemeClr val="tx1"/>
              </a:solidFill>
            </a:endParaRPr>
          </a:p>
        </p:txBody>
      </p:sp>
      <p:sp>
        <p:nvSpPr>
          <p:cNvPr id="2" name="Title 1"/>
          <p:cNvSpPr>
            <a:spLocks noGrp="1"/>
          </p:cNvSpPr>
          <p:nvPr>
            <p:ph type="title"/>
          </p:nvPr>
        </p:nvSpPr>
        <p:spPr/>
        <p:txBody>
          <a:bodyPr/>
          <a:lstStyle/>
          <a:p>
            <a:r>
              <a:rPr lang="en-US" dirty="0">
                <a:solidFill>
                  <a:schemeClr val="tx1"/>
                </a:solidFill>
              </a:rPr>
              <a:t>Hybrid DR – Monitoring Considerations</a:t>
            </a:r>
            <a:endParaRPr lang="en-US" dirty="0"/>
          </a:p>
        </p:txBody>
      </p:sp>
    </p:spTree>
    <p:extLst>
      <p:ext uri="{BB962C8B-B14F-4D97-AF65-F5344CB8AC3E}">
        <p14:creationId xmlns:p14="http://schemas.microsoft.com/office/powerpoint/2010/main" val="199179712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ession Objectives And Takeaways</a:t>
            </a:r>
            <a:endParaRPr lang="en-US" dirty="0"/>
          </a:p>
        </p:txBody>
      </p:sp>
      <p:sp>
        <p:nvSpPr>
          <p:cNvPr id="5" name="Text Placeholder 4"/>
          <p:cNvSpPr>
            <a:spLocks noGrp="1"/>
          </p:cNvSpPr>
          <p:nvPr>
            <p:ph type="body" sz="quarter" idx="11"/>
          </p:nvPr>
        </p:nvSpPr>
        <p:spPr>
          <a:xfrm>
            <a:off x="274639" y="1212849"/>
            <a:ext cx="11889564" cy="4001095"/>
          </a:xfrm>
        </p:spPr>
        <p:txBody>
          <a:bodyPr/>
          <a:lstStyle/>
          <a:p>
            <a:r>
              <a:rPr lang="en-US" dirty="0"/>
              <a:t>Session Objective(s): </a:t>
            </a:r>
          </a:p>
          <a:p>
            <a:pPr marL="371475" lvl="1" indent="-342900">
              <a:buFont typeface="Arial" panose="020B0604020202020204" pitchFamily="34" charset="0"/>
              <a:buChar char="•"/>
            </a:pPr>
            <a:r>
              <a:rPr lang="en-US" sz="2800" dirty="0"/>
              <a:t>Gain an understanding about the differences between the APS and SQLDW architectures.</a:t>
            </a:r>
          </a:p>
          <a:p>
            <a:pPr marL="371475" lvl="1" indent="-342900">
              <a:buFont typeface="Arial" panose="020B0604020202020204" pitchFamily="34" charset="0"/>
              <a:buChar char="•"/>
            </a:pPr>
            <a:r>
              <a:rPr lang="en-US" sz="2800" dirty="0"/>
              <a:t>Ability to discuss how a customer can utilize SQLDW as a solution to their Hybrid DW and DR needs. </a:t>
            </a:r>
          </a:p>
          <a:p>
            <a:pPr marL="371475" lvl="1" indent="-342900">
              <a:buFont typeface="Arial" panose="020B0604020202020204" pitchFamily="34" charset="0"/>
              <a:buChar char="•"/>
            </a:pPr>
            <a:r>
              <a:rPr lang="en-US" sz="2800" dirty="0"/>
              <a:t>Adapt/Customize reference architecture\framework to implement DR between APS and SQLDW.</a:t>
            </a:r>
          </a:p>
          <a:p>
            <a:endParaRPr lang="en-US" dirty="0"/>
          </a:p>
        </p:txBody>
      </p:sp>
    </p:spTree>
    <p:extLst>
      <p:ext uri="{BB962C8B-B14F-4D97-AF65-F5344CB8AC3E}">
        <p14:creationId xmlns:p14="http://schemas.microsoft.com/office/powerpoint/2010/main" val="41916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Text Placeholder 2"/>
          <p:cNvSpPr>
            <a:spLocks noGrp="1"/>
          </p:cNvSpPr>
          <p:nvPr>
            <p:ph type="body" sz="quarter" idx="11"/>
          </p:nvPr>
        </p:nvSpPr>
        <p:spPr>
          <a:xfrm>
            <a:off x="274639" y="1212849"/>
            <a:ext cx="11889564" cy="4801314"/>
          </a:xfrm>
        </p:spPr>
        <p:txBody>
          <a:bodyPr/>
          <a:lstStyle/>
          <a:p>
            <a:endParaRPr lang="en-US" dirty="0">
              <a:hlinkClick r:id="rId3"/>
            </a:endParaRPr>
          </a:p>
          <a:p>
            <a:r>
              <a:rPr lang="en-US" dirty="0">
                <a:hlinkClick r:id="rId3"/>
              </a:rPr>
              <a:t>https://github.com/aisley/Hybrid_DR_APS_SQLDW</a:t>
            </a:r>
            <a:endParaRPr lang="en-US" dirty="0"/>
          </a:p>
          <a:p>
            <a:endParaRPr lang="en-US" dirty="0"/>
          </a:p>
          <a:p>
            <a:r>
              <a:rPr lang="en-US" dirty="0"/>
              <a:t>Email: </a:t>
            </a:r>
          </a:p>
          <a:p>
            <a:r>
              <a:rPr lang="en-US" dirty="0"/>
              <a:t>	Andy Isley - </a:t>
            </a:r>
            <a:r>
              <a:rPr lang="en-US" dirty="0">
                <a:hlinkClick r:id="rId4"/>
              </a:rPr>
              <a:t>charis@Microsoft.com</a:t>
            </a:r>
            <a:endParaRPr lang="en-US" dirty="0"/>
          </a:p>
          <a:p>
            <a:r>
              <a:rPr lang="en-US" dirty="0"/>
              <a:t>	Paul Emond – </a:t>
            </a:r>
            <a:r>
              <a:rPr lang="en-US" dirty="0">
                <a:hlinkClick r:id="rId5"/>
              </a:rPr>
              <a:t>pemond@Microsoft.com</a:t>
            </a:r>
            <a:endParaRPr lang="en-US" dirty="0"/>
          </a:p>
          <a:p>
            <a:endParaRPr lang="en-US" dirty="0"/>
          </a:p>
        </p:txBody>
      </p:sp>
    </p:spTree>
    <p:extLst>
      <p:ext uri="{BB962C8B-B14F-4D97-AF65-F5344CB8AC3E}">
        <p14:creationId xmlns:p14="http://schemas.microsoft.com/office/powerpoint/2010/main" val="54781699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sources and Related Content</a:t>
            </a:r>
          </a:p>
        </p:txBody>
      </p:sp>
      <p:sp>
        <p:nvSpPr>
          <p:cNvPr id="6" name="Text Placeholder 5"/>
          <p:cNvSpPr>
            <a:spLocks noGrp="1"/>
          </p:cNvSpPr>
          <p:nvPr>
            <p:ph type="body" sz="quarter" idx="11"/>
          </p:nvPr>
        </p:nvSpPr>
        <p:spPr>
          <a:xfrm>
            <a:off x="275481" y="1212849"/>
            <a:ext cx="11887878" cy="1934184"/>
          </a:xfrm>
        </p:spPr>
        <p:txBody>
          <a:bodyPr/>
          <a:lstStyle/>
          <a:p>
            <a:pPr>
              <a:spcBef>
                <a:spcPts val="0"/>
              </a:spcBef>
            </a:pPr>
            <a:r>
              <a:rPr lang="en-GB" sz="2856" dirty="0">
                <a:latin typeface="Calibri" panose="020F0502020204030204" pitchFamily="34" charset="0"/>
                <a:ea typeface="Calibri" panose="020F0502020204030204" pitchFamily="34" charset="0"/>
                <a:cs typeface="Times New Roman" panose="02020603050405020304" pitchFamily="18" charset="0"/>
              </a:rPr>
              <a:t>Data Warehousing </a:t>
            </a:r>
            <a:r>
              <a:rPr lang="en-GB" sz="2856" dirty="0" err="1">
                <a:latin typeface="Calibri" panose="020F0502020204030204" pitchFamily="34" charset="0"/>
                <a:ea typeface="Calibri" panose="020F0502020204030204" pitchFamily="34" charset="0"/>
                <a:cs typeface="Times New Roman" panose="02020603050405020304" pitchFamily="18" charset="0"/>
              </a:rPr>
              <a:t>Infopedia</a:t>
            </a:r>
            <a:r>
              <a:rPr lang="en-GB" sz="2856" dirty="0">
                <a:latin typeface="Calibri" panose="020F0502020204030204" pitchFamily="34" charset="0"/>
                <a:ea typeface="Calibri" panose="020F0502020204030204" pitchFamily="34" charset="0"/>
                <a:cs typeface="Times New Roman" panose="02020603050405020304" pitchFamily="18" charset="0"/>
              </a:rPr>
              <a:t> Site - </a:t>
            </a:r>
            <a:r>
              <a:rPr lang="en-GB" sz="2448" u="sng" dirty="0">
                <a:solidFill>
                  <a:schemeClr val="tx1"/>
                </a:solidFill>
                <a:hlinkClick r:id="rId3"/>
              </a:rPr>
              <a:t>http://infopedia/SMSG/Pages/MDWHadoop.aspx</a:t>
            </a:r>
            <a:endParaRPr lang="en-US" sz="2856" dirty="0"/>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352065134"/>
              </p:ext>
            </p:extLst>
          </p:nvPr>
        </p:nvGraphicFramePr>
        <p:xfrm>
          <a:off x="571416" y="2496410"/>
          <a:ext cx="10166310" cy="2568248"/>
        </p:xfrm>
        <a:graphic>
          <a:graphicData uri="http://schemas.openxmlformats.org/drawingml/2006/table">
            <a:tbl>
              <a:tblPr/>
              <a:tblGrid>
                <a:gridCol w="675640">
                  <a:extLst>
                    <a:ext uri="{9D8B030D-6E8A-4147-A177-3AD203B41FA5}">
                      <a16:colId xmlns:a16="http://schemas.microsoft.com/office/drawing/2014/main" val="1258682182"/>
                    </a:ext>
                  </a:extLst>
                </a:gridCol>
                <a:gridCol w="4934409">
                  <a:extLst>
                    <a:ext uri="{9D8B030D-6E8A-4147-A177-3AD203B41FA5}">
                      <a16:colId xmlns:a16="http://schemas.microsoft.com/office/drawing/2014/main" val="3014613551"/>
                    </a:ext>
                  </a:extLst>
                </a:gridCol>
                <a:gridCol w="2710036">
                  <a:extLst>
                    <a:ext uri="{9D8B030D-6E8A-4147-A177-3AD203B41FA5}">
                      <a16:colId xmlns:a16="http://schemas.microsoft.com/office/drawing/2014/main" val="180561320"/>
                    </a:ext>
                  </a:extLst>
                </a:gridCol>
                <a:gridCol w="1846225">
                  <a:extLst>
                    <a:ext uri="{9D8B030D-6E8A-4147-A177-3AD203B41FA5}">
                      <a16:colId xmlns:a16="http://schemas.microsoft.com/office/drawing/2014/main" val="2590123607"/>
                    </a:ext>
                  </a:extLst>
                </a:gridCol>
              </a:tblGrid>
              <a:tr h="278486">
                <a:tc>
                  <a:txBody>
                    <a:bodyPr/>
                    <a:lstStyle/>
                    <a:p>
                      <a:pPr algn="l" fontAlgn="t"/>
                      <a:r>
                        <a:rPr lang="en-US" sz="1100" b="1" i="0" u="none" strike="noStrike">
                          <a:solidFill>
                            <a:srgbClr val="FFFFFF"/>
                          </a:solidFill>
                          <a:effectLst/>
                          <a:latin typeface="Arial" panose="020B0604020202020204" pitchFamily="34" charset="0"/>
                        </a:rPr>
                        <a:t>Code</a:t>
                      </a:r>
                    </a:p>
                  </a:txBody>
                  <a:tcPr marL="4285" marR="4285" marT="42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8B"/>
                    </a:solidFill>
                  </a:tcPr>
                </a:tc>
                <a:tc>
                  <a:txBody>
                    <a:bodyPr/>
                    <a:lstStyle/>
                    <a:p>
                      <a:pPr algn="l" fontAlgn="t"/>
                      <a:r>
                        <a:rPr lang="en-US" sz="1100" b="1" i="0" u="none" strike="noStrike" dirty="0">
                          <a:solidFill>
                            <a:srgbClr val="FFFFFF"/>
                          </a:solidFill>
                          <a:effectLst/>
                          <a:latin typeface="Arial" panose="020B0604020202020204" pitchFamily="34" charset="0"/>
                        </a:rPr>
                        <a:t>Title</a:t>
                      </a:r>
                    </a:p>
                  </a:txBody>
                  <a:tcPr marL="4285" marR="4285" marT="42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8B"/>
                    </a:solidFill>
                  </a:tcPr>
                </a:tc>
                <a:tc>
                  <a:txBody>
                    <a:bodyPr/>
                    <a:lstStyle/>
                    <a:p>
                      <a:pPr algn="l" fontAlgn="t"/>
                      <a:r>
                        <a:rPr lang="en-US" sz="1100" b="1" i="0" u="none" strike="noStrike" dirty="0">
                          <a:solidFill>
                            <a:srgbClr val="FFFFFF"/>
                          </a:solidFill>
                          <a:effectLst/>
                          <a:latin typeface="Arial" panose="020B0604020202020204" pitchFamily="34" charset="0"/>
                        </a:rPr>
                        <a:t>Primary Speaker/s</a:t>
                      </a:r>
                    </a:p>
                  </a:txBody>
                  <a:tcPr marL="4285" marR="4285" marT="42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8B"/>
                    </a:solidFill>
                  </a:tcPr>
                </a:tc>
                <a:tc>
                  <a:txBody>
                    <a:bodyPr/>
                    <a:lstStyle/>
                    <a:p>
                      <a:pPr algn="l" fontAlgn="t"/>
                      <a:r>
                        <a:rPr lang="en-US" sz="1100" b="1" i="0" u="none" strike="noStrike" dirty="0">
                          <a:solidFill>
                            <a:srgbClr val="FFFFFF"/>
                          </a:solidFill>
                          <a:effectLst/>
                          <a:latin typeface="Arial" panose="020B0604020202020204" pitchFamily="34" charset="0"/>
                        </a:rPr>
                        <a:t>Timeslot</a:t>
                      </a:r>
                    </a:p>
                  </a:txBody>
                  <a:tcPr marL="4285" marR="4285" marT="42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8B"/>
                    </a:solidFill>
                  </a:tcPr>
                </a:tc>
                <a:extLst>
                  <a:ext uri="{0D108BD9-81ED-4DB2-BD59-A6C34878D82A}">
                    <a16:rowId xmlns:a16="http://schemas.microsoft.com/office/drawing/2014/main" val="4149331880"/>
                  </a:ext>
                </a:extLst>
              </a:tr>
              <a:tr h="278486">
                <a:tc>
                  <a:txBody>
                    <a:bodyPr/>
                    <a:lstStyle/>
                    <a:p>
                      <a:pPr algn="l" fontAlgn="b"/>
                      <a:r>
                        <a:rPr lang="en-US" sz="1100" b="0" i="0" u="none" strike="noStrike">
                          <a:effectLst/>
                          <a:latin typeface="Arial" panose="020B0604020202020204" pitchFamily="34" charset="0"/>
                        </a:rPr>
                        <a:t>DP321</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err="1">
                          <a:effectLst/>
                          <a:latin typeface="Arial" panose="020B0604020202020204" pitchFamily="34" charset="0"/>
                        </a:rPr>
                        <a:t>PolyBase</a:t>
                      </a:r>
                      <a:r>
                        <a:rPr lang="en-US" sz="1100" b="0" i="0" u="none" strike="noStrike" dirty="0">
                          <a:effectLst/>
                          <a:latin typeface="Arial" panose="020B0604020202020204" pitchFamily="34" charset="0"/>
                        </a:rPr>
                        <a:t> across the Enterprise</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Casey Karst; Sahaj Saini</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2/1/2016 10:30-11:45</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0198031"/>
                  </a:ext>
                </a:extLst>
              </a:tr>
              <a:tr h="346239">
                <a:tc>
                  <a:txBody>
                    <a:bodyPr/>
                    <a:lstStyle/>
                    <a:p>
                      <a:pPr algn="l" fontAlgn="b"/>
                      <a:r>
                        <a:rPr lang="en-US" sz="1100" b="0" i="0" u="none" strike="noStrike">
                          <a:effectLst/>
                          <a:latin typeface="Arial" panose="020B0604020202020204" pitchFamily="34" charset="0"/>
                        </a:rPr>
                        <a:t>DP203</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Learn about exciting future opportunities with Microsoft's </a:t>
                      </a:r>
                      <a:r>
                        <a:rPr lang="en-US" sz="1100" b="0" i="0" u="none" strike="noStrike" dirty="0" err="1">
                          <a:effectLst/>
                          <a:latin typeface="Arial" panose="020B0604020202020204" pitchFamily="34" charset="0"/>
                        </a:rPr>
                        <a:t>on-premise</a:t>
                      </a:r>
                      <a:r>
                        <a:rPr lang="en-US" sz="1100" b="0" i="0" u="none" strike="noStrike" dirty="0">
                          <a:effectLst/>
                          <a:latin typeface="Arial" panose="020B0604020202020204" pitchFamily="34" charset="0"/>
                        </a:rPr>
                        <a:t> Data Warehousing</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Nicolle  Whitman</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2/1/2016 13:15-14:30</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1810511"/>
                  </a:ext>
                </a:extLst>
              </a:tr>
              <a:tr h="346239">
                <a:tc>
                  <a:txBody>
                    <a:bodyPr/>
                    <a:lstStyle/>
                    <a:p>
                      <a:pPr algn="l" fontAlgn="b"/>
                      <a:r>
                        <a:rPr lang="en-US" sz="1100" b="0" i="0" u="none" strike="noStrike">
                          <a:effectLst/>
                          <a:latin typeface="Arial" panose="020B0604020202020204" pitchFamily="34" charset="0"/>
                        </a:rPr>
                        <a:t>DP319</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COE: Creating a Hybrid DW\DR solution between APS and Azure SQL Data Warehouse</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Andy Isley; Paul Emond</a:t>
                      </a:r>
                    </a:p>
                    <a:p>
                      <a:pPr algn="l" fontAlgn="b"/>
                      <a:endParaRPr lang="en-US" sz="1100" b="0" i="0" u="none" strike="noStrike" dirty="0">
                        <a:effectLst/>
                        <a:latin typeface="Arial" panose="020B0604020202020204" pitchFamily="34" charset="0"/>
                      </a:endParaRP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2/1/2016 16:45-18:00</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0012181"/>
                  </a:ext>
                </a:extLst>
              </a:tr>
              <a:tr h="415587">
                <a:tc>
                  <a:txBody>
                    <a:bodyPr/>
                    <a:lstStyle/>
                    <a:p>
                      <a:pPr algn="l" fontAlgn="b"/>
                      <a:r>
                        <a:rPr lang="en-US" sz="1100" b="0" i="0" u="none" strike="noStrike">
                          <a:effectLst/>
                          <a:latin typeface="Arial" panose="020B0604020202020204" pitchFamily="34" charset="0"/>
                        </a:rPr>
                        <a:t>DPCT306</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Azure SQL Data Warehouse – Lessons learned from the trenches</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i-FI" sz="1100" b="0" i="0" u="none" strike="noStrike">
                          <a:effectLst/>
                          <a:latin typeface="Arial" panose="020B0604020202020204" pitchFamily="34" charset="0"/>
                        </a:rPr>
                        <a:t>Drew DiPalma; Sahaj Saini; Sonya  Marshall</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2/3/2016 10:30-11:45</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207078"/>
                  </a:ext>
                </a:extLst>
              </a:tr>
              <a:tr h="347036">
                <a:tc>
                  <a:txBody>
                    <a:bodyPr/>
                    <a:lstStyle/>
                    <a:p>
                      <a:pPr algn="l" fontAlgn="b"/>
                      <a:r>
                        <a:rPr lang="en-US" sz="1100" b="0" i="0" u="none" strike="noStrike">
                          <a:effectLst/>
                          <a:latin typeface="Arial" panose="020B0604020202020204" pitchFamily="34" charset="0"/>
                        </a:rPr>
                        <a:t>DPCT305</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DIGP: Flying high!  An end-to-end cloud BI and Data Warehouse migration case study from a major airline in the Middle East</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Carla Staeben; Wagdy Ishac</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2/3/2016 16:15-17:30</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09986628"/>
                  </a:ext>
                </a:extLst>
              </a:tr>
              <a:tr h="209936">
                <a:tc>
                  <a:txBody>
                    <a:bodyPr/>
                    <a:lstStyle/>
                    <a:p>
                      <a:pPr algn="l" fontAlgn="b"/>
                      <a:r>
                        <a:rPr lang="en-US" sz="1100" b="0" i="0" u="none" strike="noStrike">
                          <a:effectLst/>
                          <a:latin typeface="Arial" panose="020B0604020202020204" pitchFamily="34" charset="0"/>
                        </a:rPr>
                        <a:t>DP318</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Arial" panose="020B0604020202020204" pitchFamily="34" charset="0"/>
                        </a:rPr>
                        <a:t>Ten steps to a successful Azure SQL Data Warehouse migration</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Drew DiPalma</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2/5/2016 13:00-14:15</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88591543"/>
                  </a:ext>
                </a:extLst>
              </a:tr>
              <a:tr h="346239">
                <a:tc>
                  <a:txBody>
                    <a:bodyPr/>
                    <a:lstStyle/>
                    <a:p>
                      <a:pPr algn="l" fontAlgn="b"/>
                      <a:r>
                        <a:rPr lang="en-US" sz="1100" b="0" i="0" u="none" strike="noStrike" dirty="0">
                          <a:effectLst/>
                          <a:latin typeface="Arial" panose="020B0604020202020204" pitchFamily="34" charset="0"/>
                        </a:rPr>
                        <a:t>DP320</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No rocket science required: Mastering data warehouse performance tuning and troubleshooting</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Sonya  Marshall</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Arial" panose="020B0604020202020204" pitchFamily="34" charset="0"/>
                        </a:rPr>
                        <a:t>2/5/2016 14:45-16:00</a:t>
                      </a:r>
                    </a:p>
                  </a:txBody>
                  <a:tcPr marL="4285" marR="4285" marT="4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8881536"/>
                  </a:ext>
                </a:extLst>
              </a:tr>
            </a:tbl>
          </a:graphicData>
        </a:graphic>
      </p:graphicFrame>
    </p:spTree>
    <p:extLst>
      <p:ext uri="{BB962C8B-B14F-4D97-AF65-F5344CB8AC3E}">
        <p14:creationId xmlns:p14="http://schemas.microsoft.com/office/powerpoint/2010/main" val="339061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4096685"/>
            <a:ext cx="12436475" cy="1554463"/>
          </a:xfrm>
          <a:prstGeom prst="rect">
            <a:avLst/>
          </a:prstGeom>
          <a:solidFill>
            <a:schemeClr val="accent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0" tIns="46637" rIns="914400" bIns="46637" numCol="1" rtlCol="0" anchor="ctr" anchorCtr="0" compatLnSpc="1">
            <a:prstTxWarp prst="textNoShape">
              <a:avLst/>
            </a:prstTxWarp>
          </a:bodyPr>
          <a:lstStyle/>
          <a:p>
            <a:pPr defTabSz="932472" fontAlgn="base">
              <a:spcBef>
                <a:spcPct val="0"/>
              </a:spcBef>
              <a:spcAft>
                <a:spcPct val="0"/>
              </a:spcAft>
            </a:pPr>
            <a:r>
              <a:rPr lang="en-US" sz="3200" dirty="0">
                <a:gradFill>
                  <a:gsLst>
                    <a:gs pos="0">
                      <a:srgbClr val="FFFFFF"/>
                    </a:gs>
                    <a:gs pos="100000">
                      <a:srgbClr val="FFFFFF"/>
                    </a:gs>
                  </a:gsLst>
                  <a:lin ang="5400000" scaled="0"/>
                </a:gradFill>
                <a:latin typeface="+mj-lt"/>
              </a:rPr>
              <a:t>If you have questions please proceed to the </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rPr>
              <a:t>Q&amp;A MICROPHONE </a:t>
            </a:r>
            <a:r>
              <a:rPr lang="en-US" sz="3200" dirty="0">
                <a:gradFill>
                  <a:gsLst>
                    <a:gs pos="0">
                      <a:srgbClr val="FFFFFF"/>
                    </a:gs>
                    <a:gs pos="100000">
                      <a:srgbClr val="FFFFFF"/>
                    </a:gs>
                  </a:gsLst>
                  <a:lin ang="5400000" scaled="0"/>
                </a:gradFill>
                <a:latin typeface="+mj-lt"/>
              </a:rPr>
              <a:t>located in your session room.</a:t>
            </a:r>
          </a:p>
        </p:txBody>
      </p:sp>
      <p:sp>
        <p:nvSpPr>
          <p:cNvPr id="6" name="Oval 5"/>
          <p:cNvSpPr/>
          <p:nvPr/>
        </p:nvSpPr>
        <p:spPr bwMode="auto">
          <a:xfrm>
            <a:off x="274638" y="3824592"/>
            <a:ext cx="2076450" cy="2076450"/>
          </a:xfrm>
          <a:prstGeom prst="ellipse">
            <a:avLst/>
          </a:prstGeom>
          <a:solidFill>
            <a:schemeClr val="tx1"/>
          </a:solidFill>
          <a:ln w="76200">
            <a:solidFill>
              <a:schemeClr val="accent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Freeform 5"/>
          <p:cNvSpPr>
            <a:spLocks noEditPoints="1"/>
          </p:cNvSpPr>
          <p:nvPr/>
        </p:nvSpPr>
        <p:spPr bwMode="auto">
          <a:xfrm>
            <a:off x="908051" y="4204005"/>
            <a:ext cx="809625" cy="1317625"/>
          </a:xfrm>
          <a:custGeom>
            <a:avLst/>
            <a:gdLst>
              <a:gd name="T0" fmla="*/ 106 w 213"/>
              <a:gd name="T1" fmla="*/ 224 h 348"/>
              <a:gd name="T2" fmla="*/ 159 w 213"/>
              <a:gd name="T3" fmla="*/ 171 h 348"/>
              <a:gd name="T4" fmla="*/ 159 w 213"/>
              <a:gd name="T5" fmla="*/ 53 h 348"/>
              <a:gd name="T6" fmla="*/ 106 w 213"/>
              <a:gd name="T7" fmla="*/ 0 h 348"/>
              <a:gd name="T8" fmla="*/ 54 w 213"/>
              <a:gd name="T9" fmla="*/ 53 h 348"/>
              <a:gd name="T10" fmla="*/ 54 w 213"/>
              <a:gd name="T11" fmla="*/ 171 h 348"/>
              <a:gd name="T12" fmla="*/ 106 w 213"/>
              <a:gd name="T13" fmla="*/ 224 h 348"/>
              <a:gd name="T14" fmla="*/ 78 w 213"/>
              <a:gd name="T15" fmla="*/ 53 h 348"/>
              <a:gd name="T16" fmla="*/ 106 w 213"/>
              <a:gd name="T17" fmla="*/ 24 h 348"/>
              <a:gd name="T18" fmla="*/ 135 w 213"/>
              <a:gd name="T19" fmla="*/ 53 h 348"/>
              <a:gd name="T20" fmla="*/ 135 w 213"/>
              <a:gd name="T21" fmla="*/ 171 h 348"/>
              <a:gd name="T22" fmla="*/ 106 w 213"/>
              <a:gd name="T23" fmla="*/ 200 h 348"/>
              <a:gd name="T24" fmla="*/ 78 w 213"/>
              <a:gd name="T25" fmla="*/ 171 h 348"/>
              <a:gd name="T26" fmla="*/ 78 w 213"/>
              <a:gd name="T27" fmla="*/ 53 h 348"/>
              <a:gd name="T28" fmla="*/ 213 w 213"/>
              <a:gd name="T29" fmla="*/ 137 h 348"/>
              <a:gd name="T30" fmla="*/ 213 w 213"/>
              <a:gd name="T31" fmla="*/ 182 h 348"/>
              <a:gd name="T32" fmla="*/ 124 w 213"/>
              <a:gd name="T33" fmla="*/ 277 h 348"/>
              <a:gd name="T34" fmla="*/ 124 w 213"/>
              <a:gd name="T35" fmla="*/ 313 h 348"/>
              <a:gd name="T36" fmla="*/ 177 w 213"/>
              <a:gd name="T37" fmla="*/ 313 h 348"/>
              <a:gd name="T38" fmla="*/ 177 w 213"/>
              <a:gd name="T39" fmla="*/ 348 h 348"/>
              <a:gd name="T40" fmla="*/ 35 w 213"/>
              <a:gd name="T41" fmla="*/ 348 h 348"/>
              <a:gd name="T42" fmla="*/ 35 w 213"/>
              <a:gd name="T43" fmla="*/ 313 h 348"/>
              <a:gd name="T44" fmla="*/ 89 w 213"/>
              <a:gd name="T45" fmla="*/ 313 h 348"/>
              <a:gd name="T46" fmla="*/ 89 w 213"/>
              <a:gd name="T47" fmla="*/ 277 h 348"/>
              <a:gd name="T48" fmla="*/ 0 w 213"/>
              <a:gd name="T49" fmla="*/ 182 h 348"/>
              <a:gd name="T50" fmla="*/ 0 w 213"/>
              <a:gd name="T51" fmla="*/ 137 h 348"/>
              <a:gd name="T52" fmla="*/ 34 w 213"/>
              <a:gd name="T53" fmla="*/ 137 h 348"/>
              <a:gd name="T54" fmla="*/ 34 w 213"/>
              <a:gd name="T55" fmla="*/ 182 h 348"/>
              <a:gd name="T56" fmla="*/ 94 w 213"/>
              <a:gd name="T57" fmla="*/ 242 h 348"/>
              <a:gd name="T58" fmla="*/ 118 w 213"/>
              <a:gd name="T59" fmla="*/ 242 h 348"/>
              <a:gd name="T60" fmla="*/ 178 w 213"/>
              <a:gd name="T61" fmla="*/ 182 h 348"/>
              <a:gd name="T62" fmla="*/ 178 w 213"/>
              <a:gd name="T63" fmla="*/ 137 h 348"/>
              <a:gd name="T64" fmla="*/ 213 w 213"/>
              <a:gd name="T65" fmla="*/ 137 h 348"/>
              <a:gd name="T66" fmla="*/ 103 w 213"/>
              <a:gd name="T67" fmla="*/ 67 h 348"/>
              <a:gd name="T68" fmla="*/ 95 w 213"/>
              <a:gd name="T69" fmla="*/ 75 h 348"/>
              <a:gd name="T70" fmla="*/ 87 w 213"/>
              <a:gd name="T71" fmla="*/ 67 h 348"/>
              <a:gd name="T72" fmla="*/ 95 w 213"/>
              <a:gd name="T73" fmla="*/ 59 h 348"/>
              <a:gd name="T74" fmla="*/ 103 w 213"/>
              <a:gd name="T75" fmla="*/ 67 h 348"/>
              <a:gd name="T76" fmla="*/ 103 w 213"/>
              <a:gd name="T77" fmla="*/ 90 h 348"/>
              <a:gd name="T78" fmla="*/ 95 w 213"/>
              <a:gd name="T79" fmla="*/ 98 h 348"/>
              <a:gd name="T80" fmla="*/ 87 w 213"/>
              <a:gd name="T81" fmla="*/ 90 h 348"/>
              <a:gd name="T82" fmla="*/ 95 w 213"/>
              <a:gd name="T83" fmla="*/ 82 h 348"/>
              <a:gd name="T84" fmla="*/ 103 w 213"/>
              <a:gd name="T85" fmla="*/ 90 h 348"/>
              <a:gd name="T86" fmla="*/ 126 w 213"/>
              <a:gd name="T87" fmla="*/ 67 h 348"/>
              <a:gd name="T88" fmla="*/ 118 w 213"/>
              <a:gd name="T89" fmla="*/ 75 h 348"/>
              <a:gd name="T90" fmla="*/ 110 w 213"/>
              <a:gd name="T91" fmla="*/ 67 h 348"/>
              <a:gd name="T92" fmla="*/ 118 w 213"/>
              <a:gd name="T93" fmla="*/ 59 h 348"/>
              <a:gd name="T94" fmla="*/ 126 w 213"/>
              <a:gd name="T95" fmla="*/ 67 h 348"/>
              <a:gd name="T96" fmla="*/ 126 w 213"/>
              <a:gd name="T97" fmla="*/ 90 h 348"/>
              <a:gd name="T98" fmla="*/ 118 w 213"/>
              <a:gd name="T99" fmla="*/ 98 h 348"/>
              <a:gd name="T100" fmla="*/ 110 w 213"/>
              <a:gd name="T101" fmla="*/ 90 h 348"/>
              <a:gd name="T102" fmla="*/ 118 w 213"/>
              <a:gd name="T103" fmla="*/ 82 h 348"/>
              <a:gd name="T104" fmla="*/ 126 w 213"/>
              <a:gd name="T105" fmla="*/ 90 h 348"/>
              <a:gd name="T106" fmla="*/ 103 w 213"/>
              <a:gd name="T107" fmla="*/ 112 h 348"/>
              <a:gd name="T108" fmla="*/ 95 w 213"/>
              <a:gd name="T109" fmla="*/ 120 h 348"/>
              <a:gd name="T110" fmla="*/ 87 w 213"/>
              <a:gd name="T111" fmla="*/ 112 h 348"/>
              <a:gd name="T112" fmla="*/ 95 w 213"/>
              <a:gd name="T113" fmla="*/ 104 h 348"/>
              <a:gd name="T114" fmla="*/ 103 w 213"/>
              <a:gd name="T115"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48">
                <a:moveTo>
                  <a:pt x="106" y="224"/>
                </a:moveTo>
                <a:cubicBezTo>
                  <a:pt x="135" y="224"/>
                  <a:pt x="159" y="200"/>
                  <a:pt x="159" y="171"/>
                </a:cubicBezTo>
                <a:cubicBezTo>
                  <a:pt x="159" y="152"/>
                  <a:pt x="159" y="75"/>
                  <a:pt x="159" y="53"/>
                </a:cubicBezTo>
                <a:cubicBezTo>
                  <a:pt x="159" y="23"/>
                  <a:pt x="135" y="0"/>
                  <a:pt x="106" y="0"/>
                </a:cubicBezTo>
                <a:cubicBezTo>
                  <a:pt x="77" y="0"/>
                  <a:pt x="54" y="23"/>
                  <a:pt x="54" y="53"/>
                </a:cubicBezTo>
                <a:cubicBezTo>
                  <a:pt x="54" y="69"/>
                  <a:pt x="54" y="154"/>
                  <a:pt x="54" y="171"/>
                </a:cubicBezTo>
                <a:cubicBezTo>
                  <a:pt x="54" y="200"/>
                  <a:pt x="77" y="224"/>
                  <a:pt x="106" y="224"/>
                </a:cubicBezTo>
                <a:close/>
                <a:moveTo>
                  <a:pt x="78" y="53"/>
                </a:moveTo>
                <a:cubicBezTo>
                  <a:pt x="78" y="37"/>
                  <a:pt x="90" y="24"/>
                  <a:pt x="106" y="24"/>
                </a:cubicBezTo>
                <a:cubicBezTo>
                  <a:pt x="122" y="24"/>
                  <a:pt x="135" y="37"/>
                  <a:pt x="135" y="53"/>
                </a:cubicBezTo>
                <a:cubicBezTo>
                  <a:pt x="135" y="171"/>
                  <a:pt x="135" y="171"/>
                  <a:pt x="135" y="171"/>
                </a:cubicBezTo>
                <a:cubicBezTo>
                  <a:pt x="135" y="187"/>
                  <a:pt x="122" y="200"/>
                  <a:pt x="106" y="200"/>
                </a:cubicBezTo>
                <a:cubicBezTo>
                  <a:pt x="90" y="200"/>
                  <a:pt x="78" y="187"/>
                  <a:pt x="78" y="171"/>
                </a:cubicBezTo>
                <a:lnTo>
                  <a:pt x="78" y="53"/>
                </a:lnTo>
                <a:close/>
                <a:moveTo>
                  <a:pt x="213" y="137"/>
                </a:moveTo>
                <a:cubicBezTo>
                  <a:pt x="213" y="137"/>
                  <a:pt x="213" y="137"/>
                  <a:pt x="213" y="182"/>
                </a:cubicBezTo>
                <a:cubicBezTo>
                  <a:pt x="213" y="232"/>
                  <a:pt x="173" y="273"/>
                  <a:pt x="124" y="277"/>
                </a:cubicBezTo>
                <a:cubicBezTo>
                  <a:pt x="124" y="277"/>
                  <a:pt x="124" y="277"/>
                  <a:pt x="124" y="313"/>
                </a:cubicBezTo>
                <a:cubicBezTo>
                  <a:pt x="124" y="313"/>
                  <a:pt x="124" y="313"/>
                  <a:pt x="177" y="313"/>
                </a:cubicBezTo>
                <a:cubicBezTo>
                  <a:pt x="177" y="313"/>
                  <a:pt x="177" y="313"/>
                  <a:pt x="177" y="348"/>
                </a:cubicBezTo>
                <a:cubicBezTo>
                  <a:pt x="177" y="348"/>
                  <a:pt x="177" y="348"/>
                  <a:pt x="35" y="348"/>
                </a:cubicBezTo>
                <a:cubicBezTo>
                  <a:pt x="35" y="348"/>
                  <a:pt x="35" y="348"/>
                  <a:pt x="35" y="313"/>
                </a:cubicBezTo>
                <a:cubicBezTo>
                  <a:pt x="35" y="313"/>
                  <a:pt x="35" y="313"/>
                  <a:pt x="89" y="313"/>
                </a:cubicBezTo>
                <a:cubicBezTo>
                  <a:pt x="89" y="313"/>
                  <a:pt x="89" y="313"/>
                  <a:pt x="89" y="277"/>
                </a:cubicBezTo>
                <a:cubicBezTo>
                  <a:pt x="39" y="273"/>
                  <a:pt x="0" y="232"/>
                  <a:pt x="0" y="182"/>
                </a:cubicBezTo>
                <a:cubicBezTo>
                  <a:pt x="0" y="182"/>
                  <a:pt x="0" y="182"/>
                  <a:pt x="0" y="137"/>
                </a:cubicBezTo>
                <a:cubicBezTo>
                  <a:pt x="0" y="137"/>
                  <a:pt x="0" y="137"/>
                  <a:pt x="34" y="137"/>
                </a:cubicBezTo>
                <a:cubicBezTo>
                  <a:pt x="34" y="137"/>
                  <a:pt x="34" y="137"/>
                  <a:pt x="34" y="182"/>
                </a:cubicBezTo>
                <a:cubicBezTo>
                  <a:pt x="34" y="215"/>
                  <a:pt x="62" y="242"/>
                  <a:pt x="94" y="242"/>
                </a:cubicBezTo>
                <a:cubicBezTo>
                  <a:pt x="94" y="242"/>
                  <a:pt x="94" y="242"/>
                  <a:pt x="118" y="242"/>
                </a:cubicBezTo>
                <a:cubicBezTo>
                  <a:pt x="151" y="242"/>
                  <a:pt x="178" y="215"/>
                  <a:pt x="178" y="182"/>
                </a:cubicBezTo>
                <a:cubicBezTo>
                  <a:pt x="178" y="182"/>
                  <a:pt x="178" y="182"/>
                  <a:pt x="178" y="137"/>
                </a:cubicBezTo>
                <a:lnTo>
                  <a:pt x="213" y="137"/>
                </a:lnTo>
                <a:close/>
                <a:moveTo>
                  <a:pt x="103" y="67"/>
                </a:moveTo>
                <a:cubicBezTo>
                  <a:pt x="103" y="71"/>
                  <a:pt x="99" y="75"/>
                  <a:pt x="95" y="75"/>
                </a:cubicBezTo>
                <a:cubicBezTo>
                  <a:pt x="90" y="75"/>
                  <a:pt x="87" y="71"/>
                  <a:pt x="87" y="67"/>
                </a:cubicBezTo>
                <a:cubicBezTo>
                  <a:pt x="87" y="62"/>
                  <a:pt x="90" y="59"/>
                  <a:pt x="95" y="59"/>
                </a:cubicBezTo>
                <a:cubicBezTo>
                  <a:pt x="99" y="59"/>
                  <a:pt x="103" y="62"/>
                  <a:pt x="103" y="67"/>
                </a:cubicBezTo>
                <a:close/>
                <a:moveTo>
                  <a:pt x="103" y="90"/>
                </a:moveTo>
                <a:cubicBezTo>
                  <a:pt x="103" y="94"/>
                  <a:pt x="99" y="98"/>
                  <a:pt x="95" y="98"/>
                </a:cubicBezTo>
                <a:cubicBezTo>
                  <a:pt x="90" y="98"/>
                  <a:pt x="87" y="94"/>
                  <a:pt x="87" y="90"/>
                </a:cubicBezTo>
                <a:cubicBezTo>
                  <a:pt x="87" y="85"/>
                  <a:pt x="90" y="82"/>
                  <a:pt x="95" y="82"/>
                </a:cubicBezTo>
                <a:cubicBezTo>
                  <a:pt x="99" y="82"/>
                  <a:pt x="103" y="85"/>
                  <a:pt x="103" y="90"/>
                </a:cubicBezTo>
                <a:close/>
                <a:moveTo>
                  <a:pt x="126" y="67"/>
                </a:moveTo>
                <a:cubicBezTo>
                  <a:pt x="126" y="71"/>
                  <a:pt x="122" y="75"/>
                  <a:pt x="118" y="75"/>
                </a:cubicBezTo>
                <a:cubicBezTo>
                  <a:pt x="113" y="75"/>
                  <a:pt x="110" y="71"/>
                  <a:pt x="110" y="67"/>
                </a:cubicBezTo>
                <a:cubicBezTo>
                  <a:pt x="110" y="62"/>
                  <a:pt x="113" y="59"/>
                  <a:pt x="118" y="59"/>
                </a:cubicBezTo>
                <a:cubicBezTo>
                  <a:pt x="122" y="59"/>
                  <a:pt x="126" y="62"/>
                  <a:pt x="126" y="67"/>
                </a:cubicBezTo>
                <a:close/>
                <a:moveTo>
                  <a:pt x="126" y="90"/>
                </a:moveTo>
                <a:cubicBezTo>
                  <a:pt x="126" y="94"/>
                  <a:pt x="122" y="98"/>
                  <a:pt x="118" y="98"/>
                </a:cubicBezTo>
                <a:cubicBezTo>
                  <a:pt x="113" y="98"/>
                  <a:pt x="110" y="94"/>
                  <a:pt x="110" y="90"/>
                </a:cubicBezTo>
                <a:cubicBezTo>
                  <a:pt x="110" y="85"/>
                  <a:pt x="113" y="82"/>
                  <a:pt x="118" y="82"/>
                </a:cubicBezTo>
                <a:cubicBezTo>
                  <a:pt x="122" y="82"/>
                  <a:pt x="126" y="85"/>
                  <a:pt x="126" y="90"/>
                </a:cubicBezTo>
                <a:close/>
                <a:moveTo>
                  <a:pt x="103" y="112"/>
                </a:moveTo>
                <a:cubicBezTo>
                  <a:pt x="103" y="116"/>
                  <a:pt x="99" y="120"/>
                  <a:pt x="95" y="120"/>
                </a:cubicBezTo>
                <a:cubicBezTo>
                  <a:pt x="90" y="120"/>
                  <a:pt x="87" y="116"/>
                  <a:pt x="87" y="112"/>
                </a:cubicBezTo>
                <a:cubicBezTo>
                  <a:pt x="87" y="107"/>
                  <a:pt x="90" y="104"/>
                  <a:pt x="95" y="104"/>
                </a:cubicBezTo>
                <a:cubicBezTo>
                  <a:pt x="99" y="104"/>
                  <a:pt x="103" y="107"/>
                  <a:pt x="103" y="11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Title 3"/>
          <p:cNvSpPr txBox="1">
            <a:spLocks/>
          </p:cNvSpPr>
          <p:nvPr/>
        </p:nvSpPr>
        <p:spPr>
          <a:xfrm>
            <a:off x="274638" y="1364282"/>
            <a:ext cx="11887200" cy="18319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500" dirty="0"/>
              <a:t>Q&amp;A</a:t>
            </a:r>
          </a:p>
        </p:txBody>
      </p:sp>
    </p:spTree>
    <p:extLst>
      <p:ext uri="{BB962C8B-B14F-4D97-AF65-F5344CB8AC3E}">
        <p14:creationId xmlns:p14="http://schemas.microsoft.com/office/powerpoint/2010/main" val="25273367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5731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ession Objectives And Takeaways</a:t>
            </a:r>
            <a:endParaRPr lang="en-US" dirty="0"/>
          </a:p>
        </p:txBody>
      </p:sp>
      <p:sp>
        <p:nvSpPr>
          <p:cNvPr id="5" name="Text Placeholder 4"/>
          <p:cNvSpPr>
            <a:spLocks noGrp="1"/>
          </p:cNvSpPr>
          <p:nvPr>
            <p:ph type="body" sz="quarter" idx="11"/>
          </p:nvPr>
        </p:nvSpPr>
        <p:spPr>
          <a:xfrm>
            <a:off x="274639" y="1212849"/>
            <a:ext cx="11889564" cy="4001095"/>
          </a:xfrm>
        </p:spPr>
        <p:txBody>
          <a:bodyPr/>
          <a:lstStyle/>
          <a:p>
            <a:r>
              <a:rPr lang="en-US" dirty="0"/>
              <a:t>Session Objective(s): </a:t>
            </a:r>
          </a:p>
          <a:p>
            <a:pPr marL="371475" lvl="1" indent="-342900">
              <a:buFont typeface="Arial" panose="020B0604020202020204" pitchFamily="34" charset="0"/>
              <a:buChar char="•"/>
            </a:pPr>
            <a:r>
              <a:rPr lang="en-US" sz="2800" dirty="0"/>
              <a:t>Gain an understanding about the differences between the APS and SQLDW architectures.</a:t>
            </a:r>
          </a:p>
          <a:p>
            <a:pPr marL="371475" lvl="1" indent="-342900">
              <a:buFont typeface="Arial" panose="020B0604020202020204" pitchFamily="34" charset="0"/>
              <a:buChar char="•"/>
            </a:pPr>
            <a:r>
              <a:rPr lang="en-US" sz="2800" dirty="0"/>
              <a:t>Ability to discuss how a customer can utilize SQLDW as a solution to their Hybrid DW and DR needs. </a:t>
            </a:r>
          </a:p>
          <a:p>
            <a:pPr marL="371475" lvl="1" indent="-342900">
              <a:buFont typeface="Arial" panose="020B0604020202020204" pitchFamily="34" charset="0"/>
              <a:buChar char="•"/>
            </a:pPr>
            <a:r>
              <a:rPr lang="en-US" sz="2800" dirty="0"/>
              <a:t>Adapt/Customize reference architecture/framework to implement DR between APS and SQLDW.</a:t>
            </a:r>
          </a:p>
          <a:p>
            <a:endParaRPr lang="en-US" dirty="0"/>
          </a:p>
        </p:txBody>
      </p:sp>
    </p:spTree>
    <p:extLst>
      <p:ext uri="{BB962C8B-B14F-4D97-AF65-F5344CB8AC3E}">
        <p14:creationId xmlns:p14="http://schemas.microsoft.com/office/powerpoint/2010/main" val="258868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74639" y="1212849"/>
            <a:ext cx="11889564" cy="5478423"/>
          </a:xfrm>
        </p:spPr>
        <p:txBody>
          <a:bodyPr/>
          <a:lstStyle/>
          <a:p>
            <a:pPr marL="571500" indent="-571500">
              <a:buFont typeface="Arial" panose="020B0604020202020204" pitchFamily="34" charset="0"/>
              <a:buChar char="•"/>
            </a:pPr>
            <a:r>
              <a:rPr lang="en-US" dirty="0"/>
              <a:t>What is Disaster Recovery</a:t>
            </a:r>
          </a:p>
          <a:p>
            <a:pPr marL="571500" indent="-571500">
              <a:buFont typeface="Arial" panose="020B0604020202020204" pitchFamily="34" charset="0"/>
              <a:buChar char="•"/>
            </a:pPr>
            <a:r>
              <a:rPr lang="en-US" dirty="0"/>
              <a:t>What is SQLDW/APS</a:t>
            </a:r>
          </a:p>
          <a:p>
            <a:pPr marL="571500" indent="-571500">
              <a:buFont typeface="Arial" panose="020B0604020202020204" pitchFamily="34" charset="0"/>
              <a:buChar char="•"/>
            </a:pPr>
            <a:r>
              <a:rPr lang="en-US" dirty="0"/>
              <a:t>Differences between APS and SQLDW</a:t>
            </a:r>
          </a:p>
          <a:p>
            <a:pPr marL="571500" indent="-571500">
              <a:buFont typeface="Arial" panose="020B0604020202020204" pitchFamily="34" charset="0"/>
              <a:buChar char="•"/>
            </a:pPr>
            <a:r>
              <a:rPr lang="en-US" dirty="0"/>
              <a:t>Hybrid Architecture for a Data Warehouse</a:t>
            </a:r>
          </a:p>
          <a:p>
            <a:pPr marL="571500" indent="-571500">
              <a:buFont typeface="Arial" panose="020B0604020202020204" pitchFamily="34" charset="0"/>
              <a:buChar char="•"/>
            </a:pPr>
            <a:r>
              <a:rPr lang="en-US" dirty="0"/>
              <a:t>Disaster Recovery Options</a:t>
            </a:r>
          </a:p>
          <a:p>
            <a:pPr marL="571500" indent="-571500">
              <a:buFont typeface="Arial" panose="020B0604020202020204" pitchFamily="34" charset="0"/>
              <a:buChar char="•"/>
            </a:pPr>
            <a:r>
              <a:rPr lang="en-US" dirty="0"/>
              <a:t>Hybrid DR Framework</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247876220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isaster recovery vs Business continuity</a:t>
            </a:r>
          </a:p>
        </p:txBody>
      </p:sp>
      <p:sp>
        <p:nvSpPr>
          <p:cNvPr id="6" name="Text Placeholder 5"/>
          <p:cNvSpPr>
            <a:spLocks noGrp="1"/>
          </p:cNvSpPr>
          <p:nvPr>
            <p:ph type="body" sz="quarter" idx="10"/>
          </p:nvPr>
        </p:nvSpPr>
        <p:spPr>
          <a:xfrm>
            <a:off x="274638" y="1439862"/>
            <a:ext cx="11887200" cy="1477328"/>
          </a:xfrm>
        </p:spPr>
        <p:txBody>
          <a:bodyPr/>
          <a:lstStyle/>
          <a:p>
            <a:r>
              <a:rPr lang="en-US" dirty="0">
                <a:solidFill>
                  <a:schemeClr val="tx1"/>
                </a:solidFill>
              </a:rPr>
              <a:t>Disaster recovery</a:t>
            </a:r>
          </a:p>
          <a:p>
            <a:pPr marL="342900" lvl="1" indent="-342900">
              <a:buFont typeface="Arial" panose="020B0604020202020204" pitchFamily="34" charset="0"/>
              <a:buChar char="•"/>
            </a:pPr>
            <a:r>
              <a:rPr lang="en-GB" sz="2400" dirty="0">
                <a:solidFill>
                  <a:schemeClr val="tx1"/>
                </a:solidFill>
              </a:rPr>
              <a:t>Disaster recovery focuses on the IT or technology systems that support</a:t>
            </a:r>
            <a:br>
              <a:rPr lang="en-GB" sz="2400" dirty="0">
                <a:solidFill>
                  <a:schemeClr val="tx1"/>
                </a:solidFill>
              </a:rPr>
            </a:br>
            <a:r>
              <a:rPr lang="en-GB" sz="2400" dirty="0">
                <a:solidFill>
                  <a:schemeClr val="tx1"/>
                </a:solidFill>
              </a:rPr>
              <a:t>business functions…</a:t>
            </a:r>
          </a:p>
        </p:txBody>
      </p:sp>
      <p:sp>
        <p:nvSpPr>
          <p:cNvPr id="5" name="Text Placeholder 5"/>
          <p:cNvSpPr txBox="1">
            <a:spLocks/>
          </p:cNvSpPr>
          <p:nvPr/>
        </p:nvSpPr>
        <p:spPr>
          <a:xfrm>
            <a:off x="274638" y="3954462"/>
            <a:ext cx="11887200" cy="24868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solidFill>
                  <a:schemeClr val="tx1"/>
                </a:solidFill>
              </a:rPr>
              <a:t>Business continuity</a:t>
            </a:r>
          </a:p>
          <a:p>
            <a:pPr marL="342900" lvl="1" indent="-342900">
              <a:buFont typeface="Arial" panose="020B0604020202020204" pitchFamily="34" charset="0"/>
              <a:buChar char="•"/>
            </a:pPr>
            <a:r>
              <a:rPr lang="en-GB" sz="2400" dirty="0">
                <a:solidFill>
                  <a:schemeClr val="tx1"/>
                </a:solidFill>
              </a:rPr>
              <a:t>Includes people, facilities, security, access, etc. Anything that circumvents the technology boundary. The disaster recovery plan is part of the overall</a:t>
            </a:r>
            <a:br>
              <a:rPr lang="en-GB" sz="2400" dirty="0">
                <a:solidFill>
                  <a:schemeClr val="tx1"/>
                </a:solidFill>
              </a:rPr>
            </a:br>
            <a:r>
              <a:rPr lang="en-GB" sz="2400" dirty="0">
                <a:solidFill>
                  <a:schemeClr val="tx1"/>
                </a:solidFill>
              </a:rPr>
              <a:t>business continuity plan.</a:t>
            </a:r>
          </a:p>
          <a:p>
            <a:pPr marL="342900" lvl="1" indent="-342900">
              <a:buFont typeface="Arial" panose="020B0604020202020204" pitchFamily="34" charset="0"/>
              <a:buChar char="•"/>
            </a:pPr>
            <a:endParaRPr lang="en-GB" b="1" dirty="0">
              <a:solidFill>
                <a:schemeClr val="tx1"/>
              </a:solidFill>
            </a:endParaRPr>
          </a:p>
          <a:p>
            <a:pPr marL="342900" lvl="1" indent="-342900">
              <a:buFont typeface="Arial" panose="020B0604020202020204" pitchFamily="34" charset="0"/>
              <a:buChar char="•"/>
            </a:pPr>
            <a:r>
              <a:rPr lang="en-GB" dirty="0">
                <a:solidFill>
                  <a:schemeClr val="tx1"/>
                </a:solidFill>
              </a:rPr>
              <a:t>.</a:t>
            </a:r>
          </a:p>
        </p:txBody>
      </p:sp>
      <p:sp>
        <p:nvSpPr>
          <p:cNvPr id="2" name="TextBox 1"/>
          <p:cNvSpPr txBox="1"/>
          <p:nvPr/>
        </p:nvSpPr>
        <p:spPr>
          <a:xfrm>
            <a:off x="5380037" y="2983394"/>
            <a:ext cx="1295400" cy="904863"/>
          </a:xfrm>
          <a:prstGeom prst="rect">
            <a:avLst/>
          </a:prstGeom>
          <a:noFill/>
        </p:spPr>
        <p:txBody>
          <a:bodyPr wrap="square" lIns="182880" tIns="146304" rIns="182880" bIns="146304" rtlCol="0" anchor="ctr">
            <a:spAutoFit/>
          </a:bodyPr>
          <a:lstStyle/>
          <a:p>
            <a:pPr algn="ctr">
              <a:lnSpc>
                <a:spcPct val="90000"/>
              </a:lnSpc>
              <a:spcAft>
                <a:spcPts val="600"/>
              </a:spcAft>
            </a:pPr>
            <a:r>
              <a:rPr lang="en-US" sz="4400" dirty="0">
                <a:latin typeface="Segoe UI Black" panose="020B0A02040204020203" pitchFamily="34" charset="0"/>
                <a:ea typeface="Segoe UI Black" panose="020B0A02040204020203" pitchFamily="34" charset="0"/>
                <a:cs typeface="Segoe UI Black" panose="020B0A02040204020203" pitchFamily="34" charset="0"/>
              </a:rPr>
              <a:t>vs.</a:t>
            </a:r>
          </a:p>
        </p:txBody>
      </p:sp>
    </p:spTree>
    <p:extLst>
      <p:ext uri="{BB962C8B-B14F-4D97-AF65-F5344CB8AC3E}">
        <p14:creationId xmlns:p14="http://schemas.microsoft.com/office/powerpoint/2010/main" val="61048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1250"/>
                                        <p:tgtEl>
                                          <p:spTgt spid="6">
                                            <p:txEl>
                                              <p:pRg st="1" end="1"/>
                                            </p:txEl>
                                          </p:spTgt>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500"/>
                                        <p:tgtEl>
                                          <p:spTgt spid="2">
                                            <p:txEl>
                                              <p:pRg st="0" end="0"/>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animEffect transition="in" filter="fade">
                                      <p:cBhvr>
                                        <p:cTn id="19" dur="500"/>
                                        <p:tgtEl>
                                          <p:spTgt spid="5">
                                            <p:txEl>
                                              <p:pRg st="0" end="0"/>
                                            </p:txEl>
                                          </p:spTgt>
                                        </p:tgtEl>
                                      </p:cBhvr>
                                    </p:animEffect>
                                  </p:childTnLst>
                                </p:cTn>
                              </p:par>
                            </p:childTnLst>
                          </p:cTn>
                        </p:par>
                        <p:par>
                          <p:cTn id="20" fill="hold">
                            <p:stCondLst>
                              <p:cond delay="2750"/>
                            </p:stCondLst>
                            <p:childTnLst>
                              <p:par>
                                <p:cTn id="21" presetID="22" presetClass="entr" presetSubtype="8" fill="hold" nodeType="after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animEffect transition="in" filter="wipe(left)">
                                      <p:cBhvr>
                                        <p:cTn id="23" dur="1250"/>
                                        <p:tgtEl>
                                          <p:spTgt spid="5">
                                            <p:txEl>
                                              <p:pRg st="1" end="1"/>
                                            </p:txEl>
                                          </p:spTgt>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22237" y="1744662"/>
            <a:ext cx="4876800" cy="4343400"/>
          </a:xfrm>
          <a:prstGeom prst="rect">
            <a:avLst/>
          </a:prstGeom>
          <a:solidFill>
            <a:schemeClr val="tx1">
              <a:lumMod val="9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aster recovery</a:t>
            </a:r>
          </a:p>
        </p:txBody>
      </p:sp>
      <p:sp>
        <p:nvSpPr>
          <p:cNvPr id="3" name="Text Placeholder 2"/>
          <p:cNvSpPr>
            <a:spLocks noGrp="1"/>
          </p:cNvSpPr>
          <p:nvPr>
            <p:ph type="body" sz="quarter" idx="10"/>
          </p:nvPr>
        </p:nvSpPr>
        <p:spPr>
          <a:xfrm>
            <a:off x="5456237" y="2170269"/>
            <a:ext cx="5257800" cy="3256276"/>
          </a:xfrm>
        </p:spPr>
        <p:txBody>
          <a:bodyPr/>
          <a:lstStyle/>
          <a:p>
            <a:pPr lvl="1"/>
            <a:r>
              <a:rPr lang="en-GB" sz="2400" dirty="0"/>
              <a:t>“… is the process, policies and procedures that are related to preparing for recovery or continuation of technology infrastructure which are vital to an organization after a natural or human-induced disaster.”</a:t>
            </a:r>
          </a:p>
          <a:p>
            <a:endParaRPr lang="en-US" sz="4400" dirty="0">
              <a:solidFill>
                <a:srgbClr val="505050"/>
              </a:solidFill>
            </a:endParaRPr>
          </a:p>
        </p:txBody>
      </p:sp>
      <p:grpSp>
        <p:nvGrpSpPr>
          <p:cNvPr id="24" name="Group 23"/>
          <p:cNvGrpSpPr/>
          <p:nvPr/>
        </p:nvGrpSpPr>
        <p:grpSpPr>
          <a:xfrm>
            <a:off x="503237" y="2165960"/>
            <a:ext cx="4130580" cy="3276600"/>
            <a:chOff x="1155701" y="4051300"/>
            <a:chExt cx="2541587" cy="2016125"/>
          </a:xfrm>
        </p:grpSpPr>
        <p:sp>
          <p:nvSpPr>
            <p:cNvPr id="8" name="Freeform 6"/>
            <p:cNvSpPr>
              <a:spLocks/>
            </p:cNvSpPr>
            <p:nvPr/>
          </p:nvSpPr>
          <p:spPr bwMode="auto">
            <a:xfrm>
              <a:off x="1633538" y="5486400"/>
              <a:ext cx="728663" cy="581025"/>
            </a:xfrm>
            <a:custGeom>
              <a:avLst/>
              <a:gdLst>
                <a:gd name="T0" fmla="*/ 152 w 459"/>
                <a:gd name="T1" fmla="*/ 40 h 366"/>
                <a:gd name="T2" fmla="*/ 152 w 459"/>
                <a:gd name="T3" fmla="*/ 0 h 366"/>
                <a:gd name="T4" fmla="*/ 55 w 459"/>
                <a:gd name="T5" fmla="*/ 0 h 366"/>
                <a:gd name="T6" fmla="*/ 55 w 459"/>
                <a:gd name="T7" fmla="*/ 40 h 366"/>
                <a:gd name="T8" fmla="*/ 0 w 459"/>
                <a:gd name="T9" fmla="*/ 40 h 366"/>
                <a:gd name="T10" fmla="*/ 0 w 459"/>
                <a:gd name="T11" fmla="*/ 49 h 366"/>
                <a:gd name="T12" fmla="*/ 12 w 459"/>
                <a:gd name="T13" fmla="*/ 49 h 366"/>
                <a:gd name="T14" fmla="*/ 12 w 459"/>
                <a:gd name="T15" fmla="*/ 366 h 366"/>
                <a:gd name="T16" fmla="*/ 447 w 459"/>
                <a:gd name="T17" fmla="*/ 366 h 366"/>
                <a:gd name="T18" fmla="*/ 447 w 459"/>
                <a:gd name="T19" fmla="*/ 49 h 366"/>
                <a:gd name="T20" fmla="*/ 459 w 459"/>
                <a:gd name="T21" fmla="*/ 49 h 366"/>
                <a:gd name="T22" fmla="*/ 459 w 459"/>
                <a:gd name="T23" fmla="*/ 40 h 366"/>
                <a:gd name="T24" fmla="*/ 152 w 459"/>
                <a:gd name="T25" fmla="*/ 4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366">
                  <a:moveTo>
                    <a:pt x="152" y="40"/>
                  </a:moveTo>
                  <a:lnTo>
                    <a:pt x="152" y="0"/>
                  </a:lnTo>
                  <a:lnTo>
                    <a:pt x="55" y="0"/>
                  </a:lnTo>
                  <a:lnTo>
                    <a:pt x="55" y="40"/>
                  </a:lnTo>
                  <a:lnTo>
                    <a:pt x="0" y="40"/>
                  </a:lnTo>
                  <a:lnTo>
                    <a:pt x="0" y="49"/>
                  </a:lnTo>
                  <a:lnTo>
                    <a:pt x="12" y="49"/>
                  </a:lnTo>
                  <a:lnTo>
                    <a:pt x="12" y="366"/>
                  </a:lnTo>
                  <a:lnTo>
                    <a:pt x="447" y="366"/>
                  </a:lnTo>
                  <a:lnTo>
                    <a:pt x="447" y="49"/>
                  </a:lnTo>
                  <a:lnTo>
                    <a:pt x="459" y="49"/>
                  </a:lnTo>
                  <a:lnTo>
                    <a:pt x="459" y="40"/>
                  </a:lnTo>
                  <a:lnTo>
                    <a:pt x="152"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2500313" y="4051300"/>
              <a:ext cx="1196975" cy="787400"/>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noEditPoints="1"/>
            </p:cNvSpPr>
            <p:nvPr/>
          </p:nvSpPr>
          <p:spPr bwMode="auto">
            <a:xfrm>
              <a:off x="2039938" y="4673600"/>
              <a:ext cx="1052513" cy="1049337"/>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9"/>
            <p:cNvSpPr>
              <a:spLocks noChangeArrowheads="1"/>
            </p:cNvSpPr>
            <p:nvPr/>
          </p:nvSpPr>
          <p:spPr bwMode="auto">
            <a:xfrm>
              <a:off x="2046288" y="4838700"/>
              <a:ext cx="881063" cy="877887"/>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noEditPoints="1"/>
            </p:cNvSpPr>
            <p:nvPr/>
          </p:nvSpPr>
          <p:spPr bwMode="auto">
            <a:xfrm>
              <a:off x="2039938" y="4832350"/>
              <a:ext cx="893763" cy="890587"/>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
            <p:cNvSpPr>
              <a:spLocks noChangeArrowheads="1"/>
            </p:cNvSpPr>
            <p:nvPr/>
          </p:nvSpPr>
          <p:spPr bwMode="auto">
            <a:xfrm>
              <a:off x="2046288" y="5008563"/>
              <a:ext cx="711200" cy="70802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noEditPoints="1"/>
            </p:cNvSpPr>
            <p:nvPr/>
          </p:nvSpPr>
          <p:spPr bwMode="auto">
            <a:xfrm>
              <a:off x="2039938" y="5000625"/>
              <a:ext cx="723900" cy="722312"/>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Oval 13"/>
            <p:cNvSpPr>
              <a:spLocks noChangeArrowheads="1"/>
            </p:cNvSpPr>
            <p:nvPr/>
          </p:nvSpPr>
          <p:spPr bwMode="auto">
            <a:xfrm>
              <a:off x="2046288" y="5159375"/>
              <a:ext cx="558800" cy="557212"/>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noEditPoints="1"/>
            </p:cNvSpPr>
            <p:nvPr/>
          </p:nvSpPr>
          <p:spPr bwMode="auto">
            <a:xfrm>
              <a:off x="2184401" y="5324475"/>
              <a:ext cx="277813" cy="234950"/>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1155701" y="5032375"/>
              <a:ext cx="788988" cy="1035050"/>
            </a:xfrm>
            <a:custGeom>
              <a:avLst/>
              <a:gdLst>
                <a:gd name="T0" fmla="*/ 272 w 497"/>
                <a:gd name="T1" fmla="*/ 70 h 652"/>
                <a:gd name="T2" fmla="*/ 272 w 497"/>
                <a:gd name="T3" fmla="*/ 0 h 652"/>
                <a:gd name="T4" fmla="*/ 96 w 497"/>
                <a:gd name="T5" fmla="*/ 0 h 652"/>
                <a:gd name="T6" fmla="*/ 96 w 497"/>
                <a:gd name="T7" fmla="*/ 70 h 652"/>
                <a:gd name="T8" fmla="*/ 0 w 497"/>
                <a:gd name="T9" fmla="*/ 70 h 652"/>
                <a:gd name="T10" fmla="*/ 0 w 497"/>
                <a:gd name="T11" fmla="*/ 88 h 652"/>
                <a:gd name="T12" fmla="*/ 22 w 497"/>
                <a:gd name="T13" fmla="*/ 88 h 652"/>
                <a:gd name="T14" fmla="*/ 22 w 497"/>
                <a:gd name="T15" fmla="*/ 652 h 652"/>
                <a:gd name="T16" fmla="*/ 475 w 497"/>
                <a:gd name="T17" fmla="*/ 652 h 652"/>
                <a:gd name="T18" fmla="*/ 475 w 497"/>
                <a:gd name="T19" fmla="*/ 88 h 652"/>
                <a:gd name="T20" fmla="*/ 497 w 497"/>
                <a:gd name="T21" fmla="*/ 88 h 652"/>
                <a:gd name="T22" fmla="*/ 497 w 497"/>
                <a:gd name="T23" fmla="*/ 70 h 652"/>
                <a:gd name="T24" fmla="*/ 272 w 497"/>
                <a:gd name="T25" fmla="*/ 7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7" h="652">
                  <a:moveTo>
                    <a:pt x="272" y="70"/>
                  </a:moveTo>
                  <a:lnTo>
                    <a:pt x="272" y="0"/>
                  </a:lnTo>
                  <a:lnTo>
                    <a:pt x="96" y="0"/>
                  </a:lnTo>
                  <a:lnTo>
                    <a:pt x="96" y="70"/>
                  </a:lnTo>
                  <a:lnTo>
                    <a:pt x="0" y="70"/>
                  </a:lnTo>
                  <a:lnTo>
                    <a:pt x="0" y="88"/>
                  </a:lnTo>
                  <a:lnTo>
                    <a:pt x="22" y="88"/>
                  </a:lnTo>
                  <a:lnTo>
                    <a:pt x="22" y="652"/>
                  </a:lnTo>
                  <a:lnTo>
                    <a:pt x="475" y="652"/>
                  </a:lnTo>
                  <a:lnTo>
                    <a:pt x="475" y="88"/>
                  </a:lnTo>
                  <a:lnTo>
                    <a:pt x="497" y="88"/>
                  </a:lnTo>
                  <a:lnTo>
                    <a:pt x="497" y="70"/>
                  </a:lnTo>
                  <a:lnTo>
                    <a:pt x="272" y="70"/>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6"/>
            <p:cNvSpPr>
              <a:spLocks noChangeArrowheads="1"/>
            </p:cNvSpPr>
            <p:nvPr/>
          </p:nvSpPr>
          <p:spPr bwMode="auto">
            <a:xfrm>
              <a:off x="1587501" y="5886450"/>
              <a:ext cx="93663" cy="1809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7"/>
            <p:cNvSpPr>
              <a:spLocks noChangeArrowheads="1"/>
            </p:cNvSpPr>
            <p:nvPr/>
          </p:nvSpPr>
          <p:spPr bwMode="auto">
            <a:xfrm>
              <a:off x="1423988" y="5886450"/>
              <a:ext cx="93663" cy="1809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
            <p:cNvSpPr>
              <a:spLocks noChangeArrowheads="1"/>
            </p:cNvSpPr>
            <p:nvPr/>
          </p:nvSpPr>
          <p:spPr bwMode="auto">
            <a:xfrm>
              <a:off x="1263651" y="5253038"/>
              <a:ext cx="577850" cy="920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9"/>
            <p:cNvSpPr>
              <a:spLocks noChangeArrowheads="1"/>
            </p:cNvSpPr>
            <p:nvPr/>
          </p:nvSpPr>
          <p:spPr bwMode="auto">
            <a:xfrm>
              <a:off x="1263651" y="5414963"/>
              <a:ext cx="577850" cy="904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0"/>
            <p:cNvSpPr>
              <a:spLocks noChangeArrowheads="1"/>
            </p:cNvSpPr>
            <p:nvPr/>
          </p:nvSpPr>
          <p:spPr bwMode="auto">
            <a:xfrm>
              <a:off x="1263651" y="5575300"/>
              <a:ext cx="577850" cy="9366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1"/>
            <p:cNvSpPr>
              <a:spLocks noChangeArrowheads="1"/>
            </p:cNvSpPr>
            <p:nvPr/>
          </p:nvSpPr>
          <p:spPr bwMode="auto">
            <a:xfrm>
              <a:off x="1263651" y="5737225"/>
              <a:ext cx="577850" cy="9366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5596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9" y="295274"/>
            <a:ext cx="11889564" cy="1373188"/>
          </a:xfrm>
        </p:spPr>
        <p:txBody>
          <a:bodyPr>
            <a:noAutofit/>
          </a:bodyPr>
          <a:lstStyle/>
          <a:p>
            <a:pPr lvl="1" algn="l" defTabSz="932742" rtl="0">
              <a:lnSpc>
                <a:spcPct val="90000"/>
              </a:lnSpc>
              <a:spcBef>
                <a:spcPct val="0"/>
              </a:spcBef>
            </a:pPr>
            <a:r>
              <a:rPr lang="en-GB" sz="5400" kern="1200" spc="-102" dirty="0">
                <a:ln w="3175">
                  <a:noFill/>
                </a:ln>
                <a:solidFill>
                  <a:schemeClr val="tx1"/>
                </a:solidFill>
                <a:latin typeface="+mj-lt"/>
                <a:ea typeface="+mn-ea"/>
                <a:cs typeface="Segoe UI" pitchFamily="34" charset="0"/>
              </a:rPr>
              <a:t>SLAs (Service level agreements)</a:t>
            </a:r>
            <a:r>
              <a:rPr lang="en-GB" sz="5400" dirty="0">
                <a:solidFill>
                  <a:schemeClr val="tx1"/>
                </a:solidFill>
              </a:rPr>
              <a:t/>
            </a:r>
            <a:br>
              <a:rPr lang="en-GB" sz="5400" dirty="0">
                <a:solidFill>
                  <a:schemeClr val="tx1"/>
                </a:solidFill>
              </a:rPr>
            </a:br>
            <a:r>
              <a:rPr lang="en-GB" sz="4000" spc="-102" dirty="0">
                <a:ln w="3175">
                  <a:noFill/>
                </a:ln>
                <a:solidFill>
                  <a:schemeClr val="tx1"/>
                </a:solidFill>
                <a:latin typeface="Segoe UI Light"/>
                <a:cs typeface="Segoe UI" pitchFamily="34" charset="0"/>
              </a:rPr>
              <a:t>Technical considerations</a:t>
            </a:r>
            <a:endParaRPr lang="en-US" dirty="0">
              <a:solidFill>
                <a:schemeClr val="tx1"/>
              </a:solidFill>
            </a:endParaRPr>
          </a:p>
        </p:txBody>
      </p:sp>
      <p:sp>
        <p:nvSpPr>
          <p:cNvPr id="6" name="Text Placeholder 5"/>
          <p:cNvSpPr>
            <a:spLocks noGrp="1"/>
          </p:cNvSpPr>
          <p:nvPr>
            <p:ph type="body" sz="quarter" idx="10"/>
          </p:nvPr>
        </p:nvSpPr>
        <p:spPr>
          <a:xfrm>
            <a:off x="274638" y="1828800"/>
            <a:ext cx="11887200" cy="3693319"/>
          </a:xfrm>
        </p:spPr>
        <p:txBody>
          <a:bodyPr/>
          <a:lstStyle/>
          <a:p>
            <a:pPr lvl="1"/>
            <a:r>
              <a:rPr lang="en-GB" sz="2400" dirty="0">
                <a:solidFill>
                  <a:schemeClr val="accent6"/>
                </a:solidFill>
              </a:rPr>
              <a:t>RTO – Recovery time objective</a:t>
            </a:r>
          </a:p>
          <a:p>
            <a:pPr marL="571500" lvl="2" indent="-342900">
              <a:buFont typeface="Arial" panose="020B0604020202020204" pitchFamily="34" charset="0"/>
              <a:buChar char="•"/>
            </a:pPr>
            <a:r>
              <a:rPr lang="en-GB" dirty="0">
                <a:solidFill>
                  <a:schemeClr val="tx1"/>
                </a:solidFill>
              </a:rPr>
              <a:t>How long (time: minutes, hours) do we have to recover the service?</a:t>
            </a:r>
          </a:p>
          <a:p>
            <a:pPr lvl="1"/>
            <a:r>
              <a:rPr lang="en-GB" sz="2400" dirty="0">
                <a:solidFill>
                  <a:schemeClr val="accent6"/>
                </a:solidFill>
              </a:rPr>
              <a:t>RPO – Recovery point objective</a:t>
            </a:r>
          </a:p>
          <a:p>
            <a:pPr marL="571500" lvl="2" indent="-342900">
              <a:buFont typeface="Arial" panose="020B0604020202020204" pitchFamily="34" charset="0"/>
              <a:buChar char="•"/>
            </a:pPr>
            <a:r>
              <a:rPr lang="en-GB" dirty="0">
                <a:solidFill>
                  <a:schemeClr val="tx1"/>
                </a:solidFill>
              </a:rPr>
              <a:t>The scope of the recovery which specifically states ‘to what point’ do we recover the platform.</a:t>
            </a:r>
          </a:p>
          <a:p>
            <a:pPr lvl="1"/>
            <a:r>
              <a:rPr lang="en-GB" sz="2400" dirty="0">
                <a:solidFill>
                  <a:schemeClr val="accent6"/>
                </a:solidFill>
              </a:rPr>
              <a:t>Availability</a:t>
            </a:r>
          </a:p>
          <a:p>
            <a:pPr marL="571500" lvl="2" indent="-342900">
              <a:buFont typeface="Arial" panose="020B0604020202020204" pitchFamily="34" charset="0"/>
              <a:buChar char="•"/>
            </a:pPr>
            <a:r>
              <a:rPr lang="en-GB" dirty="0">
                <a:solidFill>
                  <a:schemeClr val="tx1"/>
                </a:solidFill>
              </a:rPr>
              <a:t>Ever heard of the ‘five nines’?</a:t>
            </a:r>
          </a:p>
          <a:p>
            <a:pPr lvl="1"/>
            <a:r>
              <a:rPr lang="en-GB" sz="2400" dirty="0">
                <a:solidFill>
                  <a:schemeClr val="accent6"/>
                </a:solidFill>
              </a:rPr>
              <a:t>Capability</a:t>
            </a:r>
          </a:p>
          <a:p>
            <a:pPr marL="571500" lvl="2" indent="-342900">
              <a:buFont typeface="Arial" panose="020B0604020202020204" pitchFamily="34" charset="0"/>
              <a:buChar char="•"/>
            </a:pPr>
            <a:r>
              <a:rPr lang="en-GB" dirty="0">
                <a:solidFill>
                  <a:schemeClr val="tx1"/>
                </a:solidFill>
              </a:rPr>
              <a:t>Are we capable of performing the task?</a:t>
            </a:r>
          </a:p>
        </p:txBody>
      </p:sp>
    </p:spTree>
    <p:extLst>
      <p:ext uri="{BB962C8B-B14F-4D97-AF65-F5344CB8AC3E}">
        <p14:creationId xmlns:p14="http://schemas.microsoft.com/office/powerpoint/2010/main" val="404531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750"/>
                                        <p:tgtEl>
                                          <p:spTgt spid="6">
                                            <p:txEl>
                                              <p:pRg st="1" end="1"/>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750"/>
                            </p:stCondLst>
                            <p:childTnLst>
                              <p:par>
                                <p:cTn id="17" presetID="22" presetClass="entr" presetSubtype="8"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wipe(left)">
                                      <p:cBhvr>
                                        <p:cTn id="19" dur="1000"/>
                                        <p:tgtEl>
                                          <p:spTgt spid="6">
                                            <p:txEl>
                                              <p:pRg st="3" end="3"/>
                                            </p:txEl>
                                          </p:spTgt>
                                        </p:tgtEl>
                                      </p:cBhvr>
                                    </p:animEffect>
                                  </p:childTnLst>
                                </p:cTn>
                              </p:par>
                            </p:childTnLst>
                          </p:cTn>
                        </p:par>
                        <p:par>
                          <p:cTn id="20" fill="hold">
                            <p:stCondLst>
                              <p:cond delay="2750"/>
                            </p:stCondLst>
                            <p:childTnLst>
                              <p:par>
                                <p:cTn id="21" presetID="10" presetClass="entr" presetSubtype="0"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childTnLst>
                          </p:cTn>
                        </p:par>
                        <p:par>
                          <p:cTn id="24" fill="hold">
                            <p:stCondLst>
                              <p:cond delay="3250"/>
                            </p:stCondLst>
                            <p:childTnLst>
                              <p:par>
                                <p:cTn id="25" presetID="22" presetClass="entr" presetSubtype="8" fill="hold" nodeType="after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wipe(left)">
                                      <p:cBhvr>
                                        <p:cTn id="27" dur="500"/>
                                        <p:tgtEl>
                                          <p:spTgt spid="6">
                                            <p:txEl>
                                              <p:pRg st="5" end="5"/>
                                            </p:txEl>
                                          </p:spTgt>
                                        </p:tgtEl>
                                      </p:cBhvr>
                                    </p:animEffect>
                                  </p:childTnLst>
                                </p:cTn>
                              </p:par>
                            </p:childTnLst>
                          </p:cTn>
                        </p:par>
                        <p:par>
                          <p:cTn id="28" fill="hold">
                            <p:stCondLst>
                              <p:cond delay="3750"/>
                            </p:stCondLst>
                            <p:childTnLst>
                              <p:par>
                                <p:cTn id="29" presetID="10" presetClass="entr" presetSubtype="0" fill="hold" nodeType="after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Effect transition="in" filter="fade">
                                      <p:cBhvr>
                                        <p:cTn id="31" dur="500"/>
                                        <p:tgtEl>
                                          <p:spTgt spid="6">
                                            <p:txEl>
                                              <p:pRg st="6" end="6"/>
                                            </p:txEl>
                                          </p:spTgt>
                                        </p:tgtEl>
                                      </p:cBhvr>
                                    </p:animEffect>
                                  </p:childTnLst>
                                </p:cTn>
                              </p:par>
                            </p:childTnLst>
                          </p:cTn>
                        </p:par>
                        <p:par>
                          <p:cTn id="32" fill="hold">
                            <p:stCondLst>
                              <p:cond delay="4250"/>
                            </p:stCondLst>
                            <p:childTnLst>
                              <p:par>
                                <p:cTn id="33" presetID="22" presetClass="entr" presetSubtype="8" fill="hold" nodeType="after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animEffect transition="in" filter="wipe(left)">
                                      <p:cBhvr>
                                        <p:cTn id="3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0R7zTRMxES8zC2soRT6UA"/>
</p:tagLst>
</file>

<file path=ppt/theme/theme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0.xml><?xml version="1.0" encoding="utf-8"?>
<a:theme xmlns:a="http://schemas.openxmlformats.org/drawingml/2006/main" name="Azure_PPT_template">
  <a:themeElements>
    <a:clrScheme name="Custom 1">
      <a:dk1>
        <a:srgbClr val="505050"/>
      </a:dk1>
      <a:lt1>
        <a:srgbClr val="FFFFFF"/>
      </a:lt1>
      <a:dk2>
        <a:srgbClr val="002050"/>
      </a:dk2>
      <a:lt2>
        <a:srgbClr val="D2D2D2"/>
      </a:lt2>
      <a:accent1>
        <a:srgbClr val="00BCF2"/>
      </a:accent1>
      <a:accent2>
        <a:srgbClr val="0072C6"/>
      </a:accent2>
      <a:accent3>
        <a:srgbClr val="00188F"/>
      </a:accent3>
      <a:accent4>
        <a:srgbClr val="442359"/>
      </a:accent4>
      <a:accent5>
        <a:srgbClr val="68217A"/>
      </a:accent5>
      <a:accent6>
        <a:srgbClr val="DC3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1D743414-A9BB-4CF3-B4F4-1B6740003A98}" vid="{B252F9E1-43BE-47F1-A402-A950D2CDF1D5}"/>
    </a:ext>
  </a:extLst>
</a:theme>
</file>

<file path=ppt/theme/theme3.xml><?xml version="1.0" encoding="utf-8"?>
<a:theme xmlns:a="http://schemas.openxmlformats.org/drawingml/2006/main" name="18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4.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5.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1D743414-A9BB-4CF3-B4F4-1B6740003A98}" vid="{B252F9E1-43BE-47F1-A402-A950D2CDF1D5}"/>
    </a:ext>
  </a:extLst>
</a:theme>
</file>

<file path=ppt/theme/theme6.xml><?xml version="1.0" encoding="utf-8"?>
<a:theme xmlns:a="http://schemas.openxmlformats.org/drawingml/2006/main" name="TR18_BO_CT_Template_16x9">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7.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1D743414-A9BB-4CF3-B4F4-1B6740003A98}" vid="{B252F9E1-43BE-47F1-A402-A950D2CDF1D5}"/>
    </a:ext>
  </a:extLst>
</a:theme>
</file>

<file path=ppt/theme/theme8.xml><?xml version="1.0" encoding="utf-8"?>
<a:theme xmlns:a="http://schemas.openxmlformats.org/drawingml/2006/main" name="8_Azure_PPT_template 1">
  <a:themeElements>
    <a:clrScheme name="Custom 1">
      <a:dk1>
        <a:srgbClr val="505050"/>
      </a:dk1>
      <a:lt1>
        <a:srgbClr val="FFFFFF"/>
      </a:lt1>
      <a:dk2>
        <a:srgbClr val="002050"/>
      </a:dk2>
      <a:lt2>
        <a:srgbClr val="D2D2D2"/>
      </a:lt2>
      <a:accent1>
        <a:srgbClr val="00BCF2"/>
      </a:accent1>
      <a:accent2>
        <a:srgbClr val="0072C6"/>
      </a:accent2>
      <a:accent3>
        <a:srgbClr val="00188F"/>
      </a:accent3>
      <a:accent4>
        <a:srgbClr val="442359"/>
      </a:accent4>
      <a:accent5>
        <a:srgbClr val="68217A"/>
      </a:accent5>
      <a:accent6>
        <a:srgbClr val="DC3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1" ma:contentTypeDescription="" ma:contentTypeScope="" ma:versionID="f76f9f2ab0888ad12c25c288f9b83a01">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d1f02aa6571035b5b3d91a2f2205ceed"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12</Value>
      <Value>68</Value>
      <Value>36</Value>
      <Value>5</Value>
    </TaxCatchAll>
    <AverageRating xmlns="http://schemas.microsoft.com/sharepoint/v3" xsi:nil="true"/>
    <LikesCount xmlns="http://schemas.microsoft.com/sharepoint/v3" xsi:nil="true"/>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2</TermName>
          <TermId xmlns="http://schemas.microsoft.com/office/infopath/2007/PartnerControls">88255ce9-3aea-405b-9a14-dea0b0a00506</TermId>
        </TermInfo>
      </Terms>
    </TaxKeywordTaxHTField>
    <Event_x0020_End_x0020_Date xmlns="01c77077-aee4-4b5f-bd4e-9cd40a6fff29">2016-02-05T08:00:00+00:00</Event_x0020_End_x0020_Date>
    <Event_x0020_Start_x0020_Date xmlns="01c77077-aee4-4b5f-bd4e-9cd40a6fff29">2016-02-01T08:00:00+00:00</Event_x0020_Start_x0020_Date>
    <MS_x0020_Speaker xmlns="01c77077-aee4-4b5f-bd4e-9cd40a6fff29">
      <UserInfo>
        <DisplayName/>
        <AccountId xsi:nil="true"/>
        <AccountType/>
      </UserInfo>
    </MS_x0020_Speaker>
    <External_x0020_Speaker xmlns="01c77077-aee4-4b5f-bd4e-9cd40a6fff29">Magnus Helmvee; Andy Isley</External_x0020_Speaker>
    <Session_x0020_Code xmlns="01c77077-aee4-4b5f-bd4e-9cd40a6fff29">DP319</Session_x0020_Code>
    <Presentation_x0020_Date xmlns="01c77077-aee4-4b5f-bd4e-9cd40a6fff29">2016-02-01T08:00:00+00:00</Presentation_x0020_Date>
    <MS_x0020_Content_x0020_Owner xmlns="01c77077-aee4-4b5f-bd4e-9cd40a6fff29">
      <UserInfo>
        <DisplayName/>
        <AccountId xsi:nil="true"/>
        <AccountType/>
      </UserInfo>
    </MS_x0020_Content_x0020_Owner>
    <SharedWithUsers xmlns="01c77077-aee4-4b5f-bd4e-9cd40a6fff29">
      <UserInfo>
        <DisplayName/>
        <AccountId xsi:nil="true"/>
        <AccountType/>
      </UserInfo>
    </SharedWithUsers>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m6878b9dd7994da4ba144f95347d99c6 xmlns="01c77077-aee4-4b5f-bd4e-9cd40a6fff29">
      <Terms xmlns="http://schemas.microsoft.com/office/infopath/2007/PartnerControls"/>
    </m6878b9dd7994da4ba144f95347d99c6>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mb2e01f7e2d8413988e28e59aa226eec>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documentManagement>
</p:properties>
</file>

<file path=customXml/itemProps1.xml><?xml version="1.0" encoding="utf-8"?>
<ds:datastoreItem xmlns:ds="http://schemas.openxmlformats.org/officeDocument/2006/customXml" ds:itemID="{B9E615B6-0D09-4E63-AFBF-4FF9E0E75D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8ff673fc-3231-4e3a-893b-6d7f7cd32766"/>
    <ds:schemaRef ds:uri="230e9df3-be65-4c73-a93b-d1236ebd677e"/>
    <ds:schemaRef ds:uri="http://purl.org/dc/dcmitype/"/>
    <ds:schemaRef ds:uri="http://schemas.microsoft.com/office/2006/documentManagement/types"/>
    <ds:schemaRef ds:uri="http://purl.org/dc/terms/"/>
    <ds:schemaRef ds:uri="01c77077-aee4-4b5f-bd4e-9cd40a6fff29"/>
    <ds:schemaRef ds:uri="http://www.w3.org/XML/1998/namespace"/>
    <ds:schemaRef ds:uri="http://purl.org/dc/elements/1.1/"/>
    <ds:schemaRef ds:uri="http://schemas.microsoft.com/office/infopath/2007/PartnerControls"/>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1081</TotalTime>
  <Words>5105</Words>
  <Application>Microsoft Office PowerPoint</Application>
  <PresentationFormat>Custom</PresentationFormat>
  <Paragraphs>745</Paragraphs>
  <Slides>47</Slides>
  <Notes>29</Notes>
  <HiddenSlides>0</HiddenSlides>
  <MMClips>0</MMClips>
  <ScaleCrop>false</ScaleCrop>
  <HeadingPairs>
    <vt:vector size="6" baseType="variant">
      <vt:variant>
        <vt:lpstr>Fonts Used</vt:lpstr>
      </vt:variant>
      <vt:variant>
        <vt:i4>13</vt:i4>
      </vt:variant>
      <vt:variant>
        <vt:lpstr>Theme</vt:lpstr>
      </vt:variant>
      <vt:variant>
        <vt:i4>11</vt:i4>
      </vt:variant>
      <vt:variant>
        <vt:lpstr>Slide Titles</vt:lpstr>
      </vt:variant>
      <vt:variant>
        <vt:i4>47</vt:i4>
      </vt:variant>
    </vt:vector>
  </HeadingPairs>
  <TitlesOfParts>
    <vt:vector size="71" baseType="lpstr">
      <vt:lpstr>Arial</vt:lpstr>
      <vt:lpstr>Calibri</vt:lpstr>
      <vt:lpstr>Consolas</vt:lpstr>
      <vt:lpstr>MS PGothic</vt:lpstr>
      <vt:lpstr>Segoe</vt:lpstr>
      <vt:lpstr>Segoe Light</vt:lpstr>
      <vt:lpstr>Segoe UI</vt:lpstr>
      <vt:lpstr>Segoe UI Black</vt:lpstr>
      <vt:lpstr>Segoe UI Light</vt:lpstr>
      <vt:lpstr>Segoe UI Semibold</vt:lpstr>
      <vt:lpstr>Segoe UI Semilight</vt:lpstr>
      <vt:lpstr>Times New Roman</vt:lpstr>
      <vt:lpstr>Wingdings</vt:lpstr>
      <vt:lpstr>5-30711_TR22_BO_CT_Template</vt:lpstr>
      <vt:lpstr>5-30660_TR21_BO_CT_Template</vt:lpstr>
      <vt:lpstr>18_Data Insights</vt:lpstr>
      <vt:lpstr>Data Insights</vt:lpstr>
      <vt:lpstr>1_5-30660_TR21_BO_CT_Template</vt:lpstr>
      <vt:lpstr>TR18_BO_CT_Template_16x9</vt:lpstr>
      <vt:lpstr>3_5-30660_TR21_BO_CT_Template</vt:lpstr>
      <vt:lpstr>8_Azure_PPT_template 1</vt:lpstr>
      <vt:lpstr>2_5-30545_S4_Template_16x9</vt:lpstr>
      <vt:lpstr>Azure_PPT_template</vt:lpstr>
      <vt:lpstr>1_5-30711_TR22_BO_CT_Template</vt:lpstr>
      <vt:lpstr>PowerPoint Presentation</vt:lpstr>
      <vt:lpstr>COE: Creating a Hybrid DW/DR solution between APS and Azure SQL DW</vt:lpstr>
      <vt:lpstr>Confidentiality Slide</vt:lpstr>
      <vt:lpstr>PowerPoint Presentation</vt:lpstr>
      <vt:lpstr>Session Objectives And Takeaways</vt:lpstr>
      <vt:lpstr>Agenda</vt:lpstr>
      <vt:lpstr>Disaster recovery vs Business continuity</vt:lpstr>
      <vt:lpstr>Disaster recovery</vt:lpstr>
      <vt:lpstr>SLAs (Service level agreements) Technical considerations</vt:lpstr>
      <vt:lpstr>OLAs (Operational level agreements) Technical considerations</vt:lpstr>
      <vt:lpstr>Modern Data Warehouse</vt:lpstr>
      <vt:lpstr>Modern Data Warehouse DR Structure</vt:lpstr>
      <vt:lpstr>Analytics Platform System (APS)</vt:lpstr>
      <vt:lpstr>Azure SQL Data Warehouse (SQL DW)</vt:lpstr>
      <vt:lpstr>Nuances</vt:lpstr>
      <vt:lpstr>Is Azure SQL Data Warehouse complimentary to Analytics Platform System?</vt:lpstr>
      <vt:lpstr>Will Azure SQL Data Warehouse replace Parallel Data Warehouse (APS)?</vt:lpstr>
      <vt:lpstr>Is Azure SQL Data Warehouse pitched as the equivalent of “APS in the cloud”?</vt:lpstr>
      <vt:lpstr>So what do SQL DW and APS have in common?</vt:lpstr>
      <vt:lpstr>High-level comparison</vt:lpstr>
      <vt:lpstr>Hybrid scenarios which work well</vt:lpstr>
      <vt:lpstr>Current DR Options for APS</vt:lpstr>
      <vt:lpstr>Backup/Restore</vt:lpstr>
      <vt:lpstr>Data growth will impact backups</vt:lpstr>
      <vt:lpstr>Polybase/CETAS</vt:lpstr>
      <vt:lpstr>Disaster recovery scenario</vt:lpstr>
      <vt:lpstr>Mid-level hybrid DR architecture</vt:lpstr>
      <vt:lpstr>Hybrid Dual Load DR - Pros/Cons</vt:lpstr>
      <vt:lpstr>Hybrid DR - Pros/Cons</vt:lpstr>
      <vt:lpstr>Keeping Keys in Sync</vt:lpstr>
      <vt:lpstr>Normal activity </vt:lpstr>
      <vt:lpstr>Setup</vt:lpstr>
      <vt:lpstr>Control DB Schema</vt:lpstr>
      <vt:lpstr>Normal extraction from source systems</vt:lpstr>
      <vt:lpstr>Demo</vt:lpstr>
      <vt:lpstr>Normal load processing</vt:lpstr>
      <vt:lpstr>Demo</vt:lpstr>
      <vt:lpstr>Disaster recovery source system extract</vt:lpstr>
      <vt:lpstr>Disaster recovery load processing</vt:lpstr>
      <vt:lpstr>DR load processing fail back</vt:lpstr>
      <vt:lpstr>Hybrid DR – Best Practices</vt:lpstr>
      <vt:lpstr>Hybrid DR – Monitoring Considerations</vt:lpstr>
      <vt:lpstr>Session Objectives And Takeaways</vt:lpstr>
      <vt:lpstr>Resources</vt:lpstr>
      <vt:lpstr>Resources and Related Content</vt:lpstr>
      <vt:lpstr>PowerPoint Presentation</vt:lpstr>
      <vt:lpstr>PowerPoint Presentation</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E: Creating a Hybrid DW\DR solution between APS and Azure SQL Data Warehouse</dc:title>
  <dc:subject>TechReady 22</dc:subject>
  <dc:creator>Patricia Mines (Sound Planning)</dc:creator>
  <cp:keywords>TechReady 22</cp:keywords>
  <dc:description>Template: Mitchell Derrey, Silver Fox Productions
Formatting: 
Event Date: February 1st - 5th, 2016
Event Location: WSCTC, Seattle, WA
Audience Type: Internal</dc:description>
  <cp:lastModifiedBy>Administrator</cp:lastModifiedBy>
  <cp:revision>60</cp:revision>
  <dcterms:created xsi:type="dcterms:W3CDTF">2015-12-14T03:35:40Z</dcterms:created>
  <dcterms:modified xsi:type="dcterms:W3CDTF">2016-02-02T01:4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12;#TechReady 22|88255ce9-3aea-405b-9a14-dea0b0a00506</vt:lpwstr>
  </property>
  <property fmtid="{D5CDD505-2E9C-101B-9397-08002B2CF9AE}" pid="11" name="Audience1">
    <vt:lpwstr/>
  </property>
  <property fmtid="{D5CDD505-2E9C-101B-9397-08002B2CF9AE}" pid="12" name="Event Name">
    <vt:lpwstr>68;#TechReady|ebdf1b7d-d34f-4ccf-ac45-ca5a756d5c65</vt:lpwstr>
  </property>
</Properties>
</file>